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9" r:id="rId4"/>
    <p:sldMasterId id="2147483731" r:id="rId5"/>
  </p:sldMasterIdLst>
  <p:notesMasterIdLst>
    <p:notesMasterId r:id="rId17"/>
  </p:notesMasterIdLst>
  <p:sldIdLst>
    <p:sldId id="4537" r:id="rId6"/>
    <p:sldId id="4546" r:id="rId7"/>
    <p:sldId id="693" r:id="rId8"/>
    <p:sldId id="692" r:id="rId9"/>
    <p:sldId id="279" r:id="rId10"/>
    <p:sldId id="4576" r:id="rId11"/>
    <p:sldId id="4563" r:id="rId12"/>
    <p:sldId id="4555" r:id="rId13"/>
    <p:sldId id="4786" r:id="rId14"/>
    <p:sldId id="4573" r:id="rId15"/>
    <p:sldId id="637"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56" userDrawn="1">
          <p15:clr>
            <a:srgbClr val="A4A3A4"/>
          </p15:clr>
        </p15:guide>
        <p15:guide id="3" orient="horz" pos="845" userDrawn="1">
          <p15:clr>
            <a:srgbClr val="A4A3A4"/>
          </p15:clr>
        </p15:guide>
        <p15:guide id="4" pos="6063" userDrawn="1">
          <p15:clr>
            <a:srgbClr val="A4A3A4"/>
          </p15:clr>
        </p15:guide>
        <p15:guide id="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5135"/>
    <a:srgbClr val="FF4D37"/>
    <a:srgbClr val="5D696B"/>
    <a:srgbClr val="8B8B8B"/>
    <a:srgbClr val="FD27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24E9B6-B06D-4436-9A42-13D5B0D6EAE8}" v="3" dt="2019-12-02T12:01:22.0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67" autoAdjust="0"/>
    <p:restoredTop sz="96068" autoAdjust="0"/>
  </p:normalViewPr>
  <p:slideViewPr>
    <p:cSldViewPr snapToObjects="1" showGuides="1">
      <p:cViewPr varScale="1">
        <p:scale>
          <a:sx n="92" d="100"/>
          <a:sy n="92" d="100"/>
        </p:scale>
        <p:origin x="72" y="216"/>
      </p:cViewPr>
      <p:guideLst>
        <p:guide orient="horz" pos="4156"/>
        <p:guide orient="horz" pos="845"/>
        <p:guide pos="6063"/>
        <p:guide/>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8D163F-51AD-0F4E-A822-EC954DB945C0}" type="datetimeFigureOut">
              <a:rPr lang="en-US" smtClean="0"/>
              <a:t>12/9/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E0AE69-FC16-E142-B78E-4F7DB44F2B64}" type="slidenum">
              <a:rPr lang="en-US" smtClean="0"/>
              <a:t>‹#›</a:t>
            </a:fld>
            <a:endParaRPr lang="en-US"/>
          </a:p>
        </p:txBody>
      </p:sp>
    </p:spTree>
    <p:extLst>
      <p:ext uri="{BB962C8B-B14F-4D97-AF65-F5344CB8AC3E}">
        <p14:creationId xmlns:p14="http://schemas.microsoft.com/office/powerpoint/2010/main" val="822077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7E0AE69-FC16-E142-B78E-4F7DB44F2B64}" type="slidenum">
              <a:rPr lang="en-US" smtClean="0"/>
              <a:t>2</a:t>
            </a:fld>
            <a:endParaRPr lang="en-US"/>
          </a:p>
        </p:txBody>
      </p:sp>
    </p:spTree>
    <p:extLst>
      <p:ext uri="{BB962C8B-B14F-4D97-AF65-F5344CB8AC3E}">
        <p14:creationId xmlns:p14="http://schemas.microsoft.com/office/powerpoint/2010/main" val="2213490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eaLnBrk="0" hangingPunct="0">
              <a:spcAft>
                <a:spcPts val="600"/>
              </a:spcAft>
              <a:buClr>
                <a:srgbClr val="FF304C"/>
              </a:buClr>
              <a:buFont typeface="Wingdings" panose="05000000000000000000" pitchFamily="2" charset="2"/>
              <a:buNone/>
              <a:defRPr/>
            </a:pPr>
            <a:r>
              <a:rPr lang="en-US" sz="1200" kern="0" dirty="0">
                <a:solidFill>
                  <a:schemeClr val="tx1">
                    <a:lumMod val="50000"/>
                    <a:lumOff val="50000"/>
                  </a:schemeClr>
                </a:solidFill>
                <a:latin typeface="Ubuntu" panose="020B0504030602030204" pitchFamily="34" charset="0"/>
              </a:rPr>
              <a:t>Why Public Cloud ?</a:t>
            </a:r>
          </a:p>
          <a:p>
            <a:pPr marL="285750" indent="-285750" eaLnBrk="0" hangingPunct="0">
              <a:spcAft>
                <a:spcPts val="600"/>
              </a:spcAft>
              <a:buClr>
                <a:srgbClr val="FF304C"/>
              </a:buClr>
              <a:buFont typeface="Wingdings" panose="05000000000000000000" pitchFamily="2" charset="2"/>
              <a:buChar char=""/>
              <a:defRPr/>
            </a:pPr>
            <a:r>
              <a:rPr lang="en-US" sz="1200" kern="0" dirty="0">
                <a:solidFill>
                  <a:schemeClr val="tx1">
                    <a:lumMod val="50000"/>
                    <a:lumOff val="50000"/>
                  </a:schemeClr>
                </a:solidFill>
                <a:latin typeface="Ubuntu" panose="020B0504030602030204" pitchFamily="34" charset="0"/>
              </a:rPr>
              <a:t>Grow three times faster (15% - 2022) than total tech spending</a:t>
            </a:r>
          </a:p>
          <a:p>
            <a:pPr marL="285750" indent="-285750" eaLnBrk="0" hangingPunct="0">
              <a:spcAft>
                <a:spcPts val="600"/>
              </a:spcAft>
              <a:buClr>
                <a:srgbClr val="FF304C"/>
              </a:buClr>
              <a:buFont typeface="Wingdings" panose="05000000000000000000" pitchFamily="2" charset="2"/>
              <a:buChar char=""/>
              <a:defRPr/>
            </a:pPr>
            <a:r>
              <a:rPr lang="en-US" sz="1200" kern="0" dirty="0">
                <a:solidFill>
                  <a:schemeClr val="tx1">
                    <a:lumMod val="50000"/>
                    <a:lumOff val="50000"/>
                  </a:schemeClr>
                </a:solidFill>
                <a:latin typeface="Ubuntu" panose="020B0504030602030204" pitchFamily="34" charset="0"/>
              </a:rPr>
              <a:t>Cloud is mainstream for CIO – any Sector any Geography.</a:t>
            </a:r>
          </a:p>
          <a:p>
            <a:pPr marL="285750" indent="-285750" eaLnBrk="0" hangingPunct="0">
              <a:spcAft>
                <a:spcPts val="600"/>
              </a:spcAft>
              <a:buClr>
                <a:srgbClr val="FF304C"/>
              </a:buClr>
              <a:buFont typeface="Wingdings" panose="05000000000000000000" pitchFamily="2" charset="2"/>
              <a:buChar char=""/>
              <a:defRPr/>
            </a:pPr>
            <a:r>
              <a:rPr lang="en-US" sz="1200" kern="0" dirty="0">
                <a:solidFill>
                  <a:schemeClr val="tx1">
                    <a:lumMod val="50000"/>
                    <a:lumOff val="50000"/>
                  </a:schemeClr>
                </a:solidFill>
                <a:latin typeface="Ubuntu" panose="020B0504030602030204" pitchFamily="34" charset="0"/>
              </a:rPr>
              <a:t>CIO Challenges are about Cost (operation) and Agility (Innovation).</a:t>
            </a:r>
          </a:p>
          <a:p>
            <a:pPr marL="285750" indent="-285750" eaLnBrk="0" hangingPunct="0">
              <a:spcAft>
                <a:spcPts val="600"/>
              </a:spcAft>
              <a:buClr>
                <a:srgbClr val="FF304C"/>
              </a:buClr>
              <a:buFont typeface="Wingdings" panose="05000000000000000000" pitchFamily="2" charset="2"/>
              <a:buChar char=""/>
              <a:defRPr/>
            </a:pPr>
            <a:r>
              <a:rPr lang="en-US" sz="1200" kern="0" dirty="0">
                <a:solidFill>
                  <a:schemeClr val="tx1">
                    <a:lumMod val="50000"/>
                    <a:lumOff val="50000"/>
                  </a:schemeClr>
                </a:solidFill>
                <a:latin typeface="Ubuntu" panose="020B0504030602030204" pitchFamily="34" charset="0"/>
              </a:rPr>
              <a:t>Cloud Platforms Are The Fastest Growing category.</a:t>
            </a:r>
            <a:endParaRPr lang="en-GB" sz="1200" kern="0" dirty="0">
              <a:solidFill>
                <a:schemeClr val="tx1">
                  <a:lumMod val="50000"/>
                  <a:lumOff val="50000"/>
                </a:schemeClr>
              </a:solidFill>
              <a:latin typeface="Ubuntu" panose="020B0504030602030204" pitchFamily="34" charset="0"/>
            </a:endParaRPr>
          </a:p>
          <a:p>
            <a:endParaRPr lang="en-US"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35915474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7E0AE69-FC16-E142-B78E-4F7DB44F2B64}" type="slidenum">
              <a:rPr lang="en-US" smtClean="0"/>
              <a:t>8</a:t>
            </a:fld>
            <a:endParaRPr lang="en-US" dirty="0"/>
          </a:p>
        </p:txBody>
      </p:sp>
    </p:spTree>
    <p:extLst>
      <p:ext uri="{BB962C8B-B14F-4D97-AF65-F5344CB8AC3E}">
        <p14:creationId xmlns:p14="http://schemas.microsoft.com/office/powerpoint/2010/main" val="22982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696B5C-12A0-4042-B4D0-BD3B9A4F58C6}" type="slidenum">
              <a:rPr lang="pt-BR" smtClean="0"/>
              <a:t>11</a:t>
            </a:fld>
            <a:endParaRPr lang="pt-BR" dirty="0"/>
          </a:p>
        </p:txBody>
      </p:sp>
    </p:spTree>
    <p:extLst>
      <p:ext uri="{BB962C8B-B14F-4D97-AF65-F5344CB8AC3E}">
        <p14:creationId xmlns:p14="http://schemas.microsoft.com/office/powerpoint/2010/main" val="127406486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1.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5.xml"/><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hyperlink" Target="http://www.capgemini.com/about/how-we-work/rightshorer" TargetMode="Externa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8.emf"/><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8.emf"/><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 Id="rId5" Type="http://schemas.openxmlformats.org/officeDocument/2006/relationships/image" Target="../media/image15.emf"/><Relationship Id="rId4" Type="http://schemas.openxmlformats.org/officeDocument/2006/relationships/image" Target="../media/image14.sv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 Id="rId5" Type="http://schemas.openxmlformats.org/officeDocument/2006/relationships/image" Target="../media/image15.emf"/><Relationship Id="rId4" Type="http://schemas.openxmlformats.org/officeDocument/2006/relationships/image" Target="../media/image14.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8.emf"/><Relationship Id="rId2" Type="http://schemas.openxmlformats.org/officeDocument/2006/relationships/tags" Target="../tags/tag29.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 Id="rId5" Type="http://schemas.openxmlformats.org/officeDocument/2006/relationships/image" Target="../media/image15.emf"/><Relationship Id="rId4" Type="http://schemas.openxmlformats.org/officeDocument/2006/relationships/image" Target="../media/image14.sv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26.emf"/><Relationship Id="rId7" Type="http://schemas.openxmlformats.org/officeDocument/2006/relationships/image" Target="../media/image4.png"/><Relationship Id="rId2" Type="http://schemas.openxmlformats.org/officeDocument/2006/relationships/hyperlink" Target="https://www.sogeti.com/" TargetMode="External"/><Relationship Id="rId1" Type="http://schemas.openxmlformats.org/officeDocument/2006/relationships/slideMaster" Target="../slideMasters/slideMaster1.xml"/><Relationship Id="rId6" Type="http://schemas.openxmlformats.org/officeDocument/2006/relationships/hyperlink" Target="https://twitter.com/sogeti" TargetMode="External"/><Relationship Id="rId5" Type="http://schemas.openxmlformats.org/officeDocument/2006/relationships/image" Target="../media/image2.png"/><Relationship Id="rId4" Type="http://schemas.openxmlformats.org/officeDocument/2006/relationships/hyperlink" Target="https://www.linkedin.com/company/sogeti/" TargetMode="External"/><Relationship Id="rId9" Type="http://schemas.openxmlformats.org/officeDocument/2006/relationships/image" Target="../media/image5.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Master" Target="../slideMasters/slideMaster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openxmlformats.org/officeDocument/2006/relationships/image" Target="../media/image22.png"/><Relationship Id="rId3" Type="http://schemas.openxmlformats.org/officeDocument/2006/relationships/image" Target="../media/image36.jpeg"/><Relationship Id="rId21" Type="http://schemas.openxmlformats.org/officeDocument/2006/relationships/image" Target="../media/image25.png"/><Relationship Id="rId7" Type="http://schemas.openxmlformats.org/officeDocument/2006/relationships/image" Target="../media/image40.gif"/><Relationship Id="rId12" Type="http://schemas.openxmlformats.org/officeDocument/2006/relationships/image" Target="../media/image45.png"/><Relationship Id="rId17" Type="http://schemas.openxmlformats.org/officeDocument/2006/relationships/image" Target="../media/image50.png"/><Relationship Id="rId2" Type="http://schemas.openxmlformats.org/officeDocument/2006/relationships/image" Target="../media/image35.png"/><Relationship Id="rId16" Type="http://schemas.openxmlformats.org/officeDocument/2006/relationships/image" Target="../media/image49.png"/><Relationship Id="rId20" Type="http://schemas.openxmlformats.org/officeDocument/2006/relationships/image" Target="../media/image24.png"/><Relationship Id="rId1" Type="http://schemas.openxmlformats.org/officeDocument/2006/relationships/slideMaster" Target="../slideMasters/slideMaster2.xml"/><Relationship Id="rId6" Type="http://schemas.openxmlformats.org/officeDocument/2006/relationships/image" Target="../media/image39.png"/><Relationship Id="rId11" Type="http://schemas.openxmlformats.org/officeDocument/2006/relationships/image" Target="../media/image44.jpeg"/><Relationship Id="rId5" Type="http://schemas.openxmlformats.org/officeDocument/2006/relationships/image" Target="../media/image38.png"/><Relationship Id="rId15" Type="http://schemas.openxmlformats.org/officeDocument/2006/relationships/image" Target="../media/image48.png"/><Relationship Id="rId10" Type="http://schemas.openxmlformats.org/officeDocument/2006/relationships/image" Target="../media/image43.jpeg"/><Relationship Id="rId19" Type="http://schemas.openxmlformats.org/officeDocument/2006/relationships/image" Target="../media/image23.png"/><Relationship Id="rId4" Type="http://schemas.openxmlformats.org/officeDocument/2006/relationships/image" Target="../media/image37.png"/><Relationship Id="rId9" Type="http://schemas.openxmlformats.org/officeDocument/2006/relationships/image" Target="../media/image42.jpeg"/><Relationship Id="rId14" Type="http://schemas.openxmlformats.org/officeDocument/2006/relationships/image" Target="../media/image47.jpe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26.emf"/><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26.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26.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Final Slide 1">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Rectangle 14"/>
          <p:cNvSpPr/>
          <p:nvPr/>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pic>
        <p:nvPicPr>
          <p:cNvPr id="17" name="Picture 2" descr="D:\My Work\Template\Icons\Social Media\LinkedIN.png">
            <a:hlinkClick r:id="rId2"/>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26720" y="3979258"/>
            <a:ext cx="333195" cy="333195"/>
          </a:xfrm>
          <a:prstGeom prst="rect">
            <a:avLst/>
          </a:prstGeom>
          <a:noFill/>
        </p:spPr>
      </p:pic>
      <p:sp>
        <p:nvSpPr>
          <p:cNvPr id="25" name="Rectangle 24">
            <a:hlinkClick r:id="rId12"/>
          </p:cNvPr>
          <p:cNvSpPr/>
          <p:nvPr/>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
        <p:nvSpPr>
          <p:cNvPr id="27" name="Rectangle 26">
            <a:extLst>
              <a:ext uri="{FF2B5EF4-FFF2-40B4-BE49-F238E27FC236}">
                <a16:creationId xmlns:a16="http://schemas.microsoft.com/office/drawing/2014/main" id="{80F3311B-8ABF-4327-8B4A-B865A3DA7E55}"/>
              </a:ext>
            </a:extLst>
          </p:cNvPr>
          <p:cNvSpPr/>
          <p:nvPr/>
        </p:nvSpPr>
        <p:spPr>
          <a:xfrm>
            <a:off x="6536184" y="2886346"/>
            <a:ext cx="5198616" cy="14570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
        <p:nvSpPr>
          <p:cNvPr id="28" name="Rectangle 27">
            <a:extLst>
              <a:ext uri="{FF2B5EF4-FFF2-40B4-BE49-F238E27FC236}">
                <a16:creationId xmlns:a16="http://schemas.microsoft.com/office/drawing/2014/main" id="{5EBE5775-E25A-4942-9724-C6CC88298EDA}"/>
              </a:ext>
            </a:extLst>
          </p:cNvPr>
          <p:cNvSpPr/>
          <p:nvPr/>
        </p:nvSpPr>
        <p:spPr>
          <a:xfrm>
            <a:off x="6536184" y="2886346"/>
            <a:ext cx="5198616" cy="14570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endParaRPr lang="en-US" sz="900" dirty="0">
              <a:solidFill>
                <a:schemeClr val="tx1"/>
              </a:solidFill>
            </a:endParaRPr>
          </a:p>
        </p:txBody>
      </p:sp>
      <p:sp>
        <p:nvSpPr>
          <p:cNvPr id="29" name="Rectangle 28">
            <a:extLst>
              <a:ext uri="{FF2B5EF4-FFF2-40B4-BE49-F238E27FC236}">
                <a16:creationId xmlns:a16="http://schemas.microsoft.com/office/drawing/2014/main" id="{C00101C5-A8FA-4BA1-A3FF-E43B85962A58}"/>
              </a:ext>
            </a:extLst>
          </p:cNvPr>
          <p:cNvSpPr/>
          <p:nvPr/>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9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32" name="Rectangle 31">
            <a:extLst>
              <a:ext uri="{FF2B5EF4-FFF2-40B4-BE49-F238E27FC236}">
                <a16:creationId xmlns:a16="http://schemas.microsoft.com/office/drawing/2014/main" id="{067BE197-859F-45D5-91E8-4C3A4880CE59}"/>
              </a:ext>
            </a:extLst>
          </p:cNvPr>
          <p:cNvSpPr/>
          <p:nvPr/>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33" name="Rectangle 32">
            <a:extLst>
              <a:ext uri="{FF2B5EF4-FFF2-40B4-BE49-F238E27FC236}">
                <a16:creationId xmlns:a16="http://schemas.microsoft.com/office/drawing/2014/main" id="{7AB37B5D-1D9A-4CA2-A1BB-78C3F03CA966}"/>
              </a:ext>
            </a:extLst>
          </p:cNvPr>
          <p:cNvSpPr/>
          <p:nvPr/>
        </p:nvSpPr>
        <p:spPr>
          <a:xfrm>
            <a:off x="6536184" y="4495800"/>
            <a:ext cx="260781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Visit us at </a:t>
            </a:r>
            <a:r>
              <a:rPr lang="en-US" sz="1400" dirty="0">
                <a:solidFill>
                  <a:schemeClr val="accent2"/>
                </a:solidFill>
              </a:rPr>
              <a:t>www.capgemini.com</a:t>
            </a:r>
          </a:p>
        </p:txBody>
      </p:sp>
    </p:spTree>
    <p:extLst>
      <p:ext uri="{BB962C8B-B14F-4D97-AF65-F5344CB8AC3E}">
        <p14:creationId xmlns:p14="http://schemas.microsoft.com/office/powerpoint/2010/main" val="31158022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6_Section Opener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E851BE-ACC6-4AF3-9537-4958EFAC4F2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p:nvPicPr>
        <p:blipFill rotWithShape="1">
          <a:blip r:embed="rId2" cstate="print">
            <a:extLst>
              <a:ext uri="{28A0092B-C50C-407E-A947-70E740481C1C}">
                <a14:useLocalDpi xmlns:a14="http://schemas.microsoft.com/office/drawing/2010/main"/>
              </a:ext>
            </a:extLst>
          </a:blip>
          <a:srcRect l="-408" r="-62" b="-100"/>
          <a:stretch/>
        </p:blipFill>
        <p:spPr>
          <a:xfrm>
            <a:off x="-1714353" y="2125328"/>
            <a:ext cx="13385654" cy="4434840"/>
          </a:xfrm>
          <a:prstGeom prst="rect">
            <a:avLst/>
          </a:prstGeom>
        </p:spPr>
      </p:pic>
      <p:sp>
        <p:nvSpPr>
          <p:cNvPr id="6" name="Title 1">
            <a:extLst>
              <a:ext uri="{FF2B5EF4-FFF2-40B4-BE49-F238E27FC236}">
                <a16:creationId xmlns:a16="http://schemas.microsoft.com/office/drawing/2014/main" id="{7D6F175B-45C3-462F-A5E7-3F3AD5266C08}"/>
              </a:ext>
            </a:extLst>
          </p:cNvPr>
          <p:cNvSpPr>
            <a:spLocks noGrp="1"/>
          </p:cNvSpPr>
          <p:nvPr>
            <p:ph type="ctrTitle" hasCustomPrompt="1"/>
          </p:nvPr>
        </p:nvSpPr>
        <p:spPr>
          <a:xfrm>
            <a:off x="381000" y="216538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1" dirty="0">
                <a:solidFill>
                  <a:schemeClr val="tx1"/>
                </a:solidFill>
              </a:defRPr>
            </a:lvl1pPr>
          </a:lstStyle>
          <a:p>
            <a:pPr marL="0" lvl="0"/>
            <a:r>
              <a:rPr lang="en-US" dirty="0"/>
              <a:t>Click to insert title</a:t>
            </a:r>
          </a:p>
        </p:txBody>
      </p:sp>
      <p:sp>
        <p:nvSpPr>
          <p:cNvPr id="5" name="Rectangle 4">
            <a:extLst>
              <a:ext uri="{FF2B5EF4-FFF2-40B4-BE49-F238E27FC236}">
                <a16:creationId xmlns:a16="http://schemas.microsoft.com/office/drawing/2014/main" id="{750D74BA-85CF-9D4D-A28C-85D938DEC0A7}"/>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C97AB1A8-5EC6-3D4C-A3C9-CDA6D00BD6B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08" r="-62" b="-100"/>
          <a:stretch/>
        </p:blipFill>
        <p:spPr>
          <a:xfrm>
            <a:off x="-1714353" y="2125328"/>
            <a:ext cx="13385654" cy="4434840"/>
          </a:xfrm>
          <a:prstGeom prst="rect">
            <a:avLst/>
          </a:prstGeom>
        </p:spPr>
      </p:pic>
    </p:spTree>
    <p:extLst>
      <p:ext uri="{BB962C8B-B14F-4D97-AF65-F5344CB8AC3E}">
        <p14:creationId xmlns:p14="http://schemas.microsoft.com/office/powerpoint/2010/main" val="660974601"/>
      </p:ext>
    </p:extLst>
  </p:cSld>
  <p:clrMapOvr>
    <a:masterClrMapping/>
  </p:clrMapOvr>
  <p:extLst>
    <p:ext uri="{DCECCB84-F9BA-43D5-87BE-67443E8EF086}">
      <p15:sldGuideLst xmlns:p15="http://schemas.microsoft.com/office/powerpoint/2012/main">
        <p15:guide id="1" pos="734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611808" y="808056"/>
            <a:ext cx="7958331" cy="1077229"/>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19080661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a:xfrm>
            <a:off x="227349" y="190500"/>
            <a:ext cx="11125236" cy="7239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955253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a:prstGeom prst="rect">
            <a:avLst/>
          </a:prstGeo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19882344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a:prstGeom prst="rect">
            <a:avLst/>
          </a:prstGeo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Graphic 8">
            <a:extLst>
              <a:ext uri="{FF2B5EF4-FFF2-40B4-BE49-F238E27FC236}">
                <a16:creationId xmlns:a16="http://schemas.microsoft.com/office/drawing/2014/main" id="{160202C8-C16A-CA44-97D4-AE7D7A54E314}"/>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Tree>
    <p:extLst>
      <p:ext uri="{BB962C8B-B14F-4D97-AF65-F5344CB8AC3E}">
        <p14:creationId xmlns:p14="http://schemas.microsoft.com/office/powerpoint/2010/main" val="23578442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a:xfrm>
            <a:off x="227349" y="190500"/>
            <a:ext cx="11125236" cy="723900"/>
          </a:xfrm>
          <a:prstGeom prst="rect">
            <a:avLst/>
          </a:prstGeom>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9603574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a:prstGeom prst="rect">
            <a:avLst/>
          </a:prstGeo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
        <p:nvSpPr>
          <p:cNvPr id="9" name="Rectangle 8">
            <a:extLst>
              <a:ext uri="{FF2B5EF4-FFF2-40B4-BE49-F238E27FC236}">
                <a16:creationId xmlns:a16="http://schemas.microsoft.com/office/drawing/2014/main" id="{3661FCEF-3866-3540-A27F-5B827E0537E6}"/>
              </a:ext>
            </a:extLst>
          </p:cNvPr>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Freeform 6">
            <a:extLst>
              <a:ext uri="{FF2B5EF4-FFF2-40B4-BE49-F238E27FC236}">
                <a16:creationId xmlns:a16="http://schemas.microsoft.com/office/drawing/2014/main" id="{4318455F-64E9-8943-BE10-3973315299A5}"/>
              </a:ext>
            </a:extLst>
          </p:cNvPr>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485314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49" y="190500"/>
            <a:ext cx="11125236" cy="723900"/>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5074978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8" name="Freeform: Shape 11">
            <a:extLst>
              <a:ext uri="{FF2B5EF4-FFF2-40B4-BE49-F238E27FC236}">
                <a16:creationId xmlns:a16="http://schemas.microsoft.com/office/drawing/2014/main" id="{1A243B0F-5978-7D45-9C36-9D51392F15AB}"/>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Oval 20">
            <a:extLst>
              <a:ext uri="{FF2B5EF4-FFF2-40B4-BE49-F238E27FC236}">
                <a16:creationId xmlns:a16="http://schemas.microsoft.com/office/drawing/2014/main" id="{A7FC2AF9-C2E9-AD47-B7E4-35A9FF584AE3}"/>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5912989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p:nvSpPr>
        <p:spPr>
          <a:xfrm>
            <a:off x="2961411" y="3236722"/>
            <a:ext cx="9230589" cy="1470010"/>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F5F6FC98-BF54-8E4B-ADCE-416C088B5FD5}"/>
              </a:ext>
            </a:extLst>
          </p:cNvPr>
          <p:cNvSpPr txBox="1"/>
          <p:nvPr/>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r>
              <a:rPr lang="en-US"/>
              <a:t>Edit Master text styles</a:t>
            </a:r>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42" name="TextBox 41">
            <a:extLst>
              <a:ext uri="{FF2B5EF4-FFF2-40B4-BE49-F238E27FC236}">
                <a16:creationId xmlns:a16="http://schemas.microsoft.com/office/drawing/2014/main" id="{B59E8476-D4FE-3D4F-9EC9-5DA909E29651}"/>
              </a:ext>
            </a:extLst>
          </p:cNvPr>
          <p:cNvSpPr txBox="1"/>
          <p:nvPr/>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44" name="TextBox 43">
            <a:extLst>
              <a:ext uri="{FF2B5EF4-FFF2-40B4-BE49-F238E27FC236}">
                <a16:creationId xmlns:a16="http://schemas.microsoft.com/office/drawing/2014/main" id="{B1EBCCF4-5394-C04F-AA62-05007544FC0C}"/>
              </a:ext>
            </a:extLst>
          </p:cNvPr>
          <p:cNvSpPr txBox="1"/>
          <p:nvPr/>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r>
              <a:rPr lang="en-US"/>
              <a:t>Edit Master text styles</a:t>
            </a:r>
          </a:p>
        </p:txBody>
      </p:sp>
      <p:sp>
        <p:nvSpPr>
          <p:cNvPr id="14" name="Rectangle 13">
            <a:extLst>
              <a:ext uri="{FF2B5EF4-FFF2-40B4-BE49-F238E27FC236}">
                <a16:creationId xmlns:a16="http://schemas.microsoft.com/office/drawing/2014/main" id="{CECCD8BE-D906-DA49-91BF-5E56F2C1A1CB}"/>
              </a:ext>
            </a:extLst>
          </p:cNvPr>
          <p:cNvSpPr/>
          <p:nvPr userDrawn="1"/>
        </p:nvSpPr>
        <p:spPr>
          <a:xfrm>
            <a:off x="2961411" y="3236722"/>
            <a:ext cx="9230589" cy="1470010"/>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5E7BF0A4-EEC5-3A44-BE51-881657C4DA23}"/>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18" name="TextBox 17">
            <a:extLst>
              <a:ext uri="{FF2B5EF4-FFF2-40B4-BE49-F238E27FC236}">
                <a16:creationId xmlns:a16="http://schemas.microsoft.com/office/drawing/2014/main" id="{3C6AFBC3-A558-C846-A052-C3B4D83C644F}"/>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19" name="TextBox 18">
            <a:extLst>
              <a:ext uri="{FF2B5EF4-FFF2-40B4-BE49-F238E27FC236}">
                <a16:creationId xmlns:a16="http://schemas.microsoft.com/office/drawing/2014/main" id="{3B0CB0E9-EFFD-AF47-829D-322F88A6D202}"/>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Tree>
    <p:extLst>
      <p:ext uri="{BB962C8B-B14F-4D97-AF65-F5344CB8AC3E}">
        <p14:creationId xmlns:p14="http://schemas.microsoft.com/office/powerpoint/2010/main" val="7507635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48" name="Rectangle 47"/>
          <p:cNvSpPr/>
          <p:nvPr/>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err="1">
                <a:solidFill>
                  <a:schemeClr val="accent2"/>
                </a:solidFill>
              </a:rPr>
              <a:t>www.capgemini.com</a:t>
            </a:r>
            <a:endParaRPr lang="en-US" sz="1400" dirty="0">
              <a:solidFill>
                <a:schemeClr val="accent2"/>
              </a:solidFill>
            </a:endParaRPr>
          </a:p>
        </p:txBody>
      </p:sp>
      <p:pic>
        <p:nvPicPr>
          <p:cNvPr id="50" name="Picture 2" descr="D:\My Work\Template\Icons\Social Media\LinkedIN.png">
            <a:hlinkClick r:id="rId6"/>
          </p:cNvPr>
          <p:cNvPicPr>
            <a:picLocks noChangeAspect="1" noChangeArrowheads="1"/>
          </p:cNvPicPr>
          <p:nvPr/>
        </p:nvPicPr>
        <p:blipFill>
          <a:blip r:embed="rId7" cstate="email">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p:nvPicPr>
        <p:blipFill>
          <a:blip r:embed="rId10" cstate="email">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p:nvPicPr>
        <p:blipFill>
          <a:blip r:embed="rId13" cstate="email">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p:nvPicPr>
        <p:blipFill>
          <a:blip r:embed="rId16" cstate="email">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p:nvPicPr>
        <p:blipFill>
          <a:blip r:embed="rId19" cstate="email">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26720" y="4829457"/>
            <a:ext cx="333195" cy="333195"/>
          </a:xfrm>
          <a:prstGeom prst="rect">
            <a:avLst/>
          </a:prstGeom>
          <a:noFill/>
        </p:spPr>
      </p:pic>
      <p:sp>
        <p:nvSpPr>
          <p:cNvPr id="57" name="Rectangle 56"/>
          <p:cNvSpPr/>
          <p:nvPr/>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a:latin typeface="+mn-lt"/>
                <a:cs typeface="Arial"/>
              </a:rPr>
              <a:t>This message contains information that may be privileged or confidential and is the property of the Capgemini Group.</a:t>
            </a:r>
            <a:br>
              <a:rPr lang="en-US" sz="800" noProof="0">
                <a:latin typeface="+mn-lt"/>
                <a:cs typeface="Arial"/>
              </a:rPr>
            </a:br>
            <a:r>
              <a:rPr lang="en-US" sz="800" noProof="0">
                <a:latin typeface="Arial"/>
                <a:cs typeface="Arial"/>
              </a:rPr>
              <a:t>Copyright © 2019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a:solidFill>
                  <a:schemeClr val="accent1"/>
                </a:solidFill>
                <a:cs typeface="Arial"/>
              </a:rPr>
              <a:t>Name, Last Name</a:t>
            </a:r>
          </a:p>
          <a:p>
            <a:pPr>
              <a:lnSpc>
                <a:spcPts val="1200"/>
              </a:lnSpc>
            </a:pPr>
            <a:r>
              <a:rPr lang="en-US" sz="1000">
                <a:solidFill>
                  <a:schemeClr val="accent2"/>
                </a:solidFill>
                <a:cs typeface="Arial"/>
              </a:rPr>
              <a:t>Title/Role</a:t>
            </a:r>
          </a:p>
          <a:p>
            <a:pPr>
              <a:lnSpc>
                <a:spcPts val="1200"/>
              </a:lnSpc>
            </a:pPr>
            <a:r>
              <a:rPr lang="en-US" sz="1000">
                <a:cs typeface="Arial"/>
              </a:rPr>
              <a:t>Capgemini Office (Optional)</a:t>
            </a:r>
          </a:p>
          <a:p>
            <a:pPr>
              <a:lnSpc>
                <a:spcPts val="1200"/>
              </a:lnSpc>
            </a:pPr>
            <a:r>
              <a:rPr lang="en-US" sz="1000">
                <a:cs typeface="Arial"/>
              </a:rPr>
              <a:t>Address Line 1</a:t>
            </a:r>
          </a:p>
          <a:p>
            <a:pPr>
              <a:lnSpc>
                <a:spcPts val="1200"/>
              </a:lnSpc>
            </a:pPr>
            <a:r>
              <a:rPr lang="en-US" sz="1000">
                <a:cs typeface="Arial"/>
              </a:rPr>
              <a:t>Address Line 2 </a:t>
            </a:r>
          </a:p>
          <a:p>
            <a:pPr>
              <a:lnSpc>
                <a:spcPts val="1200"/>
              </a:lnSpc>
            </a:pPr>
            <a:r>
              <a:rPr lang="en-US" sz="100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Rectangle 67">
            <a:hlinkClick r:id="rId22"/>
          </p:cNvPr>
          <p:cNvSpPr/>
          <p:nvPr/>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Rectangle 68">
            <a:hlinkClick r:id="rId23"/>
          </p:cNvPr>
          <p:cNvSpPr/>
          <p:nvPr/>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ZoneTexte 1"/>
          <p:cNvSpPr txBox="1"/>
          <p:nvPr/>
        </p:nvSpPr>
        <p:spPr>
          <a:xfrm>
            <a:off x="419254" y="5204668"/>
            <a:ext cx="2519921" cy="276999"/>
          </a:xfrm>
          <a:prstGeom prst="rect">
            <a:avLst/>
          </a:prstGeom>
          <a:noFill/>
        </p:spPr>
        <p:txBody>
          <a:bodyPr wrap="none" lIns="0" rIns="0" rtlCol="0">
            <a:spAutoFit/>
          </a:bodyPr>
          <a:lstStyle/>
          <a:p>
            <a:r>
              <a:rPr lang="en-US" sz="1200" b="1">
                <a:solidFill>
                  <a:schemeClr val="accent1"/>
                </a:solidFill>
              </a:rPr>
              <a:t>People matter, results count.</a:t>
            </a:r>
          </a:p>
        </p:txBody>
      </p:sp>
      <p:sp>
        <p:nvSpPr>
          <p:cNvPr id="20" name="Rectangle 19">
            <a:extLst>
              <a:ext uri="{FF2B5EF4-FFF2-40B4-BE49-F238E27FC236}">
                <a16:creationId xmlns:a16="http://schemas.microsoft.com/office/drawing/2014/main" id="{AFC15379-7F18-4785-A112-49305996E0C1}"/>
              </a:ext>
            </a:extLst>
          </p:cNvPr>
          <p:cNvSpPr/>
          <p:nvPr/>
        </p:nvSpPr>
        <p:spPr>
          <a:xfrm>
            <a:off x="419254" y="1368070"/>
            <a:ext cx="5198616" cy="14570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a:solidFill>
                  <a:schemeClr val="tx1"/>
                </a:solidFill>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a:t>
            </a:r>
          </a:p>
        </p:txBody>
      </p:sp>
    </p:spTree>
    <p:extLst>
      <p:ext uri="{BB962C8B-B14F-4D97-AF65-F5344CB8AC3E}">
        <p14:creationId xmlns:p14="http://schemas.microsoft.com/office/powerpoint/2010/main" val="35680079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2_Blank-Grey">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sz="2400" dirty="0"/>
            </a:lvl1pPr>
          </a:lstStyle>
          <a:p>
            <a:pPr lvl="0">
              <a:lnSpc>
                <a:spcPts val="3000"/>
              </a:lnSpc>
            </a:pPr>
            <a:r>
              <a:rPr lang="en-US"/>
              <a:t>Click to add title</a:t>
            </a:r>
            <a:endParaRPr lang="pt-PT"/>
          </a:p>
        </p:txBody>
      </p:sp>
      <p:sp>
        <p:nvSpPr>
          <p:cNvPr id="16" name="Text Placeholder 2">
            <a:extLst>
              <a:ext uri="{FF2B5EF4-FFF2-40B4-BE49-F238E27FC236}">
                <a16:creationId xmlns:a16="http://schemas.microsoft.com/office/drawing/2014/main" id="{AF310831-D03E-404B-934F-73B268225B7E}"/>
              </a:ext>
            </a:extLst>
          </p:cNvPr>
          <p:cNvSpPr>
            <a:spLocks noGrp="1"/>
          </p:cNvSpPr>
          <p:nvPr>
            <p:ph idx="1"/>
          </p:nvPr>
        </p:nvSpPr>
        <p:spPr>
          <a:xfrm>
            <a:off x="413067" y="1271016"/>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8" name="Retângulo 43">
            <a:extLst>
              <a:ext uri="{FF2B5EF4-FFF2-40B4-BE49-F238E27FC236}">
                <a16:creationId xmlns:a16="http://schemas.microsoft.com/office/drawing/2014/main"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5" name="Retângulo 43">
            <a:extLst>
              <a:ext uri="{FF2B5EF4-FFF2-40B4-BE49-F238E27FC236}">
                <a16:creationId xmlns:a16="http://schemas.microsoft.com/office/drawing/2014/main" id="{58BD36EC-049D-F143-8076-5E8F53AEF80B}"/>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Tree>
    <p:extLst>
      <p:ext uri="{BB962C8B-B14F-4D97-AF65-F5344CB8AC3E}">
        <p14:creationId xmlns:p14="http://schemas.microsoft.com/office/powerpoint/2010/main" val="28135433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22531" name="think-cell Slide" r:id="rId4" imgW="360" imgH="360" progId="">
                  <p:embed/>
                </p:oleObj>
              </mc:Choice>
              <mc:Fallback>
                <p:oleObj name="think-cell Slide" r:id="rId4" imgW="360" imgH="36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p:nvSpPr>
        <p:spPr bwMode="auto">
          <a:xfrm>
            <a:off x="7189244" y="0"/>
            <a:ext cx="5002756"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4"/>
          </a:solidFill>
          <a:ln w="9525">
            <a:noFill/>
            <a:round/>
            <a:headEnd/>
            <a:tailEnd/>
          </a:ln>
        </p:spPr>
        <p:txBody>
          <a:bodyPr vert="horz" wrap="square" lIns="91416" tIns="45708" rIns="91416" bIns="45708" numCol="1" anchor="t" anchorCtr="0" compatLnSpc="1">
            <a:prstTxWarp prst="textNoShape">
              <a:avLst/>
            </a:prstTxWarp>
          </a:bodyPr>
          <a:lstStyle/>
          <a:p>
            <a:endParaRPr lang="en-GB" sz="2099">
              <a:solidFill>
                <a:schemeClr val="accent4"/>
              </a:solidFill>
            </a:endParaRPr>
          </a:p>
        </p:txBody>
      </p:sp>
      <p:sp>
        <p:nvSpPr>
          <p:cNvPr id="2" name="Title 1"/>
          <p:cNvSpPr>
            <a:spLocks noGrp="1"/>
          </p:cNvSpPr>
          <p:nvPr>
            <p:ph type="title"/>
          </p:nvPr>
        </p:nvSpPr>
        <p:spPr>
          <a:xfrm>
            <a:off x="227349" y="0"/>
            <a:ext cx="6899165" cy="1104900"/>
          </a:xfrm>
          <a:prstGeom prst="rect">
            <a:avLst/>
          </a:prstGeom>
        </p:spPr>
        <p:txBody>
          <a:bodyPr/>
          <a:lstStyle/>
          <a:p>
            <a:r>
              <a:rPr lang="en-US"/>
              <a:t>Click to edit Master title style</a:t>
            </a:r>
            <a:endParaRPr lang="en-GB" dirty="0"/>
          </a:p>
        </p:txBody>
      </p:sp>
      <p:sp>
        <p:nvSpPr>
          <p:cNvPr id="23"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sp>
        <p:nvSpPr>
          <p:cNvPr id="24" name="Freeform 13"/>
          <p:cNvSpPr>
            <a:spLocks/>
          </p:cNvSpPr>
          <p:nvPr/>
        </p:nvSpPr>
        <p:spPr bwMode="auto">
          <a:xfrm>
            <a:off x="11644642" y="334378"/>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16" tIns="45708" rIns="91416" bIns="45708" numCol="1" anchor="t" anchorCtr="0" compatLnSpc="1">
            <a:prstTxWarp prst="textNoShape">
              <a:avLst/>
            </a:prstTxWarp>
          </a:bodyPr>
          <a:lstStyle/>
          <a:p>
            <a:endParaRPr lang="en-GB" sz="2099"/>
          </a:p>
        </p:txBody>
      </p:sp>
      <p:sp>
        <p:nvSpPr>
          <p:cNvPr id="25" name="Freeform 14"/>
          <p:cNvSpPr>
            <a:spLocks/>
          </p:cNvSpPr>
          <p:nvPr/>
        </p:nvSpPr>
        <p:spPr bwMode="auto">
          <a:xfrm>
            <a:off x="11501103"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16" tIns="45708" rIns="91416" bIns="45708" numCol="1" anchor="t" anchorCtr="0" compatLnSpc="1">
            <a:prstTxWarp prst="textNoShape">
              <a:avLst/>
            </a:prstTxWarp>
          </a:bodyPr>
          <a:lstStyle/>
          <a:p>
            <a:endParaRPr lang="en-GB" sz="2099"/>
          </a:p>
        </p:txBody>
      </p:sp>
      <p:sp>
        <p:nvSpPr>
          <p:cNvPr id="8" name="Freeform 5">
            <a:extLst>
              <a:ext uri="{FF2B5EF4-FFF2-40B4-BE49-F238E27FC236}">
                <a16:creationId xmlns:a16="http://schemas.microsoft.com/office/drawing/2014/main" id="{CCD278F6-D1DD-0A40-979A-5AEABFEAA72D}"/>
              </a:ext>
            </a:extLst>
          </p:cNvPr>
          <p:cNvSpPr>
            <a:spLocks/>
          </p:cNvSpPr>
          <p:nvPr userDrawn="1"/>
        </p:nvSpPr>
        <p:spPr bwMode="auto">
          <a:xfrm>
            <a:off x="7189244" y="0"/>
            <a:ext cx="5002756"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4"/>
          </a:solidFill>
          <a:ln w="9525">
            <a:noFill/>
            <a:round/>
            <a:headEnd/>
            <a:tailEnd/>
          </a:ln>
        </p:spPr>
        <p:txBody>
          <a:bodyPr vert="horz" wrap="square" lIns="91416" tIns="45708" rIns="91416" bIns="45708" numCol="1" anchor="t" anchorCtr="0" compatLnSpc="1">
            <a:prstTxWarp prst="textNoShape">
              <a:avLst/>
            </a:prstTxWarp>
          </a:bodyPr>
          <a:lstStyle/>
          <a:p>
            <a:endParaRPr lang="en-GB" sz="2099">
              <a:solidFill>
                <a:schemeClr val="accent4"/>
              </a:solidFill>
            </a:endParaRPr>
          </a:p>
        </p:txBody>
      </p:sp>
      <p:sp>
        <p:nvSpPr>
          <p:cNvPr id="9" name="Freeform 13">
            <a:extLst>
              <a:ext uri="{FF2B5EF4-FFF2-40B4-BE49-F238E27FC236}">
                <a16:creationId xmlns:a16="http://schemas.microsoft.com/office/drawing/2014/main" id="{9A953D92-72F2-DF41-AAF6-8C5016E44045}"/>
              </a:ext>
            </a:extLst>
          </p:cNvPr>
          <p:cNvSpPr>
            <a:spLocks/>
          </p:cNvSpPr>
          <p:nvPr userDrawn="1"/>
        </p:nvSpPr>
        <p:spPr bwMode="auto">
          <a:xfrm>
            <a:off x="11644642" y="334378"/>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16" tIns="45708" rIns="91416" bIns="45708" numCol="1" anchor="t" anchorCtr="0" compatLnSpc="1">
            <a:prstTxWarp prst="textNoShape">
              <a:avLst/>
            </a:prstTxWarp>
          </a:bodyPr>
          <a:lstStyle/>
          <a:p>
            <a:endParaRPr lang="en-GB" sz="2099"/>
          </a:p>
        </p:txBody>
      </p:sp>
      <p:sp>
        <p:nvSpPr>
          <p:cNvPr id="10" name="Freeform 14">
            <a:extLst>
              <a:ext uri="{FF2B5EF4-FFF2-40B4-BE49-F238E27FC236}">
                <a16:creationId xmlns:a16="http://schemas.microsoft.com/office/drawing/2014/main" id="{32E4E629-8688-4741-90CE-06FD6BB5131B}"/>
              </a:ext>
            </a:extLst>
          </p:cNvPr>
          <p:cNvSpPr>
            <a:spLocks/>
          </p:cNvSpPr>
          <p:nvPr userDrawn="1"/>
        </p:nvSpPr>
        <p:spPr bwMode="auto">
          <a:xfrm>
            <a:off x="11501103"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16" tIns="45708" rIns="91416" bIns="45708" numCol="1" anchor="t" anchorCtr="0" compatLnSpc="1">
            <a:prstTxWarp prst="textNoShape">
              <a:avLst/>
            </a:prstTxWarp>
          </a:bodyPr>
          <a:lstStyle/>
          <a:p>
            <a:endParaRPr lang="en-GB" sz="2099"/>
          </a:p>
        </p:txBody>
      </p:sp>
    </p:spTree>
    <p:extLst>
      <p:ext uri="{BB962C8B-B14F-4D97-AF65-F5344CB8AC3E}">
        <p14:creationId xmlns:p14="http://schemas.microsoft.com/office/powerpoint/2010/main" val="7929255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7"/>
          <a:ext cx="180997" cy="143985"/>
        </p:xfrm>
        <a:graphic>
          <a:graphicData uri="http://schemas.openxmlformats.org/presentationml/2006/ole">
            <mc:AlternateContent xmlns:mc="http://schemas.openxmlformats.org/markup-compatibility/2006">
              <mc:Choice xmlns:v="urn:schemas-microsoft-com:vml" Requires="v">
                <p:oleObj spid="_x0000_s2355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7"/>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227349" y="190500"/>
            <a:ext cx="11125236" cy="723900"/>
          </a:xfrm>
          <a:prstGeom prst="rect">
            <a:avLst/>
          </a:prstGeom>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445631" y="1178866"/>
            <a:ext cx="11543057" cy="4643752"/>
          </a:xfrm>
          <a:prstGeom prst="rect">
            <a:avLst/>
          </a:prstGeom>
        </p:spPr>
        <p:txBody>
          <a:bodyPr/>
          <a:lstStyle>
            <a:lvl1pPr>
              <a:defRPr b="0"/>
            </a:lvl1pPr>
            <a:lvl5pPr>
              <a:buNone/>
              <a:defRPr/>
            </a:lvl5pPr>
          </a:lstStyle>
          <a:p>
            <a:pPr lvl="0"/>
            <a:r>
              <a:rPr lang="en-US" noProof="0" dirty="0"/>
              <a:t>Click to edit Ma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3469385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_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3"/>
            <a:ext cx="11700000" cy="446620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a:xfrm>
            <a:off x="227349" y="190500"/>
            <a:ext cx="11125236" cy="723900"/>
          </a:xfrm>
          <a:prstGeom prst="rect">
            <a:avLst/>
          </a:prstGeom>
        </p:spPr>
        <p:txBody>
          <a:bodyPr/>
          <a:lstStyle/>
          <a:p>
            <a:r>
              <a:rPr lang="en-US"/>
              <a:t>Click to edit Master title style</a:t>
            </a:r>
          </a:p>
        </p:txBody>
      </p:sp>
      <p:sp>
        <p:nvSpPr>
          <p:cNvPr id="5" name="Retângulo 43">
            <a:extLst>
              <a:ext uri="{FF2B5EF4-FFF2-40B4-BE49-F238E27FC236}">
                <a16:creationId xmlns:a16="http://schemas.microsoft.com/office/drawing/2014/main" id="{25FC8637-25BD-4C09-AF25-56B4243DAB3D}"/>
              </a:ext>
            </a:extLst>
          </p:cNvPr>
          <p:cNvSpPr/>
          <p:nvPr/>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9" name="Conector reto 49">
            <a:extLst>
              <a:ext uri="{FF2B5EF4-FFF2-40B4-BE49-F238E27FC236}">
                <a16:creationId xmlns:a16="http://schemas.microsoft.com/office/drawing/2014/main" id="{34AC08AF-93C6-4331-887D-F00F28E225BC}"/>
              </a:ext>
            </a:extLst>
          </p:cNvPr>
          <p:cNvCxnSpPr>
            <a:cxnSpLocks/>
          </p:cNvCxnSpPr>
          <p:nvPr/>
        </p:nvCxnSpPr>
        <p:spPr>
          <a:xfrm flipV="1">
            <a:off x="3304685" y="6585692"/>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a16="http://schemas.microsoft.com/office/drawing/2014/main" id="{F635EC66-FD7E-4264-975E-5A41369AC1A5}"/>
              </a:ext>
            </a:extLst>
          </p:cNvPr>
          <p:cNvSpPr/>
          <p:nvPr/>
        </p:nvSpPr>
        <p:spPr>
          <a:xfrm>
            <a:off x="407989" y="6601924"/>
            <a:ext cx="2811667" cy="123111"/>
          </a:xfrm>
          <a:prstGeom prst="rect">
            <a:avLst/>
          </a:prstGeom>
        </p:spPr>
        <p:txBody>
          <a:bodyPr wrap="none" lIns="0" tIns="0" rIns="0" bIns="0" anchor="ctr" anchorCtr="0">
            <a:spAutoFit/>
          </a:bodyPr>
          <a:lstStyle/>
          <a:p>
            <a:pPr lvl="0" algn="l" defTabSz="914400">
              <a:lnSpc>
                <a:spcPct val="100000"/>
              </a:lnSpc>
              <a:defRPr/>
            </a:pPr>
            <a:r>
              <a:rPr lang="en-US" sz="800" kern="0">
                <a:solidFill>
                  <a:srgbClr val="00458D"/>
                </a:solidFill>
                <a:latin typeface="+mn-lt"/>
                <a:cs typeface="Arial" panose="020B0604020202020204" pitchFamily="34" charset="0"/>
              </a:rPr>
              <a:t>Capgemini Cloud Platform Overview | November 2018</a:t>
            </a:r>
          </a:p>
        </p:txBody>
      </p:sp>
      <p:sp>
        <p:nvSpPr>
          <p:cNvPr id="11" name="Retângulo 43">
            <a:extLst>
              <a:ext uri="{FF2B5EF4-FFF2-40B4-BE49-F238E27FC236}">
                <a16:creationId xmlns:a16="http://schemas.microsoft.com/office/drawing/2014/main" id="{9B3E0D63-3081-4A01-99E5-BBC1A4A6050C}"/>
              </a:ext>
            </a:extLst>
          </p:cNvPr>
          <p:cNvSpPr/>
          <p:nvPr/>
        </p:nvSpPr>
        <p:spPr>
          <a:xfrm>
            <a:off x="3389714" y="6599937"/>
            <a:ext cx="2039020" cy="127086"/>
          </a:xfrm>
          <a:prstGeom prst="rect">
            <a:avLst/>
          </a:prstGeom>
        </p:spPr>
        <p:txBody>
          <a:bodyPr wrap="square" lIns="0" tIns="0" rIns="0" bIns="0" anchor="ctr">
            <a:spAutoFit/>
          </a:bodyPr>
          <a:lstStyle/>
          <a:p>
            <a:pPr algn="l">
              <a:lnSpc>
                <a:spcPct val="100000"/>
              </a:lnSpc>
            </a:pPr>
            <a:r>
              <a:rPr lang="en-US" sz="800">
                <a:solidFill>
                  <a:schemeClr val="tx1"/>
                </a:solidFill>
                <a:latin typeface="+mn-lt"/>
                <a:cs typeface="Arial" panose="020B0604020202020204" pitchFamily="34" charset="0"/>
              </a:rPr>
              <a:t>© 2018 Capgemini. All rights reserved.</a:t>
            </a:r>
          </a:p>
        </p:txBody>
      </p:sp>
    </p:spTree>
    <p:extLst>
      <p:ext uri="{BB962C8B-B14F-4D97-AF65-F5344CB8AC3E}">
        <p14:creationId xmlns:p14="http://schemas.microsoft.com/office/powerpoint/2010/main" val="34748051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7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Autofit/>
          </a:bodyPr>
          <a:lstStyle>
            <a:lvl1pPr>
              <a:defRPr lang="pt-PT" dirty="0"/>
            </a:lvl1pPr>
          </a:lstStyle>
          <a:p>
            <a:pPr lvl="0">
              <a:lnSpc>
                <a:spcPts val="3000"/>
              </a:lnSpc>
            </a:pPr>
            <a:r>
              <a:rPr lang="en-US"/>
              <a:t>Click to add title</a:t>
            </a:r>
            <a:endParaRPr lang="pt-PT"/>
          </a:p>
        </p:txBody>
      </p:sp>
      <p:sp>
        <p:nvSpPr>
          <p:cNvPr id="7" name="Retângulo 43">
            <a:extLst>
              <a:ext uri="{FF2B5EF4-FFF2-40B4-BE49-F238E27FC236}">
                <a16:creationId xmlns:a16="http://schemas.microsoft.com/office/drawing/2014/main" id="{25FC8637-25BD-4C09-AF25-56B4243DAB3D}"/>
              </a:ext>
            </a:extLst>
          </p:cNvPr>
          <p:cNvSpPr/>
          <p:nvPr/>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grpSp>
        <p:nvGrpSpPr>
          <p:cNvPr id="12" name="Group 11">
            <a:extLst>
              <a:ext uri="{FF2B5EF4-FFF2-40B4-BE49-F238E27FC236}">
                <a16:creationId xmlns:a16="http://schemas.microsoft.com/office/drawing/2014/main" id="{8ABD83FB-E666-4F67-9FC6-D2A31BE760D6}"/>
              </a:ext>
            </a:extLst>
          </p:cNvPr>
          <p:cNvGrpSpPr/>
          <p:nvPr/>
        </p:nvGrpSpPr>
        <p:grpSpPr>
          <a:xfrm>
            <a:off x="-411672" y="2161948"/>
            <a:ext cx="5634022" cy="4748138"/>
            <a:chOff x="4267265" y="983864"/>
            <a:chExt cx="4732364" cy="3988255"/>
          </a:xfrm>
        </p:grpSpPr>
        <p:sp>
          <p:nvSpPr>
            <p:cNvPr id="13" name="Freeform: Shape 12">
              <a:extLst>
                <a:ext uri="{FF2B5EF4-FFF2-40B4-BE49-F238E27FC236}">
                  <a16:creationId xmlns:a16="http://schemas.microsoft.com/office/drawing/2014/main" id="{043B4560-7377-45CA-B0C1-F7F83F770B63}"/>
                </a:ext>
              </a:extLst>
            </p:cNvPr>
            <p:cNvSpPr/>
            <p:nvPr/>
          </p:nvSpPr>
          <p:spPr>
            <a:xfrm>
              <a:off x="4267265" y="2266723"/>
              <a:ext cx="4732364" cy="2668905"/>
            </a:xfrm>
            <a:custGeom>
              <a:avLst/>
              <a:gdLst>
                <a:gd name="connsiteX0" fmla="*/ 781578 w 4732363"/>
                <a:gd name="connsiteY0" fmla="*/ 2675662 h 2668904"/>
                <a:gd name="connsiteX1" fmla="*/ 166865 w 4732363"/>
                <a:gd name="connsiteY1" fmla="*/ 1183299 h 2668904"/>
                <a:gd name="connsiteX2" fmla="*/ 2582842 w 4732363"/>
                <a:gd name="connsiteY2" fmla="*/ 735640 h 2668904"/>
                <a:gd name="connsiteX3" fmla="*/ 4485796 w 4732363"/>
                <a:gd name="connsiteY3" fmla="*/ 139585 h 2668904"/>
                <a:gd name="connsiteX4" fmla="*/ 4538062 w 4732363"/>
                <a:gd name="connsiteY4" fmla="*/ 1673217 h 2668904"/>
                <a:gd name="connsiteX5" fmla="*/ 4671384 w 4732363"/>
                <a:gd name="connsiteY5" fmla="*/ 2675538 h 2668904"/>
                <a:gd name="connsiteX6" fmla="*/ 781578 w 4732363"/>
                <a:gd name="connsiteY6" fmla="*/ 2675538 h 266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32363" h="2668904">
                  <a:moveTo>
                    <a:pt x="781578" y="2675662"/>
                  </a:moveTo>
                  <a:cubicBezTo>
                    <a:pt x="781578" y="2675662"/>
                    <a:pt x="-434133" y="1805302"/>
                    <a:pt x="166865" y="1183299"/>
                  </a:cubicBezTo>
                  <a:cubicBezTo>
                    <a:pt x="767863" y="561296"/>
                    <a:pt x="2207465" y="962868"/>
                    <a:pt x="2582842" y="735640"/>
                  </a:cubicBezTo>
                  <a:cubicBezTo>
                    <a:pt x="2958218" y="508413"/>
                    <a:pt x="3793734" y="-327474"/>
                    <a:pt x="4485796" y="139585"/>
                  </a:cubicBezTo>
                  <a:cubicBezTo>
                    <a:pt x="5117313" y="565745"/>
                    <a:pt x="4318866" y="1250640"/>
                    <a:pt x="4538062" y="1673217"/>
                  </a:cubicBezTo>
                  <a:cubicBezTo>
                    <a:pt x="4776781" y="2133479"/>
                    <a:pt x="4786913" y="2325863"/>
                    <a:pt x="4671384" y="2675538"/>
                  </a:cubicBezTo>
                  <a:lnTo>
                    <a:pt x="781578" y="2675538"/>
                  </a:lnTo>
                  <a:close/>
                </a:path>
              </a:pathLst>
            </a:custGeom>
            <a:solidFill>
              <a:srgbClr val="88D5ED"/>
            </a:solidFill>
            <a:ln w="12353"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261CE369-5D70-41AB-B52B-EA2609BB253E}"/>
                </a:ext>
              </a:extLst>
            </p:cNvPr>
            <p:cNvSpPr/>
            <p:nvPr/>
          </p:nvSpPr>
          <p:spPr>
            <a:xfrm>
              <a:off x="7479411" y="3384175"/>
              <a:ext cx="111204" cy="111204"/>
            </a:xfrm>
            <a:custGeom>
              <a:avLst/>
              <a:gdLst>
                <a:gd name="connsiteX0" fmla="*/ 120337 w 111204"/>
                <a:gd name="connsiteY0" fmla="*/ 72890 h 111204"/>
                <a:gd name="connsiteX1" fmla="*/ 48672 w 111204"/>
                <a:gd name="connsiteY1" fmla="*/ 120337 h 111204"/>
                <a:gd name="connsiteX2" fmla="*/ 1225 w 111204"/>
                <a:gd name="connsiteY2" fmla="*/ 48672 h 111204"/>
                <a:gd name="connsiteX3" fmla="*/ 72890 w 111204"/>
                <a:gd name="connsiteY3" fmla="*/ 1225 h 111204"/>
                <a:gd name="connsiteX4" fmla="*/ 120337 w 111204"/>
                <a:gd name="connsiteY4" fmla="*/ 72890 h 111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04" h="111204">
                  <a:moveTo>
                    <a:pt x="120337" y="72890"/>
                  </a:moveTo>
                  <a:cubicBezTo>
                    <a:pt x="113665" y="105757"/>
                    <a:pt x="81539" y="127009"/>
                    <a:pt x="48672" y="120337"/>
                  </a:cubicBezTo>
                  <a:cubicBezTo>
                    <a:pt x="15805" y="113665"/>
                    <a:pt x="-5447" y="81539"/>
                    <a:pt x="1225" y="48672"/>
                  </a:cubicBezTo>
                  <a:cubicBezTo>
                    <a:pt x="7897" y="15805"/>
                    <a:pt x="40023" y="-5447"/>
                    <a:pt x="72890" y="1225"/>
                  </a:cubicBezTo>
                  <a:cubicBezTo>
                    <a:pt x="105757" y="7897"/>
                    <a:pt x="127010" y="40023"/>
                    <a:pt x="120337" y="72890"/>
                  </a:cubicBezTo>
                </a:path>
              </a:pathLst>
            </a:custGeom>
            <a:solidFill>
              <a:srgbClr val="FDAC70"/>
            </a:solidFill>
            <a:ln w="12353"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8F5143B3-9EAE-49CA-8C78-604662E621E0}"/>
                </a:ext>
              </a:extLst>
            </p:cNvPr>
            <p:cNvSpPr/>
            <p:nvPr/>
          </p:nvSpPr>
          <p:spPr>
            <a:xfrm>
              <a:off x="7545915" y="3422631"/>
              <a:ext cx="111204" cy="61780"/>
            </a:xfrm>
            <a:custGeom>
              <a:avLst/>
              <a:gdLst>
                <a:gd name="connsiteX0" fmla="*/ 85958 w 111204"/>
                <a:gd name="connsiteY0" fmla="*/ 71996 h 61780"/>
                <a:gd name="connsiteX1" fmla="*/ 24054 w 111204"/>
                <a:gd name="connsiteY1" fmla="*/ 59393 h 61780"/>
                <a:gd name="connsiteX2" fmla="*/ 578 w 111204"/>
                <a:gd name="connsiteY2" fmla="*/ 24055 h 61780"/>
                <a:gd name="connsiteX3" fmla="*/ 35916 w 111204"/>
                <a:gd name="connsiteY3" fmla="*/ 578 h 61780"/>
                <a:gd name="connsiteX4" fmla="*/ 97820 w 111204"/>
                <a:gd name="connsiteY4" fmla="*/ 13181 h 61780"/>
                <a:gd name="connsiteX5" fmla="*/ 121173 w 111204"/>
                <a:gd name="connsiteY5" fmla="*/ 48519 h 61780"/>
                <a:gd name="connsiteX6" fmla="*/ 85958 w 111204"/>
                <a:gd name="connsiteY6" fmla="*/ 71996 h 6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204" h="61780">
                  <a:moveTo>
                    <a:pt x="85958" y="71996"/>
                  </a:moveTo>
                  <a:lnTo>
                    <a:pt x="24054" y="59393"/>
                  </a:lnTo>
                  <a:cubicBezTo>
                    <a:pt x="7868" y="56057"/>
                    <a:pt x="-2634" y="40117"/>
                    <a:pt x="578" y="24055"/>
                  </a:cubicBezTo>
                  <a:cubicBezTo>
                    <a:pt x="3914" y="7868"/>
                    <a:pt x="19853" y="-2635"/>
                    <a:pt x="35916" y="578"/>
                  </a:cubicBezTo>
                  <a:lnTo>
                    <a:pt x="97820" y="13181"/>
                  </a:lnTo>
                  <a:cubicBezTo>
                    <a:pt x="114006" y="16517"/>
                    <a:pt x="124509" y="32457"/>
                    <a:pt x="121173" y="48519"/>
                  </a:cubicBezTo>
                  <a:cubicBezTo>
                    <a:pt x="117960" y="64706"/>
                    <a:pt x="102145" y="75209"/>
                    <a:pt x="85958" y="71996"/>
                  </a:cubicBezTo>
                </a:path>
              </a:pathLst>
            </a:custGeom>
            <a:solidFill>
              <a:srgbClr val="FDAC70"/>
            </a:solidFill>
            <a:ln w="12353"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83B3C0C2-4422-4710-81D0-AB0E7134DAEB}"/>
                </a:ext>
              </a:extLst>
            </p:cNvPr>
            <p:cNvSpPr/>
            <p:nvPr/>
          </p:nvSpPr>
          <p:spPr>
            <a:xfrm>
              <a:off x="7592334" y="3269006"/>
              <a:ext cx="593090" cy="296545"/>
            </a:xfrm>
            <a:custGeom>
              <a:avLst/>
              <a:gdLst>
                <a:gd name="connsiteX0" fmla="*/ 344487 w 593090"/>
                <a:gd name="connsiteY0" fmla="*/ 306677 h 296544"/>
                <a:gd name="connsiteX1" fmla="*/ 340039 w 593090"/>
                <a:gd name="connsiteY1" fmla="*/ 306059 h 296544"/>
                <a:gd name="connsiteX2" fmla="*/ 0 w 593090"/>
                <a:gd name="connsiteY2" fmla="*/ 243908 h 296544"/>
                <a:gd name="connsiteX3" fmla="*/ 20264 w 593090"/>
                <a:gd name="connsiteY3" fmla="*/ 132827 h 296544"/>
                <a:gd name="connsiteX4" fmla="*/ 324840 w 593090"/>
                <a:gd name="connsiteY4" fmla="*/ 188430 h 296544"/>
                <a:gd name="connsiteX5" fmla="*/ 479291 w 593090"/>
                <a:gd name="connsiteY5" fmla="*/ 0 h 296544"/>
                <a:gd name="connsiteX6" fmla="*/ 592719 w 593090"/>
                <a:gd name="connsiteY6" fmla="*/ 7661 h 296544"/>
                <a:gd name="connsiteX7" fmla="*/ 396135 w 593090"/>
                <a:gd name="connsiteY7" fmla="*/ 283200 h 296544"/>
                <a:gd name="connsiteX8" fmla="*/ 344487 w 593090"/>
                <a:gd name="connsiteY8" fmla="*/ 306677 h 29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3090" h="296544">
                  <a:moveTo>
                    <a:pt x="344487" y="306677"/>
                  </a:moveTo>
                  <a:cubicBezTo>
                    <a:pt x="343004" y="306553"/>
                    <a:pt x="341521" y="306306"/>
                    <a:pt x="340039" y="306059"/>
                  </a:cubicBezTo>
                  <a:lnTo>
                    <a:pt x="0" y="243908"/>
                  </a:lnTo>
                  <a:lnTo>
                    <a:pt x="20264" y="132827"/>
                  </a:lnTo>
                  <a:lnTo>
                    <a:pt x="324840" y="188430"/>
                  </a:lnTo>
                  <a:cubicBezTo>
                    <a:pt x="388721" y="97983"/>
                    <a:pt x="479291" y="0"/>
                    <a:pt x="479291" y="0"/>
                  </a:cubicBezTo>
                  <a:lnTo>
                    <a:pt x="592719" y="7661"/>
                  </a:lnTo>
                  <a:cubicBezTo>
                    <a:pt x="596673" y="35091"/>
                    <a:pt x="572950" y="34473"/>
                    <a:pt x="396135" y="283200"/>
                  </a:cubicBezTo>
                  <a:cubicBezTo>
                    <a:pt x="384397" y="299881"/>
                    <a:pt x="364627" y="308777"/>
                    <a:pt x="344487" y="306677"/>
                  </a:cubicBezTo>
                </a:path>
              </a:pathLst>
            </a:custGeom>
            <a:solidFill>
              <a:schemeClr val="accent1"/>
            </a:solidFill>
            <a:ln w="12353"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76745D95-66F2-40EB-B61C-9EBE9472CBCF}"/>
                </a:ext>
              </a:extLst>
            </p:cNvPr>
            <p:cNvSpPr/>
            <p:nvPr/>
          </p:nvSpPr>
          <p:spPr>
            <a:xfrm>
              <a:off x="6374276" y="4218939"/>
              <a:ext cx="815499" cy="716650"/>
            </a:xfrm>
            <a:custGeom>
              <a:avLst/>
              <a:gdLst>
                <a:gd name="connsiteX0" fmla="*/ 407749 w 815498"/>
                <a:gd name="connsiteY0" fmla="*/ 725670 h 716650"/>
                <a:gd name="connsiteX1" fmla="*/ 407749 w 815498"/>
                <a:gd name="connsiteY1" fmla="*/ 725670 h 716650"/>
                <a:gd name="connsiteX2" fmla="*/ 0 w 815498"/>
                <a:gd name="connsiteY2" fmla="*/ 317921 h 716650"/>
                <a:gd name="connsiteX3" fmla="*/ 0 w 815498"/>
                <a:gd name="connsiteY3" fmla="*/ 0 h 716650"/>
                <a:gd name="connsiteX4" fmla="*/ 815499 w 815498"/>
                <a:gd name="connsiteY4" fmla="*/ 0 h 716650"/>
                <a:gd name="connsiteX5" fmla="*/ 815499 w 815498"/>
                <a:gd name="connsiteY5" fmla="*/ 317921 h 716650"/>
                <a:gd name="connsiteX6" fmla="*/ 407749 w 815498"/>
                <a:gd name="connsiteY6" fmla="*/ 725670 h 71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5498" h="716650">
                  <a:moveTo>
                    <a:pt x="407749" y="725670"/>
                  </a:moveTo>
                  <a:lnTo>
                    <a:pt x="407749" y="725670"/>
                  </a:lnTo>
                  <a:cubicBezTo>
                    <a:pt x="182499" y="725670"/>
                    <a:pt x="0" y="543171"/>
                    <a:pt x="0" y="317921"/>
                  </a:cubicBezTo>
                  <a:lnTo>
                    <a:pt x="0" y="0"/>
                  </a:lnTo>
                  <a:lnTo>
                    <a:pt x="815499" y="0"/>
                  </a:lnTo>
                  <a:lnTo>
                    <a:pt x="815499" y="317921"/>
                  </a:lnTo>
                  <a:cubicBezTo>
                    <a:pt x="815499" y="543171"/>
                    <a:pt x="633000" y="725670"/>
                    <a:pt x="407749" y="725670"/>
                  </a:cubicBezTo>
                </a:path>
              </a:pathLst>
            </a:custGeom>
            <a:solidFill>
              <a:srgbClr val="CB2980"/>
            </a:solidFill>
            <a:ln w="12353"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2F5E461F-9CFE-4EE0-ADFE-F42032AD2FE3}"/>
                </a:ext>
              </a:extLst>
            </p:cNvPr>
            <p:cNvSpPr/>
            <p:nvPr/>
          </p:nvSpPr>
          <p:spPr>
            <a:xfrm>
              <a:off x="6777330" y="2608576"/>
              <a:ext cx="1087332" cy="1668065"/>
            </a:xfrm>
            <a:custGeom>
              <a:avLst/>
              <a:gdLst>
                <a:gd name="connsiteX0" fmla="*/ 375500 w 1087331"/>
                <a:gd name="connsiteY0" fmla="*/ 382049 h 1668065"/>
                <a:gd name="connsiteX1" fmla="*/ 383902 w 1087331"/>
                <a:gd name="connsiteY1" fmla="*/ 287649 h 1668065"/>
                <a:gd name="connsiteX2" fmla="*/ 384026 w 1087331"/>
                <a:gd name="connsiteY2" fmla="*/ 287649 h 1668065"/>
                <a:gd name="connsiteX3" fmla="*/ 366480 w 1087331"/>
                <a:gd name="connsiteY3" fmla="*/ 204863 h 1668065"/>
                <a:gd name="connsiteX4" fmla="*/ 571343 w 1087331"/>
                <a:gd name="connsiteY4" fmla="*/ 0 h 1668065"/>
                <a:gd name="connsiteX5" fmla="*/ 776207 w 1087331"/>
                <a:gd name="connsiteY5" fmla="*/ 204863 h 1668065"/>
                <a:gd name="connsiteX6" fmla="*/ 758661 w 1087331"/>
                <a:gd name="connsiteY6" fmla="*/ 287649 h 1668065"/>
                <a:gd name="connsiteX7" fmla="*/ 758785 w 1087331"/>
                <a:gd name="connsiteY7" fmla="*/ 287649 h 1668065"/>
                <a:gd name="connsiteX8" fmla="*/ 767187 w 1087331"/>
                <a:gd name="connsiteY8" fmla="*/ 382049 h 1668065"/>
                <a:gd name="connsiteX9" fmla="*/ 1092398 w 1087331"/>
                <a:gd name="connsiteY9" fmla="*/ 382049 h 1668065"/>
                <a:gd name="connsiteX10" fmla="*/ 600133 w 1087331"/>
                <a:gd name="connsiteY10" fmla="*/ 1119457 h 1668065"/>
                <a:gd name="connsiteX11" fmla="*/ 410221 w 1087331"/>
                <a:gd name="connsiteY11" fmla="*/ 1586268 h 1668065"/>
                <a:gd name="connsiteX12" fmla="*/ 0 w 1087331"/>
                <a:gd name="connsiteY12" fmla="*/ 1678321 h 1668065"/>
                <a:gd name="connsiteX13" fmla="*/ 0 w 1087331"/>
                <a:gd name="connsiteY13" fmla="*/ 382049 h 1668065"/>
                <a:gd name="connsiteX14" fmla="*/ 375500 w 1087331"/>
                <a:gd name="connsiteY14" fmla="*/ 382049 h 1668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7331" h="1668065">
                  <a:moveTo>
                    <a:pt x="375500" y="382049"/>
                  </a:moveTo>
                  <a:cubicBezTo>
                    <a:pt x="417881" y="348317"/>
                    <a:pt x="383902" y="287649"/>
                    <a:pt x="383902" y="287649"/>
                  </a:cubicBezTo>
                  <a:lnTo>
                    <a:pt x="384026" y="287649"/>
                  </a:lnTo>
                  <a:cubicBezTo>
                    <a:pt x="372782" y="262319"/>
                    <a:pt x="366480" y="234394"/>
                    <a:pt x="366480" y="204863"/>
                  </a:cubicBezTo>
                  <a:cubicBezTo>
                    <a:pt x="366480" y="91805"/>
                    <a:pt x="458162" y="0"/>
                    <a:pt x="571343" y="0"/>
                  </a:cubicBezTo>
                  <a:cubicBezTo>
                    <a:pt x="684525" y="0"/>
                    <a:pt x="776207" y="91682"/>
                    <a:pt x="776207" y="204863"/>
                  </a:cubicBezTo>
                  <a:cubicBezTo>
                    <a:pt x="776207" y="234394"/>
                    <a:pt x="769905" y="262319"/>
                    <a:pt x="758661" y="287649"/>
                  </a:cubicBezTo>
                  <a:lnTo>
                    <a:pt x="758785" y="287649"/>
                  </a:lnTo>
                  <a:cubicBezTo>
                    <a:pt x="758785" y="287649"/>
                    <a:pt x="724929" y="348317"/>
                    <a:pt x="767187" y="382049"/>
                  </a:cubicBezTo>
                  <a:lnTo>
                    <a:pt x="1092398" y="382049"/>
                  </a:lnTo>
                  <a:cubicBezTo>
                    <a:pt x="1025675" y="718380"/>
                    <a:pt x="786215" y="915583"/>
                    <a:pt x="600133" y="1119457"/>
                  </a:cubicBezTo>
                  <a:cubicBezTo>
                    <a:pt x="394158" y="1344955"/>
                    <a:pt x="408120" y="1571441"/>
                    <a:pt x="410221" y="1586268"/>
                  </a:cubicBezTo>
                  <a:cubicBezTo>
                    <a:pt x="426160" y="1697473"/>
                    <a:pt x="0" y="1678321"/>
                    <a:pt x="0" y="1678321"/>
                  </a:cubicBezTo>
                  <a:lnTo>
                    <a:pt x="0" y="382049"/>
                  </a:lnTo>
                  <a:lnTo>
                    <a:pt x="375500" y="382049"/>
                  </a:lnTo>
                  <a:close/>
                </a:path>
              </a:pathLst>
            </a:custGeom>
            <a:solidFill>
              <a:schemeClr val="accent4"/>
            </a:solidFill>
            <a:ln w="12353"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A8FE596-1EB6-414C-896F-4011BECF6263}"/>
                </a:ext>
              </a:extLst>
            </p:cNvPr>
            <p:cNvSpPr/>
            <p:nvPr/>
          </p:nvSpPr>
          <p:spPr>
            <a:xfrm>
              <a:off x="6409120" y="1692993"/>
              <a:ext cx="1470369" cy="1297384"/>
            </a:xfrm>
            <a:custGeom>
              <a:avLst/>
              <a:gdLst>
                <a:gd name="connsiteX0" fmla="*/ 204987 w 1470368"/>
                <a:gd name="connsiteY0" fmla="*/ 367345 h 1297384"/>
                <a:gd name="connsiteX1" fmla="*/ 287649 w 1470368"/>
                <a:gd name="connsiteY1" fmla="*/ 384891 h 1297384"/>
                <a:gd name="connsiteX2" fmla="*/ 287649 w 1470368"/>
                <a:gd name="connsiteY2" fmla="*/ 384767 h 1297384"/>
                <a:gd name="connsiteX3" fmla="*/ 367963 w 1470368"/>
                <a:gd name="connsiteY3" fmla="*/ 389092 h 1297384"/>
                <a:gd name="connsiteX4" fmla="*/ 367963 w 1470368"/>
                <a:gd name="connsiteY4" fmla="*/ 0 h 1297384"/>
                <a:gd name="connsiteX5" fmla="*/ 486704 w 1470368"/>
                <a:gd name="connsiteY5" fmla="*/ 10008 h 1297384"/>
                <a:gd name="connsiteX6" fmla="*/ 1462338 w 1470368"/>
                <a:gd name="connsiteY6" fmla="*/ 917189 h 1297384"/>
                <a:gd name="connsiteX7" fmla="*/ 1460361 w 1470368"/>
                <a:gd name="connsiteY7" fmla="*/ 1297755 h 1297384"/>
                <a:gd name="connsiteX8" fmla="*/ 1135150 w 1470368"/>
                <a:gd name="connsiteY8" fmla="*/ 1297755 h 1297384"/>
                <a:gd name="connsiteX9" fmla="*/ 1126748 w 1470368"/>
                <a:gd name="connsiteY9" fmla="*/ 1203355 h 1297384"/>
                <a:gd name="connsiteX10" fmla="*/ 1126624 w 1470368"/>
                <a:gd name="connsiteY10" fmla="*/ 1203355 h 1297384"/>
                <a:gd name="connsiteX11" fmla="*/ 1144170 w 1470368"/>
                <a:gd name="connsiteY11" fmla="*/ 1120569 h 1297384"/>
                <a:gd name="connsiteX12" fmla="*/ 939306 w 1470368"/>
                <a:gd name="connsiteY12" fmla="*/ 915706 h 1297384"/>
                <a:gd name="connsiteX13" fmla="*/ 734443 w 1470368"/>
                <a:gd name="connsiteY13" fmla="*/ 1120569 h 1297384"/>
                <a:gd name="connsiteX14" fmla="*/ 751989 w 1470368"/>
                <a:gd name="connsiteY14" fmla="*/ 1203355 h 1297384"/>
                <a:gd name="connsiteX15" fmla="*/ 751865 w 1470368"/>
                <a:gd name="connsiteY15" fmla="*/ 1203355 h 1297384"/>
                <a:gd name="connsiteX16" fmla="*/ 743463 w 1470368"/>
                <a:gd name="connsiteY16" fmla="*/ 1297755 h 1297384"/>
                <a:gd name="connsiteX17" fmla="*/ 367839 w 1470368"/>
                <a:gd name="connsiteY17" fmla="*/ 1297755 h 1297384"/>
                <a:gd name="connsiteX18" fmla="*/ 367839 w 1470368"/>
                <a:gd name="connsiteY18" fmla="*/ 755448 h 1297384"/>
                <a:gd name="connsiteX19" fmla="*/ 287525 w 1470368"/>
                <a:gd name="connsiteY19" fmla="*/ 759773 h 1297384"/>
                <a:gd name="connsiteX20" fmla="*/ 287525 w 1470368"/>
                <a:gd name="connsiteY20" fmla="*/ 759649 h 1297384"/>
                <a:gd name="connsiteX21" fmla="*/ 204863 w 1470368"/>
                <a:gd name="connsiteY21" fmla="*/ 777195 h 1297384"/>
                <a:gd name="connsiteX22" fmla="*/ 0 w 1470368"/>
                <a:gd name="connsiteY22" fmla="*/ 572332 h 1297384"/>
                <a:gd name="connsiteX23" fmla="*/ 204987 w 1470368"/>
                <a:gd name="connsiteY23" fmla="*/ 367345 h 1297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70368" h="1297384">
                  <a:moveTo>
                    <a:pt x="204987" y="367345"/>
                  </a:moveTo>
                  <a:cubicBezTo>
                    <a:pt x="234394" y="367345"/>
                    <a:pt x="262442" y="373647"/>
                    <a:pt x="287649" y="384891"/>
                  </a:cubicBezTo>
                  <a:lnTo>
                    <a:pt x="287649" y="384767"/>
                  </a:lnTo>
                  <a:cubicBezTo>
                    <a:pt x="287649" y="384767"/>
                    <a:pt x="333860" y="410591"/>
                    <a:pt x="367963" y="389092"/>
                  </a:cubicBezTo>
                  <a:lnTo>
                    <a:pt x="367963" y="0"/>
                  </a:lnTo>
                  <a:cubicBezTo>
                    <a:pt x="407749" y="0"/>
                    <a:pt x="447412" y="3336"/>
                    <a:pt x="486704" y="10008"/>
                  </a:cubicBezTo>
                  <a:cubicBezTo>
                    <a:pt x="1002322" y="97489"/>
                    <a:pt x="1374857" y="369940"/>
                    <a:pt x="1462338" y="917189"/>
                  </a:cubicBezTo>
                  <a:cubicBezTo>
                    <a:pt x="1485567" y="1062372"/>
                    <a:pt x="1482231" y="1187539"/>
                    <a:pt x="1460361" y="1297755"/>
                  </a:cubicBezTo>
                  <a:lnTo>
                    <a:pt x="1135150" y="1297755"/>
                  </a:lnTo>
                  <a:cubicBezTo>
                    <a:pt x="1092768" y="1264023"/>
                    <a:pt x="1126748" y="1203355"/>
                    <a:pt x="1126748" y="1203355"/>
                  </a:cubicBezTo>
                  <a:lnTo>
                    <a:pt x="1126624" y="1203355"/>
                  </a:lnTo>
                  <a:cubicBezTo>
                    <a:pt x="1137868" y="1178025"/>
                    <a:pt x="1144170" y="1150100"/>
                    <a:pt x="1144170" y="1120569"/>
                  </a:cubicBezTo>
                  <a:cubicBezTo>
                    <a:pt x="1144170" y="1007511"/>
                    <a:pt x="1052488" y="915706"/>
                    <a:pt x="939306" y="915706"/>
                  </a:cubicBezTo>
                  <a:cubicBezTo>
                    <a:pt x="826248" y="915706"/>
                    <a:pt x="734443" y="1007388"/>
                    <a:pt x="734443" y="1120569"/>
                  </a:cubicBezTo>
                  <a:cubicBezTo>
                    <a:pt x="734443" y="1150100"/>
                    <a:pt x="740745" y="1178025"/>
                    <a:pt x="751989" y="1203355"/>
                  </a:cubicBezTo>
                  <a:lnTo>
                    <a:pt x="751865" y="1203355"/>
                  </a:lnTo>
                  <a:cubicBezTo>
                    <a:pt x="751865" y="1203355"/>
                    <a:pt x="785844" y="1264023"/>
                    <a:pt x="743463" y="1297755"/>
                  </a:cubicBezTo>
                  <a:lnTo>
                    <a:pt x="367839" y="1297755"/>
                  </a:lnTo>
                  <a:lnTo>
                    <a:pt x="367839" y="755448"/>
                  </a:lnTo>
                  <a:cubicBezTo>
                    <a:pt x="333737" y="733949"/>
                    <a:pt x="287525" y="759773"/>
                    <a:pt x="287525" y="759773"/>
                  </a:cubicBezTo>
                  <a:lnTo>
                    <a:pt x="287525" y="759649"/>
                  </a:lnTo>
                  <a:cubicBezTo>
                    <a:pt x="262195" y="770893"/>
                    <a:pt x="234270" y="777195"/>
                    <a:pt x="204863" y="777195"/>
                  </a:cubicBezTo>
                  <a:cubicBezTo>
                    <a:pt x="91682" y="777195"/>
                    <a:pt x="0" y="685513"/>
                    <a:pt x="0" y="572332"/>
                  </a:cubicBezTo>
                  <a:cubicBezTo>
                    <a:pt x="0" y="459151"/>
                    <a:pt x="91929" y="367345"/>
                    <a:pt x="204987" y="367345"/>
                  </a:cubicBezTo>
                </a:path>
              </a:pathLst>
            </a:custGeom>
            <a:solidFill>
              <a:schemeClr val="accent1"/>
            </a:solidFill>
            <a:ln w="12353"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F9B82EA1-F17B-44E2-A856-B28A01FB0D3D}"/>
                </a:ext>
              </a:extLst>
            </p:cNvPr>
            <p:cNvSpPr/>
            <p:nvPr/>
          </p:nvSpPr>
          <p:spPr>
            <a:xfrm>
              <a:off x="5684809" y="2608576"/>
              <a:ext cx="1445657" cy="1668065"/>
            </a:xfrm>
            <a:custGeom>
              <a:avLst/>
              <a:gdLst>
                <a:gd name="connsiteX0" fmla="*/ 0 w 1445656"/>
                <a:gd name="connsiteY0" fmla="*/ 382049 h 1668065"/>
                <a:gd name="connsiteX1" fmla="*/ 306553 w 1445656"/>
                <a:gd name="connsiteY1" fmla="*/ 382049 h 1668065"/>
                <a:gd name="connsiteX2" fmla="*/ 314955 w 1445656"/>
                <a:gd name="connsiteY2" fmla="*/ 287649 h 1668065"/>
                <a:gd name="connsiteX3" fmla="*/ 315079 w 1445656"/>
                <a:gd name="connsiteY3" fmla="*/ 287649 h 1668065"/>
                <a:gd name="connsiteX4" fmla="*/ 297533 w 1445656"/>
                <a:gd name="connsiteY4" fmla="*/ 204863 h 1668065"/>
                <a:gd name="connsiteX5" fmla="*/ 502397 w 1445656"/>
                <a:gd name="connsiteY5" fmla="*/ 0 h 1668065"/>
                <a:gd name="connsiteX6" fmla="*/ 707260 w 1445656"/>
                <a:gd name="connsiteY6" fmla="*/ 204863 h 1668065"/>
                <a:gd name="connsiteX7" fmla="*/ 689714 w 1445656"/>
                <a:gd name="connsiteY7" fmla="*/ 287649 h 1668065"/>
                <a:gd name="connsiteX8" fmla="*/ 689838 w 1445656"/>
                <a:gd name="connsiteY8" fmla="*/ 287649 h 1668065"/>
                <a:gd name="connsiteX9" fmla="*/ 698240 w 1445656"/>
                <a:gd name="connsiteY9" fmla="*/ 382049 h 1668065"/>
                <a:gd name="connsiteX10" fmla="*/ 1092521 w 1445656"/>
                <a:gd name="connsiteY10" fmla="*/ 382049 h 1668065"/>
                <a:gd name="connsiteX11" fmla="*/ 1092521 w 1445656"/>
                <a:gd name="connsiteY11" fmla="*/ 799683 h 1668065"/>
                <a:gd name="connsiteX12" fmla="*/ 1164433 w 1445656"/>
                <a:gd name="connsiteY12" fmla="*/ 791157 h 1668065"/>
                <a:gd name="connsiteX13" fmla="*/ 1164433 w 1445656"/>
                <a:gd name="connsiteY13" fmla="*/ 791281 h 1668065"/>
                <a:gd name="connsiteX14" fmla="*/ 1247095 w 1445656"/>
                <a:gd name="connsiteY14" fmla="*/ 773735 h 1668065"/>
                <a:gd name="connsiteX15" fmla="*/ 1451959 w 1445656"/>
                <a:gd name="connsiteY15" fmla="*/ 978598 h 1668065"/>
                <a:gd name="connsiteX16" fmla="*/ 1247095 w 1445656"/>
                <a:gd name="connsiteY16" fmla="*/ 1183462 h 1668065"/>
                <a:gd name="connsiteX17" fmla="*/ 1164433 w 1445656"/>
                <a:gd name="connsiteY17" fmla="*/ 1165916 h 1668065"/>
                <a:gd name="connsiteX18" fmla="*/ 1164433 w 1445656"/>
                <a:gd name="connsiteY18" fmla="*/ 1166040 h 1668065"/>
                <a:gd name="connsiteX19" fmla="*/ 1092521 w 1445656"/>
                <a:gd name="connsiteY19" fmla="*/ 1157514 h 1668065"/>
                <a:gd name="connsiteX20" fmla="*/ 1092521 w 1445656"/>
                <a:gd name="connsiteY20" fmla="*/ 1678568 h 1668065"/>
                <a:gd name="connsiteX21" fmla="*/ 682301 w 1445656"/>
                <a:gd name="connsiteY21" fmla="*/ 1586516 h 1668065"/>
                <a:gd name="connsiteX22" fmla="*/ 492388 w 1445656"/>
                <a:gd name="connsiteY22" fmla="*/ 1119704 h 1668065"/>
                <a:gd name="connsiteX23" fmla="*/ 0 w 1445656"/>
                <a:gd name="connsiteY23" fmla="*/ 382049 h 1668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5656" h="1668065">
                  <a:moveTo>
                    <a:pt x="0" y="382049"/>
                  </a:moveTo>
                  <a:lnTo>
                    <a:pt x="306553" y="382049"/>
                  </a:lnTo>
                  <a:cubicBezTo>
                    <a:pt x="348935" y="348317"/>
                    <a:pt x="314955" y="287649"/>
                    <a:pt x="314955" y="287649"/>
                  </a:cubicBezTo>
                  <a:lnTo>
                    <a:pt x="315079" y="287649"/>
                  </a:lnTo>
                  <a:cubicBezTo>
                    <a:pt x="303835" y="262319"/>
                    <a:pt x="297533" y="234394"/>
                    <a:pt x="297533" y="204863"/>
                  </a:cubicBezTo>
                  <a:cubicBezTo>
                    <a:pt x="297533" y="91805"/>
                    <a:pt x="389215" y="0"/>
                    <a:pt x="502397" y="0"/>
                  </a:cubicBezTo>
                  <a:cubicBezTo>
                    <a:pt x="615578" y="0"/>
                    <a:pt x="707260" y="91682"/>
                    <a:pt x="707260" y="204863"/>
                  </a:cubicBezTo>
                  <a:cubicBezTo>
                    <a:pt x="707260" y="234394"/>
                    <a:pt x="700958" y="262319"/>
                    <a:pt x="689714" y="287649"/>
                  </a:cubicBezTo>
                  <a:lnTo>
                    <a:pt x="689838" y="287649"/>
                  </a:lnTo>
                  <a:cubicBezTo>
                    <a:pt x="689838" y="287649"/>
                    <a:pt x="655859" y="348317"/>
                    <a:pt x="698240" y="382049"/>
                  </a:cubicBezTo>
                  <a:lnTo>
                    <a:pt x="1092521" y="382049"/>
                  </a:lnTo>
                  <a:lnTo>
                    <a:pt x="1092521" y="799683"/>
                  </a:lnTo>
                  <a:cubicBezTo>
                    <a:pt x="1125388" y="813027"/>
                    <a:pt x="1164433" y="791157"/>
                    <a:pt x="1164433" y="791157"/>
                  </a:cubicBezTo>
                  <a:lnTo>
                    <a:pt x="1164433" y="791281"/>
                  </a:lnTo>
                  <a:cubicBezTo>
                    <a:pt x="1189763" y="780037"/>
                    <a:pt x="1217688" y="773735"/>
                    <a:pt x="1247095" y="773735"/>
                  </a:cubicBezTo>
                  <a:cubicBezTo>
                    <a:pt x="1360153" y="773735"/>
                    <a:pt x="1451959" y="865417"/>
                    <a:pt x="1451959" y="978598"/>
                  </a:cubicBezTo>
                  <a:cubicBezTo>
                    <a:pt x="1451959" y="1091780"/>
                    <a:pt x="1360277" y="1183462"/>
                    <a:pt x="1247095" y="1183462"/>
                  </a:cubicBezTo>
                  <a:cubicBezTo>
                    <a:pt x="1217564" y="1183462"/>
                    <a:pt x="1189640" y="1177160"/>
                    <a:pt x="1164433" y="1165916"/>
                  </a:cubicBezTo>
                  <a:lnTo>
                    <a:pt x="1164433" y="1166040"/>
                  </a:lnTo>
                  <a:cubicBezTo>
                    <a:pt x="1164433" y="1166040"/>
                    <a:pt x="1125388" y="1144293"/>
                    <a:pt x="1092521" y="1157514"/>
                  </a:cubicBezTo>
                  <a:lnTo>
                    <a:pt x="1092521" y="1678568"/>
                  </a:lnTo>
                  <a:cubicBezTo>
                    <a:pt x="1092521" y="1678568"/>
                    <a:pt x="682424" y="1697596"/>
                    <a:pt x="682301" y="1586516"/>
                  </a:cubicBezTo>
                  <a:cubicBezTo>
                    <a:pt x="682301" y="1571565"/>
                    <a:pt x="698363" y="1345202"/>
                    <a:pt x="492388" y="1119704"/>
                  </a:cubicBezTo>
                  <a:cubicBezTo>
                    <a:pt x="306059" y="915583"/>
                    <a:pt x="66599" y="718380"/>
                    <a:pt x="0" y="382049"/>
                  </a:cubicBezTo>
                </a:path>
              </a:pathLst>
            </a:custGeom>
            <a:solidFill>
              <a:schemeClr val="accent2"/>
            </a:solidFill>
            <a:ln w="12353"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23338981-3770-4327-9E99-739950E49465}"/>
                </a:ext>
              </a:extLst>
            </p:cNvPr>
            <p:cNvSpPr/>
            <p:nvPr/>
          </p:nvSpPr>
          <p:spPr>
            <a:xfrm>
              <a:off x="6272091" y="4190519"/>
              <a:ext cx="988483" cy="160629"/>
            </a:xfrm>
            <a:custGeom>
              <a:avLst/>
              <a:gdLst>
                <a:gd name="connsiteX0" fmla="*/ 912247 w 988483"/>
                <a:gd name="connsiteY0" fmla="*/ 164830 h 160628"/>
                <a:gd name="connsiteX1" fmla="*/ 82415 w 988483"/>
                <a:gd name="connsiteY1" fmla="*/ 164830 h 160628"/>
                <a:gd name="connsiteX2" fmla="*/ 0 w 988483"/>
                <a:gd name="connsiteY2" fmla="*/ 82415 h 160628"/>
                <a:gd name="connsiteX3" fmla="*/ 82415 w 988483"/>
                <a:gd name="connsiteY3" fmla="*/ 0 h 160628"/>
                <a:gd name="connsiteX4" fmla="*/ 912247 w 988483"/>
                <a:gd name="connsiteY4" fmla="*/ 0 h 160628"/>
                <a:gd name="connsiteX5" fmla="*/ 994661 w 988483"/>
                <a:gd name="connsiteY5" fmla="*/ 82415 h 160628"/>
                <a:gd name="connsiteX6" fmla="*/ 912247 w 988483"/>
                <a:gd name="connsiteY6" fmla="*/ 164830 h 16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483" h="160628">
                  <a:moveTo>
                    <a:pt x="912247" y="164830"/>
                  </a:moveTo>
                  <a:lnTo>
                    <a:pt x="82415" y="164830"/>
                  </a:lnTo>
                  <a:cubicBezTo>
                    <a:pt x="36945" y="164830"/>
                    <a:pt x="0" y="128009"/>
                    <a:pt x="0" y="82415"/>
                  </a:cubicBezTo>
                  <a:cubicBezTo>
                    <a:pt x="0" y="36945"/>
                    <a:pt x="36945" y="0"/>
                    <a:pt x="82415" y="0"/>
                  </a:cubicBezTo>
                  <a:lnTo>
                    <a:pt x="912247" y="0"/>
                  </a:lnTo>
                  <a:cubicBezTo>
                    <a:pt x="957717" y="0"/>
                    <a:pt x="994661" y="36821"/>
                    <a:pt x="994661" y="82415"/>
                  </a:cubicBezTo>
                  <a:cubicBezTo>
                    <a:pt x="994661" y="128009"/>
                    <a:pt x="957717" y="164830"/>
                    <a:pt x="912247" y="164830"/>
                  </a:cubicBezTo>
                </a:path>
              </a:pathLst>
            </a:custGeom>
            <a:solidFill>
              <a:schemeClr val="accent5"/>
            </a:solidFill>
            <a:ln w="12353"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7664C1E6-035D-4CC0-85E4-F7BB2741F842}"/>
                </a:ext>
              </a:extLst>
            </p:cNvPr>
            <p:cNvSpPr/>
            <p:nvPr/>
          </p:nvSpPr>
          <p:spPr>
            <a:xfrm>
              <a:off x="6272091" y="4479280"/>
              <a:ext cx="988483" cy="160629"/>
            </a:xfrm>
            <a:custGeom>
              <a:avLst/>
              <a:gdLst>
                <a:gd name="connsiteX0" fmla="*/ 912247 w 988483"/>
                <a:gd name="connsiteY0" fmla="*/ 164830 h 160628"/>
                <a:gd name="connsiteX1" fmla="*/ 82415 w 988483"/>
                <a:gd name="connsiteY1" fmla="*/ 164830 h 160628"/>
                <a:gd name="connsiteX2" fmla="*/ 0 w 988483"/>
                <a:gd name="connsiteY2" fmla="*/ 82415 h 160628"/>
                <a:gd name="connsiteX3" fmla="*/ 82415 w 988483"/>
                <a:gd name="connsiteY3" fmla="*/ 0 h 160628"/>
                <a:gd name="connsiteX4" fmla="*/ 912247 w 988483"/>
                <a:gd name="connsiteY4" fmla="*/ 0 h 160628"/>
                <a:gd name="connsiteX5" fmla="*/ 994661 w 988483"/>
                <a:gd name="connsiteY5" fmla="*/ 82415 h 160628"/>
                <a:gd name="connsiteX6" fmla="*/ 912247 w 988483"/>
                <a:gd name="connsiteY6" fmla="*/ 164830 h 16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483" h="160628">
                  <a:moveTo>
                    <a:pt x="912247" y="164830"/>
                  </a:moveTo>
                  <a:lnTo>
                    <a:pt x="82415" y="164830"/>
                  </a:lnTo>
                  <a:cubicBezTo>
                    <a:pt x="36945" y="164830"/>
                    <a:pt x="0" y="128008"/>
                    <a:pt x="0" y="82415"/>
                  </a:cubicBezTo>
                  <a:cubicBezTo>
                    <a:pt x="0" y="36944"/>
                    <a:pt x="36945" y="0"/>
                    <a:pt x="82415" y="0"/>
                  </a:cubicBezTo>
                  <a:lnTo>
                    <a:pt x="912247" y="0"/>
                  </a:lnTo>
                  <a:cubicBezTo>
                    <a:pt x="957717" y="0"/>
                    <a:pt x="994661" y="36821"/>
                    <a:pt x="994661" y="82415"/>
                  </a:cubicBezTo>
                  <a:cubicBezTo>
                    <a:pt x="994661" y="127885"/>
                    <a:pt x="957717" y="164830"/>
                    <a:pt x="912247" y="164830"/>
                  </a:cubicBezTo>
                </a:path>
              </a:pathLst>
            </a:custGeom>
            <a:solidFill>
              <a:schemeClr val="accent5"/>
            </a:solidFill>
            <a:ln w="12353"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63FCDA24-1584-472A-A62F-76B450A931A0}"/>
                </a:ext>
              </a:extLst>
            </p:cNvPr>
            <p:cNvSpPr/>
            <p:nvPr/>
          </p:nvSpPr>
          <p:spPr>
            <a:xfrm>
              <a:off x="8046542" y="3774368"/>
              <a:ext cx="370681" cy="148272"/>
            </a:xfrm>
            <a:custGeom>
              <a:avLst/>
              <a:gdLst>
                <a:gd name="connsiteX0" fmla="*/ 35956 w 370681"/>
                <a:gd name="connsiteY0" fmla="*/ 0 h 148272"/>
                <a:gd name="connsiteX1" fmla="*/ 0 w 370681"/>
                <a:gd name="connsiteY1" fmla="*/ 124178 h 148272"/>
                <a:gd name="connsiteX2" fmla="*/ 377724 w 370681"/>
                <a:gd name="connsiteY2" fmla="*/ 157910 h 148272"/>
                <a:gd name="connsiteX3" fmla="*/ 370434 w 370681"/>
                <a:gd name="connsiteY3" fmla="*/ 371 h 148272"/>
              </a:gdLst>
              <a:ahLst/>
              <a:cxnLst>
                <a:cxn ang="0">
                  <a:pos x="connsiteX0" y="connsiteY0"/>
                </a:cxn>
                <a:cxn ang="0">
                  <a:pos x="connsiteX1" y="connsiteY1"/>
                </a:cxn>
                <a:cxn ang="0">
                  <a:pos x="connsiteX2" y="connsiteY2"/>
                </a:cxn>
                <a:cxn ang="0">
                  <a:pos x="connsiteX3" y="connsiteY3"/>
                </a:cxn>
              </a:cxnLst>
              <a:rect l="l" t="t" r="r" b="b"/>
              <a:pathLst>
                <a:path w="370681" h="148272">
                  <a:moveTo>
                    <a:pt x="35956" y="0"/>
                  </a:moveTo>
                  <a:lnTo>
                    <a:pt x="0" y="124178"/>
                  </a:lnTo>
                  <a:lnTo>
                    <a:pt x="377724" y="157910"/>
                  </a:lnTo>
                  <a:lnTo>
                    <a:pt x="370434" y="371"/>
                  </a:lnTo>
                  <a:close/>
                </a:path>
              </a:pathLst>
            </a:custGeom>
            <a:solidFill>
              <a:schemeClr val="accent1"/>
            </a:solidFill>
            <a:ln w="12353"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CC101DA2-2661-42C8-B6CA-5095A2E571C5}"/>
                </a:ext>
              </a:extLst>
            </p:cNvPr>
            <p:cNvSpPr/>
            <p:nvPr/>
          </p:nvSpPr>
          <p:spPr>
            <a:xfrm>
              <a:off x="7953872" y="3861849"/>
              <a:ext cx="284189" cy="963771"/>
            </a:xfrm>
            <a:custGeom>
              <a:avLst/>
              <a:gdLst>
                <a:gd name="connsiteX0" fmla="*/ 293950 w 284188"/>
                <a:gd name="connsiteY0" fmla="*/ 0 h 963771"/>
                <a:gd name="connsiteX1" fmla="*/ 157540 w 284188"/>
                <a:gd name="connsiteY1" fmla="*/ 380195 h 963771"/>
                <a:gd name="connsiteX2" fmla="*/ 138882 w 284188"/>
                <a:gd name="connsiteY2" fmla="*/ 967478 h 963771"/>
                <a:gd name="connsiteX3" fmla="*/ 4448 w 284188"/>
                <a:gd name="connsiteY3" fmla="*/ 965625 h 963771"/>
                <a:gd name="connsiteX4" fmla="*/ 0 w 284188"/>
                <a:gd name="connsiteY4" fmla="*/ 353383 h 963771"/>
                <a:gd name="connsiteX5" fmla="*/ 102555 w 284188"/>
                <a:gd name="connsiteY5" fmla="*/ 3213 h 96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188" h="963771">
                  <a:moveTo>
                    <a:pt x="293950" y="0"/>
                  </a:moveTo>
                  <a:lnTo>
                    <a:pt x="157540" y="380195"/>
                  </a:lnTo>
                  <a:lnTo>
                    <a:pt x="138882" y="967478"/>
                  </a:lnTo>
                  <a:lnTo>
                    <a:pt x="4448" y="965625"/>
                  </a:lnTo>
                  <a:lnTo>
                    <a:pt x="0" y="353383"/>
                  </a:lnTo>
                  <a:lnTo>
                    <a:pt x="102555" y="3213"/>
                  </a:lnTo>
                  <a:close/>
                </a:path>
              </a:pathLst>
            </a:custGeom>
            <a:solidFill>
              <a:srgbClr val="4701A7"/>
            </a:solidFill>
            <a:ln w="12353"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2C33B35-C61A-491F-9A4E-25FFB24708BD}"/>
                </a:ext>
              </a:extLst>
            </p:cNvPr>
            <p:cNvSpPr/>
            <p:nvPr/>
          </p:nvSpPr>
          <p:spPr>
            <a:xfrm>
              <a:off x="8130564" y="3902377"/>
              <a:ext cx="86492" cy="135916"/>
            </a:xfrm>
            <a:custGeom>
              <a:avLst/>
              <a:gdLst>
                <a:gd name="connsiteX0" fmla="*/ 98107 w 86492"/>
                <a:gd name="connsiteY0" fmla="*/ 12850 h 135916"/>
                <a:gd name="connsiteX1" fmla="*/ 0 w 86492"/>
                <a:gd name="connsiteY1" fmla="*/ 0 h 135916"/>
                <a:gd name="connsiteX2" fmla="*/ 52760 w 86492"/>
                <a:gd name="connsiteY2" fmla="*/ 139129 h 135916"/>
              </a:gdLst>
              <a:ahLst/>
              <a:cxnLst>
                <a:cxn ang="0">
                  <a:pos x="connsiteX0" y="connsiteY0"/>
                </a:cxn>
                <a:cxn ang="0">
                  <a:pos x="connsiteX1" y="connsiteY1"/>
                </a:cxn>
                <a:cxn ang="0">
                  <a:pos x="connsiteX2" y="connsiteY2"/>
                </a:cxn>
              </a:cxnLst>
              <a:rect l="l" t="t" r="r" b="b"/>
              <a:pathLst>
                <a:path w="86492" h="135916">
                  <a:moveTo>
                    <a:pt x="98107" y="12850"/>
                  </a:moveTo>
                  <a:lnTo>
                    <a:pt x="0" y="0"/>
                  </a:lnTo>
                  <a:lnTo>
                    <a:pt x="52760" y="139129"/>
                  </a:lnTo>
                  <a:close/>
                </a:path>
              </a:pathLst>
            </a:custGeom>
            <a:solidFill>
              <a:schemeClr val="accent3"/>
            </a:solidFill>
            <a:ln w="12353"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C20356E5-1FCD-4063-80CE-5681F0A0B23E}"/>
                </a:ext>
              </a:extLst>
            </p:cNvPr>
            <p:cNvSpPr/>
            <p:nvPr/>
          </p:nvSpPr>
          <p:spPr>
            <a:xfrm>
              <a:off x="8226199" y="3861849"/>
              <a:ext cx="296545" cy="963771"/>
            </a:xfrm>
            <a:custGeom>
              <a:avLst/>
              <a:gdLst>
                <a:gd name="connsiteX0" fmla="*/ 198067 w 296545"/>
                <a:gd name="connsiteY0" fmla="*/ 44852 h 963771"/>
                <a:gd name="connsiteX1" fmla="*/ 211165 w 296545"/>
                <a:gd name="connsiteY1" fmla="*/ 394652 h 963771"/>
                <a:gd name="connsiteX2" fmla="*/ 297039 w 296545"/>
                <a:gd name="connsiteY2" fmla="*/ 974274 h 963771"/>
                <a:gd name="connsiteX3" fmla="*/ 158281 w 296545"/>
                <a:gd name="connsiteY3" fmla="*/ 972420 h 963771"/>
                <a:gd name="connsiteX4" fmla="*/ 42875 w 296545"/>
                <a:gd name="connsiteY4" fmla="*/ 404413 h 963771"/>
                <a:gd name="connsiteX5" fmla="*/ 0 w 296545"/>
                <a:gd name="connsiteY5" fmla="*/ 0 h 96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545" h="963771">
                  <a:moveTo>
                    <a:pt x="198067" y="44852"/>
                  </a:moveTo>
                  <a:lnTo>
                    <a:pt x="211165" y="394652"/>
                  </a:lnTo>
                  <a:lnTo>
                    <a:pt x="297039" y="974274"/>
                  </a:lnTo>
                  <a:lnTo>
                    <a:pt x="158281" y="972420"/>
                  </a:lnTo>
                  <a:lnTo>
                    <a:pt x="42875" y="404413"/>
                  </a:lnTo>
                  <a:lnTo>
                    <a:pt x="0" y="0"/>
                  </a:lnTo>
                  <a:close/>
                </a:path>
              </a:pathLst>
            </a:custGeom>
            <a:solidFill>
              <a:srgbClr val="4701A7"/>
            </a:solidFill>
            <a:ln w="12353"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2F7B925-BCA7-444B-9E95-5968FFB66609}"/>
                </a:ext>
              </a:extLst>
            </p:cNvPr>
            <p:cNvSpPr/>
            <p:nvPr/>
          </p:nvSpPr>
          <p:spPr>
            <a:xfrm>
              <a:off x="8037467" y="3240217"/>
              <a:ext cx="395393" cy="580734"/>
            </a:xfrm>
            <a:custGeom>
              <a:avLst/>
              <a:gdLst>
                <a:gd name="connsiteX0" fmla="*/ 232844 w 395393"/>
                <a:gd name="connsiteY0" fmla="*/ 0 h 580733"/>
                <a:gd name="connsiteX1" fmla="*/ 243840 w 395393"/>
                <a:gd name="connsiteY1" fmla="*/ 2224 h 580733"/>
                <a:gd name="connsiteX2" fmla="*/ 340465 w 395393"/>
                <a:gd name="connsiteY2" fmla="*/ 98230 h 580733"/>
                <a:gd name="connsiteX3" fmla="*/ 402863 w 395393"/>
                <a:gd name="connsiteY3" fmla="*/ 546384 h 580733"/>
                <a:gd name="connsiteX4" fmla="*/ 26127 w 395393"/>
                <a:gd name="connsiteY4" fmla="*/ 534028 h 580733"/>
                <a:gd name="connsiteX5" fmla="*/ 427 w 395393"/>
                <a:gd name="connsiteY5" fmla="*/ 117135 h 580733"/>
                <a:gd name="connsiteX6" fmla="*/ 63936 w 395393"/>
                <a:gd name="connsiteY6" fmla="*/ 8649 h 580733"/>
                <a:gd name="connsiteX7" fmla="*/ 232844 w 395393"/>
                <a:gd name="connsiteY7" fmla="*/ 0 h 58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393" h="580733">
                  <a:moveTo>
                    <a:pt x="232844" y="0"/>
                  </a:moveTo>
                  <a:lnTo>
                    <a:pt x="243840" y="2224"/>
                  </a:lnTo>
                  <a:cubicBezTo>
                    <a:pt x="292400" y="11985"/>
                    <a:pt x="330333" y="49795"/>
                    <a:pt x="340465" y="98230"/>
                  </a:cubicBezTo>
                  <a:lnTo>
                    <a:pt x="402863" y="546384"/>
                  </a:lnTo>
                  <a:cubicBezTo>
                    <a:pt x="233338" y="631147"/>
                    <a:pt x="26127" y="534028"/>
                    <a:pt x="26127" y="534028"/>
                  </a:cubicBezTo>
                  <a:lnTo>
                    <a:pt x="427" y="117135"/>
                  </a:lnTo>
                  <a:cubicBezTo>
                    <a:pt x="-3651" y="71171"/>
                    <a:pt x="21802" y="27678"/>
                    <a:pt x="63936" y="8649"/>
                  </a:cubicBezTo>
                  <a:lnTo>
                    <a:pt x="232844" y="0"/>
                  </a:lnTo>
                  <a:close/>
                </a:path>
              </a:pathLst>
            </a:custGeom>
            <a:solidFill>
              <a:schemeClr val="accent2"/>
            </a:solidFill>
            <a:ln w="12353"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7069E054-C31F-4FF8-8154-DB85BE02E02D}"/>
                </a:ext>
              </a:extLst>
            </p:cNvPr>
            <p:cNvSpPr/>
            <p:nvPr/>
          </p:nvSpPr>
          <p:spPr>
            <a:xfrm>
              <a:off x="8113917" y="3240711"/>
              <a:ext cx="135916" cy="49424"/>
            </a:xfrm>
            <a:custGeom>
              <a:avLst/>
              <a:gdLst>
                <a:gd name="connsiteX0" fmla="*/ 1819 w 135916"/>
                <a:gd name="connsiteY0" fmla="*/ 7414 h 49424"/>
                <a:gd name="connsiteX1" fmla="*/ 145273 w 135916"/>
                <a:gd name="connsiteY1" fmla="*/ 0 h 49424"/>
                <a:gd name="connsiteX2" fmla="*/ 55074 w 135916"/>
                <a:gd name="connsiteY2" fmla="*/ 59186 h 49424"/>
                <a:gd name="connsiteX3" fmla="*/ 1819 w 135916"/>
                <a:gd name="connsiteY3" fmla="*/ 7414 h 49424"/>
              </a:gdLst>
              <a:ahLst/>
              <a:cxnLst>
                <a:cxn ang="0">
                  <a:pos x="connsiteX0" y="connsiteY0"/>
                </a:cxn>
                <a:cxn ang="0">
                  <a:pos x="connsiteX1" y="connsiteY1"/>
                </a:cxn>
                <a:cxn ang="0">
                  <a:pos x="connsiteX2" y="connsiteY2"/>
                </a:cxn>
                <a:cxn ang="0">
                  <a:pos x="connsiteX3" y="connsiteY3"/>
                </a:cxn>
              </a:cxnLst>
              <a:rect l="l" t="t" r="r" b="b"/>
              <a:pathLst>
                <a:path w="135916" h="49424">
                  <a:moveTo>
                    <a:pt x="1819" y="7414"/>
                  </a:moveTo>
                  <a:lnTo>
                    <a:pt x="145273" y="0"/>
                  </a:lnTo>
                  <a:cubicBezTo>
                    <a:pt x="145273" y="0"/>
                    <a:pt x="141319" y="63263"/>
                    <a:pt x="55074" y="59186"/>
                  </a:cubicBezTo>
                  <a:cubicBezTo>
                    <a:pt x="-15232" y="55849"/>
                    <a:pt x="1819" y="7414"/>
                    <a:pt x="1819" y="7414"/>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5F047C10-EFCD-48A3-A809-9069B389241F}"/>
                </a:ext>
              </a:extLst>
            </p:cNvPr>
            <p:cNvSpPr/>
            <p:nvPr/>
          </p:nvSpPr>
          <p:spPr>
            <a:xfrm>
              <a:off x="7701974" y="3546935"/>
              <a:ext cx="111204" cy="111204"/>
            </a:xfrm>
            <a:custGeom>
              <a:avLst/>
              <a:gdLst>
                <a:gd name="connsiteX0" fmla="*/ 121171 w 111204"/>
                <a:gd name="connsiteY0" fmla="*/ 67052 h 111204"/>
                <a:gd name="connsiteX1" fmla="*/ 54449 w 111204"/>
                <a:gd name="connsiteY1" fmla="*/ 121171 h 111204"/>
                <a:gd name="connsiteX2" fmla="*/ 329 w 111204"/>
                <a:gd name="connsiteY2" fmla="*/ 54448 h 111204"/>
                <a:gd name="connsiteX3" fmla="*/ 67052 w 111204"/>
                <a:gd name="connsiteY3" fmla="*/ 329 h 111204"/>
                <a:gd name="connsiteX4" fmla="*/ 121171 w 111204"/>
                <a:gd name="connsiteY4" fmla="*/ 67052 h 111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04" h="111204">
                  <a:moveTo>
                    <a:pt x="121171" y="67052"/>
                  </a:moveTo>
                  <a:cubicBezTo>
                    <a:pt x="117711" y="100413"/>
                    <a:pt x="87810" y="124631"/>
                    <a:pt x="54449" y="121171"/>
                  </a:cubicBezTo>
                  <a:cubicBezTo>
                    <a:pt x="21087" y="117711"/>
                    <a:pt x="-3131" y="87810"/>
                    <a:pt x="329" y="54448"/>
                  </a:cubicBezTo>
                  <a:cubicBezTo>
                    <a:pt x="3789" y="21087"/>
                    <a:pt x="33690" y="-3131"/>
                    <a:pt x="67052" y="329"/>
                  </a:cubicBezTo>
                  <a:cubicBezTo>
                    <a:pt x="100413" y="3789"/>
                    <a:pt x="124631" y="33690"/>
                    <a:pt x="121171" y="67052"/>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01F2CEF-76CD-41A2-9857-BFA3F833ED5E}"/>
                </a:ext>
              </a:extLst>
            </p:cNvPr>
            <p:cNvSpPr/>
            <p:nvPr/>
          </p:nvSpPr>
          <p:spPr>
            <a:xfrm>
              <a:off x="7768983" y="3581819"/>
              <a:ext cx="111204" cy="61780"/>
            </a:xfrm>
            <a:custGeom>
              <a:avLst/>
              <a:gdLst>
                <a:gd name="connsiteX0" fmla="*/ 89747 w 111204"/>
                <a:gd name="connsiteY0" fmla="*/ 66394 h 61780"/>
                <a:gd name="connsiteX1" fmla="*/ 26855 w 111204"/>
                <a:gd name="connsiteY1" fmla="*/ 59846 h 61780"/>
                <a:gd name="connsiteX2" fmla="*/ 166 w 111204"/>
                <a:gd name="connsiteY2" fmla="*/ 26855 h 61780"/>
                <a:gd name="connsiteX3" fmla="*/ 33156 w 111204"/>
                <a:gd name="connsiteY3" fmla="*/ 166 h 61780"/>
                <a:gd name="connsiteX4" fmla="*/ 95925 w 111204"/>
                <a:gd name="connsiteY4" fmla="*/ 6715 h 61780"/>
                <a:gd name="connsiteX5" fmla="*/ 122614 w 111204"/>
                <a:gd name="connsiteY5" fmla="*/ 39705 h 61780"/>
                <a:gd name="connsiteX6" fmla="*/ 89747 w 111204"/>
                <a:gd name="connsiteY6" fmla="*/ 66394 h 6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204" h="61780">
                  <a:moveTo>
                    <a:pt x="89747" y="66394"/>
                  </a:moveTo>
                  <a:lnTo>
                    <a:pt x="26855" y="59846"/>
                  </a:lnTo>
                  <a:cubicBezTo>
                    <a:pt x="10421" y="58116"/>
                    <a:pt x="-1564" y="43288"/>
                    <a:pt x="166" y="26855"/>
                  </a:cubicBezTo>
                  <a:cubicBezTo>
                    <a:pt x="1896" y="10422"/>
                    <a:pt x="16723" y="-1564"/>
                    <a:pt x="33156" y="166"/>
                  </a:cubicBezTo>
                  <a:lnTo>
                    <a:pt x="95925" y="6715"/>
                  </a:lnTo>
                  <a:cubicBezTo>
                    <a:pt x="112359" y="8445"/>
                    <a:pt x="124344" y="23272"/>
                    <a:pt x="122614" y="39705"/>
                  </a:cubicBezTo>
                  <a:cubicBezTo>
                    <a:pt x="121008" y="56015"/>
                    <a:pt x="106181" y="68124"/>
                    <a:pt x="89747" y="66394"/>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547540DC-F8E0-4EEA-979E-DEBFC8BC8AAB}"/>
                </a:ext>
              </a:extLst>
            </p:cNvPr>
            <p:cNvSpPr/>
            <p:nvPr/>
          </p:nvSpPr>
          <p:spPr>
            <a:xfrm>
              <a:off x="7823516" y="3287105"/>
              <a:ext cx="531310" cy="383037"/>
            </a:xfrm>
            <a:custGeom>
              <a:avLst/>
              <a:gdLst>
                <a:gd name="connsiteX0" fmla="*/ 0 w 531309"/>
                <a:gd name="connsiteY0" fmla="*/ 382608 h 383037"/>
                <a:gd name="connsiteX1" fmla="*/ 4201 w 531309"/>
                <a:gd name="connsiteY1" fmla="*/ 269674 h 383037"/>
                <a:gd name="connsiteX2" fmla="*/ 315326 w 531309"/>
                <a:gd name="connsiteY2" fmla="*/ 281165 h 383037"/>
                <a:gd name="connsiteX3" fmla="*/ 431349 w 531309"/>
                <a:gd name="connsiteY3" fmla="*/ 31202 h 383037"/>
                <a:gd name="connsiteX4" fmla="*/ 507092 w 531309"/>
                <a:gd name="connsiteY4" fmla="*/ 5996 h 383037"/>
                <a:gd name="connsiteX5" fmla="*/ 532422 w 531309"/>
                <a:gd name="connsiteY5" fmla="*/ 81738 h 383037"/>
                <a:gd name="connsiteX6" fmla="*/ 400212 w 531309"/>
                <a:gd name="connsiteY6" fmla="*/ 364197 h 383037"/>
                <a:gd name="connsiteX7" fmla="*/ 347576 w 531309"/>
                <a:gd name="connsiteY7" fmla="*/ 395335 h 383037"/>
                <a:gd name="connsiteX8" fmla="*/ 0 w 531309"/>
                <a:gd name="connsiteY8" fmla="*/ 382608 h 38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309" h="383037">
                  <a:moveTo>
                    <a:pt x="0" y="382608"/>
                  </a:moveTo>
                  <a:lnTo>
                    <a:pt x="4201" y="269674"/>
                  </a:lnTo>
                  <a:lnTo>
                    <a:pt x="315326" y="281165"/>
                  </a:lnTo>
                  <a:lnTo>
                    <a:pt x="431349" y="31202"/>
                  </a:lnTo>
                  <a:cubicBezTo>
                    <a:pt x="445311" y="3277"/>
                    <a:pt x="479167" y="-7967"/>
                    <a:pt x="507092" y="5996"/>
                  </a:cubicBezTo>
                  <a:cubicBezTo>
                    <a:pt x="535016" y="19958"/>
                    <a:pt x="546384" y="53814"/>
                    <a:pt x="532422" y="81738"/>
                  </a:cubicBezTo>
                  <a:lnTo>
                    <a:pt x="400212" y="364197"/>
                  </a:lnTo>
                  <a:cubicBezTo>
                    <a:pt x="390327" y="383967"/>
                    <a:pt x="369693" y="396200"/>
                    <a:pt x="347576" y="395335"/>
                  </a:cubicBezTo>
                  <a:lnTo>
                    <a:pt x="0" y="382608"/>
                  </a:lnTo>
                  <a:close/>
                </a:path>
              </a:pathLst>
            </a:custGeom>
            <a:solidFill>
              <a:schemeClr val="accent1"/>
            </a:solidFill>
            <a:ln w="12353"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35AA4A5A-6255-40A6-9FAC-075F0B564D88}"/>
                </a:ext>
              </a:extLst>
            </p:cNvPr>
            <p:cNvSpPr/>
            <p:nvPr/>
          </p:nvSpPr>
          <p:spPr>
            <a:xfrm>
              <a:off x="8057663" y="3391084"/>
              <a:ext cx="284189" cy="321257"/>
            </a:xfrm>
            <a:custGeom>
              <a:avLst/>
              <a:gdLst>
                <a:gd name="connsiteX0" fmla="*/ 0 w 284188"/>
                <a:gd name="connsiteY0" fmla="*/ 287278 h 321257"/>
                <a:gd name="connsiteX1" fmla="*/ 100455 w 284188"/>
                <a:gd name="connsiteY1" fmla="*/ 290985 h 321257"/>
                <a:gd name="connsiteX2" fmla="*/ 167054 w 284188"/>
                <a:gd name="connsiteY2" fmla="*/ 248851 h 321257"/>
                <a:gd name="connsiteX3" fmla="*/ 287772 w 284188"/>
                <a:gd name="connsiteY3" fmla="*/ 0 h 321257"/>
                <a:gd name="connsiteX4" fmla="*/ 177062 w 284188"/>
                <a:gd name="connsiteY4" fmla="*/ 294074 h 321257"/>
                <a:gd name="connsiteX5" fmla="*/ 130109 w 284188"/>
                <a:gd name="connsiteY5" fmla="*/ 323358 h 321257"/>
                <a:gd name="connsiteX6" fmla="*/ 1730 w 284188"/>
                <a:gd name="connsiteY6" fmla="*/ 313596 h 321257"/>
                <a:gd name="connsiteX7" fmla="*/ 0 w 284188"/>
                <a:gd name="connsiteY7" fmla="*/ 287278 h 321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188" h="321257">
                  <a:moveTo>
                    <a:pt x="0" y="287278"/>
                  </a:moveTo>
                  <a:lnTo>
                    <a:pt x="100455" y="290985"/>
                  </a:lnTo>
                  <a:cubicBezTo>
                    <a:pt x="128750" y="290120"/>
                    <a:pt x="154204" y="273933"/>
                    <a:pt x="167054" y="248851"/>
                  </a:cubicBezTo>
                  <a:lnTo>
                    <a:pt x="287772" y="0"/>
                  </a:lnTo>
                  <a:cubicBezTo>
                    <a:pt x="239213" y="145925"/>
                    <a:pt x="177062" y="294074"/>
                    <a:pt x="177062" y="294074"/>
                  </a:cubicBezTo>
                  <a:cubicBezTo>
                    <a:pt x="169402" y="312978"/>
                    <a:pt x="150497" y="324840"/>
                    <a:pt x="130109" y="323358"/>
                  </a:cubicBezTo>
                  <a:lnTo>
                    <a:pt x="1730" y="313596"/>
                  </a:lnTo>
                  <a:lnTo>
                    <a:pt x="0" y="287278"/>
                  </a:lnTo>
                  <a:close/>
                </a:path>
              </a:pathLst>
            </a:custGeom>
            <a:solidFill>
              <a:schemeClr val="accent3"/>
            </a:solidFill>
            <a:ln w="12353"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6068C868-6B89-41B3-8B41-67C1E39BB196}"/>
                </a:ext>
              </a:extLst>
            </p:cNvPr>
            <p:cNvSpPr/>
            <p:nvPr/>
          </p:nvSpPr>
          <p:spPr>
            <a:xfrm>
              <a:off x="8133158" y="3053887"/>
              <a:ext cx="111204" cy="222409"/>
            </a:xfrm>
            <a:custGeom>
              <a:avLst/>
              <a:gdLst>
                <a:gd name="connsiteX0" fmla="*/ 103049 w 111204"/>
                <a:gd name="connsiteY0" fmla="*/ 226239 h 222408"/>
                <a:gd name="connsiteX1" fmla="*/ 0 w 111204"/>
                <a:gd name="connsiteY1" fmla="*/ 217590 h 222408"/>
                <a:gd name="connsiteX2" fmla="*/ 16186 w 111204"/>
                <a:gd name="connsiteY2" fmla="*/ 0 h 222408"/>
                <a:gd name="connsiteX3" fmla="*/ 119236 w 111204"/>
                <a:gd name="connsiteY3" fmla="*/ 8649 h 222408"/>
              </a:gdLst>
              <a:ahLst/>
              <a:cxnLst>
                <a:cxn ang="0">
                  <a:pos x="connsiteX0" y="connsiteY0"/>
                </a:cxn>
                <a:cxn ang="0">
                  <a:pos x="connsiteX1" y="connsiteY1"/>
                </a:cxn>
                <a:cxn ang="0">
                  <a:pos x="connsiteX2" y="connsiteY2"/>
                </a:cxn>
                <a:cxn ang="0">
                  <a:pos x="connsiteX3" y="connsiteY3"/>
                </a:cxn>
              </a:cxnLst>
              <a:rect l="l" t="t" r="r" b="b"/>
              <a:pathLst>
                <a:path w="111204" h="222408">
                  <a:moveTo>
                    <a:pt x="103049" y="226239"/>
                  </a:moveTo>
                  <a:lnTo>
                    <a:pt x="0" y="217590"/>
                  </a:lnTo>
                  <a:lnTo>
                    <a:pt x="16186" y="0"/>
                  </a:lnTo>
                  <a:lnTo>
                    <a:pt x="119236" y="8649"/>
                  </a:lnTo>
                  <a:close/>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F1C05F32-1A3B-4335-807A-0C7DC229636E}"/>
                </a:ext>
              </a:extLst>
            </p:cNvPr>
            <p:cNvSpPr/>
            <p:nvPr/>
          </p:nvSpPr>
          <p:spPr>
            <a:xfrm>
              <a:off x="8136247" y="3090956"/>
              <a:ext cx="98848" cy="135916"/>
            </a:xfrm>
            <a:custGeom>
              <a:avLst/>
              <a:gdLst>
                <a:gd name="connsiteX0" fmla="*/ 0 w 98848"/>
                <a:gd name="connsiteY0" fmla="*/ 138264 h 135916"/>
                <a:gd name="connsiteX1" fmla="*/ 106015 w 98848"/>
                <a:gd name="connsiteY1" fmla="*/ 0 h 135916"/>
                <a:gd name="connsiteX2" fmla="*/ 2224 w 98848"/>
                <a:gd name="connsiteY2" fmla="*/ 108980 h 135916"/>
                <a:gd name="connsiteX3" fmla="*/ 0 w 98848"/>
                <a:gd name="connsiteY3" fmla="*/ 138264 h 135916"/>
              </a:gdLst>
              <a:ahLst/>
              <a:cxnLst>
                <a:cxn ang="0">
                  <a:pos x="connsiteX0" y="connsiteY0"/>
                </a:cxn>
                <a:cxn ang="0">
                  <a:pos x="connsiteX1" y="connsiteY1"/>
                </a:cxn>
                <a:cxn ang="0">
                  <a:pos x="connsiteX2" y="connsiteY2"/>
                </a:cxn>
                <a:cxn ang="0">
                  <a:pos x="connsiteX3" y="connsiteY3"/>
                </a:cxn>
              </a:cxnLst>
              <a:rect l="l" t="t" r="r" b="b"/>
              <a:pathLst>
                <a:path w="98848" h="135916">
                  <a:moveTo>
                    <a:pt x="0" y="138264"/>
                  </a:moveTo>
                  <a:cubicBezTo>
                    <a:pt x="0" y="138264"/>
                    <a:pt x="94524" y="156798"/>
                    <a:pt x="106015" y="0"/>
                  </a:cubicBezTo>
                  <a:lnTo>
                    <a:pt x="2224" y="108980"/>
                  </a:lnTo>
                  <a:lnTo>
                    <a:pt x="0" y="138264"/>
                  </a:lnTo>
                  <a:close/>
                </a:path>
              </a:pathLst>
            </a:custGeom>
            <a:solidFill>
              <a:schemeClr val="accent4">
                <a:lumMod val="40000"/>
                <a:lumOff val="60000"/>
              </a:schemeClr>
            </a:solidFill>
            <a:ln w="12353"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A450482E-3538-4E06-BE36-EA9297BB77CA}"/>
                </a:ext>
              </a:extLst>
            </p:cNvPr>
            <p:cNvSpPr/>
            <p:nvPr/>
          </p:nvSpPr>
          <p:spPr>
            <a:xfrm>
              <a:off x="8006198" y="2930942"/>
              <a:ext cx="234765" cy="259477"/>
            </a:xfrm>
            <a:custGeom>
              <a:avLst/>
              <a:gdLst>
                <a:gd name="connsiteX0" fmla="*/ 109785 w 234764"/>
                <a:gd name="connsiteY0" fmla="*/ 269364 h 259476"/>
                <a:gd name="connsiteX1" fmla="*/ 109785 w 234764"/>
                <a:gd name="connsiteY1" fmla="*/ 269364 h 259476"/>
                <a:gd name="connsiteX2" fmla="*/ 311 w 234764"/>
                <a:gd name="connsiteY2" fmla="*/ 142962 h 259476"/>
                <a:gd name="connsiteX3" fmla="*/ 7107 w 234764"/>
                <a:gd name="connsiteY3" fmla="*/ 48315 h 259476"/>
                <a:gd name="connsiteX4" fmla="*/ 62709 w 234764"/>
                <a:gd name="connsiteY4" fmla="*/ 126 h 259476"/>
                <a:gd name="connsiteX5" fmla="*/ 246690 w 234764"/>
                <a:gd name="connsiteY5" fmla="*/ 13223 h 259476"/>
                <a:gd name="connsiteX6" fmla="*/ 236188 w 234764"/>
                <a:gd name="connsiteY6" fmla="*/ 159766 h 259476"/>
                <a:gd name="connsiteX7" fmla="*/ 109785 w 234764"/>
                <a:gd name="connsiteY7" fmla="*/ 269364 h 25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764" h="259476">
                  <a:moveTo>
                    <a:pt x="109785" y="269364"/>
                  </a:moveTo>
                  <a:lnTo>
                    <a:pt x="109785" y="269364"/>
                  </a:lnTo>
                  <a:cubicBezTo>
                    <a:pt x="44669" y="264669"/>
                    <a:pt x="-4385" y="208078"/>
                    <a:pt x="311" y="142962"/>
                  </a:cubicBezTo>
                  <a:lnTo>
                    <a:pt x="7107" y="48315"/>
                  </a:lnTo>
                  <a:cubicBezTo>
                    <a:pt x="9207" y="19649"/>
                    <a:pt x="34043" y="-1851"/>
                    <a:pt x="62709" y="126"/>
                  </a:cubicBezTo>
                  <a:lnTo>
                    <a:pt x="246690" y="13223"/>
                  </a:lnTo>
                  <a:lnTo>
                    <a:pt x="236188" y="159766"/>
                  </a:lnTo>
                  <a:cubicBezTo>
                    <a:pt x="231492" y="225006"/>
                    <a:pt x="174902" y="274060"/>
                    <a:pt x="109785" y="269364"/>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E2269A0E-246C-4281-A681-D91C482E6D4F}"/>
                </a:ext>
              </a:extLst>
            </p:cNvPr>
            <p:cNvSpPr/>
            <p:nvPr/>
          </p:nvSpPr>
          <p:spPr>
            <a:xfrm>
              <a:off x="7963603" y="2829283"/>
              <a:ext cx="308901" cy="234765"/>
            </a:xfrm>
            <a:custGeom>
              <a:avLst/>
              <a:gdLst>
                <a:gd name="connsiteX0" fmla="*/ 288297 w 308901"/>
                <a:gd name="connsiteY0" fmla="*/ 243757 h 234764"/>
                <a:gd name="connsiteX1" fmla="*/ 247275 w 308901"/>
                <a:gd name="connsiteY1" fmla="*/ 241162 h 234764"/>
                <a:gd name="connsiteX2" fmla="*/ 247399 w 308901"/>
                <a:gd name="connsiteY2" fmla="*/ 182224 h 234764"/>
                <a:gd name="connsiteX3" fmla="*/ 271864 w 308901"/>
                <a:gd name="connsiteY3" fmla="*/ 141202 h 234764"/>
                <a:gd name="connsiteX4" fmla="*/ 52050 w 308901"/>
                <a:gd name="connsiteY4" fmla="*/ 130081 h 234764"/>
                <a:gd name="connsiteX5" fmla="*/ 2873 w 308901"/>
                <a:gd name="connsiteY5" fmla="*/ 52732 h 234764"/>
                <a:gd name="connsiteX6" fmla="*/ 63170 w 308901"/>
                <a:gd name="connsiteY6" fmla="*/ 96 h 234764"/>
                <a:gd name="connsiteX7" fmla="*/ 82940 w 308901"/>
                <a:gd name="connsiteY7" fmla="*/ 32839 h 234764"/>
                <a:gd name="connsiteX8" fmla="*/ 82940 w 308901"/>
                <a:gd name="connsiteY8" fmla="*/ 32839 h 234764"/>
                <a:gd name="connsiteX9" fmla="*/ 307696 w 308901"/>
                <a:gd name="connsiteY9" fmla="*/ 80657 h 234764"/>
                <a:gd name="connsiteX10" fmla="*/ 294599 w 308901"/>
                <a:gd name="connsiteY10" fmla="*/ 168014 h 234764"/>
                <a:gd name="connsiteX11" fmla="*/ 288297 w 308901"/>
                <a:gd name="connsiteY11" fmla="*/ 243757 h 23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8901" h="234764">
                  <a:moveTo>
                    <a:pt x="288297" y="243757"/>
                  </a:moveTo>
                  <a:lnTo>
                    <a:pt x="247275" y="241162"/>
                  </a:lnTo>
                  <a:lnTo>
                    <a:pt x="247399" y="182224"/>
                  </a:lnTo>
                  <a:cubicBezTo>
                    <a:pt x="247399" y="182224"/>
                    <a:pt x="244928" y="142808"/>
                    <a:pt x="271864" y="141202"/>
                  </a:cubicBezTo>
                  <a:lnTo>
                    <a:pt x="52050" y="130081"/>
                  </a:lnTo>
                  <a:cubicBezTo>
                    <a:pt x="52050" y="130081"/>
                    <a:pt x="-14426" y="120073"/>
                    <a:pt x="2873" y="52732"/>
                  </a:cubicBezTo>
                  <a:cubicBezTo>
                    <a:pt x="12758" y="14305"/>
                    <a:pt x="47354" y="-1387"/>
                    <a:pt x="63170" y="96"/>
                  </a:cubicBezTo>
                  <a:cubicBezTo>
                    <a:pt x="75279" y="1208"/>
                    <a:pt x="82940" y="20730"/>
                    <a:pt x="82940" y="32839"/>
                  </a:cubicBezTo>
                  <a:lnTo>
                    <a:pt x="82940" y="32839"/>
                  </a:lnTo>
                  <a:cubicBezTo>
                    <a:pt x="82940" y="32839"/>
                    <a:pt x="299789" y="-8677"/>
                    <a:pt x="307696" y="80657"/>
                  </a:cubicBezTo>
                  <a:cubicBezTo>
                    <a:pt x="313998" y="152075"/>
                    <a:pt x="294599" y="168014"/>
                    <a:pt x="294599" y="168014"/>
                  </a:cubicBezTo>
                  <a:lnTo>
                    <a:pt x="288297" y="243757"/>
                  </a:lnTo>
                  <a:close/>
                </a:path>
              </a:pathLst>
            </a:custGeom>
            <a:solidFill>
              <a:srgbClr val="162836"/>
            </a:solidFill>
            <a:ln w="12353"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228DF8C5-AC53-47FF-9162-03C1C6C32543}"/>
                </a:ext>
              </a:extLst>
            </p:cNvPr>
            <p:cNvSpPr/>
            <p:nvPr/>
          </p:nvSpPr>
          <p:spPr>
            <a:xfrm>
              <a:off x="8251900" y="2913245"/>
              <a:ext cx="49424" cy="148272"/>
            </a:xfrm>
            <a:custGeom>
              <a:avLst/>
              <a:gdLst>
                <a:gd name="connsiteX0" fmla="*/ 3830 w 49424"/>
                <a:gd name="connsiteY0" fmla="*/ 31 h 148272"/>
                <a:gd name="connsiteX1" fmla="*/ 59309 w 49424"/>
                <a:gd name="connsiteY1" fmla="*/ 42783 h 148272"/>
                <a:gd name="connsiteX2" fmla="*/ 0 w 49424"/>
                <a:gd name="connsiteY2" fmla="*/ 159795 h 148272"/>
                <a:gd name="connsiteX3" fmla="*/ 989 w 49424"/>
                <a:gd name="connsiteY3" fmla="*/ 31045 h 148272"/>
                <a:gd name="connsiteX4" fmla="*/ 3830 w 49424"/>
                <a:gd name="connsiteY4" fmla="*/ 31 h 148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24" h="148272">
                  <a:moveTo>
                    <a:pt x="3830" y="31"/>
                  </a:moveTo>
                  <a:cubicBezTo>
                    <a:pt x="3830" y="31"/>
                    <a:pt x="55108" y="-2687"/>
                    <a:pt x="59309" y="42783"/>
                  </a:cubicBezTo>
                  <a:cubicBezTo>
                    <a:pt x="66476" y="121491"/>
                    <a:pt x="0" y="159795"/>
                    <a:pt x="0" y="159795"/>
                  </a:cubicBezTo>
                  <a:lnTo>
                    <a:pt x="989" y="31045"/>
                  </a:lnTo>
                  <a:lnTo>
                    <a:pt x="3830" y="31"/>
                  </a:lnTo>
                  <a:close/>
                </a:path>
              </a:pathLst>
            </a:custGeom>
            <a:solidFill>
              <a:srgbClr val="162836"/>
            </a:solidFill>
            <a:ln w="12353"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109F28AB-976C-4E50-A67C-88CBF01F3DB6}"/>
                </a:ext>
              </a:extLst>
            </p:cNvPr>
            <p:cNvSpPr/>
            <p:nvPr/>
          </p:nvSpPr>
          <p:spPr>
            <a:xfrm>
              <a:off x="8225793" y="3021355"/>
              <a:ext cx="74136" cy="74136"/>
            </a:xfrm>
            <a:custGeom>
              <a:avLst/>
              <a:gdLst>
                <a:gd name="connsiteX0" fmla="*/ 72813 w 74136"/>
                <a:gd name="connsiteY0" fmla="*/ 47607 h 74136"/>
                <a:gd name="connsiteX1" fmla="*/ 26725 w 74136"/>
                <a:gd name="connsiteY1" fmla="*/ 72813 h 74136"/>
                <a:gd name="connsiteX2" fmla="*/ 1519 w 74136"/>
                <a:gd name="connsiteY2" fmla="*/ 26725 h 74136"/>
                <a:gd name="connsiteX3" fmla="*/ 47607 w 74136"/>
                <a:gd name="connsiteY3" fmla="*/ 1519 h 74136"/>
                <a:gd name="connsiteX4" fmla="*/ 72813 w 74136"/>
                <a:gd name="connsiteY4" fmla="*/ 47607 h 74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36" h="74136">
                  <a:moveTo>
                    <a:pt x="72813" y="47607"/>
                  </a:moveTo>
                  <a:cubicBezTo>
                    <a:pt x="67006" y="67253"/>
                    <a:pt x="46371" y="78620"/>
                    <a:pt x="26725" y="72813"/>
                  </a:cubicBezTo>
                  <a:cubicBezTo>
                    <a:pt x="7079" y="67006"/>
                    <a:pt x="-4289" y="46371"/>
                    <a:pt x="1519" y="26725"/>
                  </a:cubicBezTo>
                  <a:cubicBezTo>
                    <a:pt x="7202" y="7079"/>
                    <a:pt x="27961" y="-4289"/>
                    <a:pt x="47607" y="1519"/>
                  </a:cubicBezTo>
                  <a:cubicBezTo>
                    <a:pt x="67253" y="7326"/>
                    <a:pt x="78497" y="27961"/>
                    <a:pt x="72813" y="47607"/>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F3473000-1560-4FD8-8DF6-E5D2192571C0}"/>
                </a:ext>
              </a:extLst>
            </p:cNvPr>
            <p:cNvSpPr/>
            <p:nvPr/>
          </p:nvSpPr>
          <p:spPr>
            <a:xfrm>
              <a:off x="8036658" y="2834695"/>
              <a:ext cx="37068" cy="37068"/>
            </a:xfrm>
            <a:custGeom>
              <a:avLst/>
              <a:gdLst>
                <a:gd name="connsiteX0" fmla="*/ 0 w 37068"/>
                <a:gd name="connsiteY0" fmla="*/ 39783 h 37068"/>
                <a:gd name="connsiteX1" fmla="*/ 35585 w 37068"/>
                <a:gd name="connsiteY1" fmla="*/ 120 h 37068"/>
                <a:gd name="connsiteX2" fmla="*/ 28048 w 37068"/>
                <a:gd name="connsiteY2" fmla="*/ 45961 h 37068"/>
                <a:gd name="connsiteX3" fmla="*/ 0 w 37068"/>
                <a:gd name="connsiteY3" fmla="*/ 39783 h 37068"/>
              </a:gdLst>
              <a:ahLst/>
              <a:cxnLst>
                <a:cxn ang="0">
                  <a:pos x="connsiteX0" y="connsiteY0"/>
                </a:cxn>
                <a:cxn ang="0">
                  <a:pos x="connsiteX1" y="connsiteY1"/>
                </a:cxn>
                <a:cxn ang="0">
                  <a:pos x="connsiteX2" y="connsiteY2"/>
                </a:cxn>
                <a:cxn ang="0">
                  <a:pos x="connsiteX3" y="connsiteY3"/>
                </a:cxn>
              </a:cxnLst>
              <a:rect l="l" t="t" r="r" b="b"/>
              <a:pathLst>
                <a:path w="37068" h="37068">
                  <a:moveTo>
                    <a:pt x="0" y="39783"/>
                  </a:moveTo>
                  <a:cubicBezTo>
                    <a:pt x="0" y="39783"/>
                    <a:pt x="18781" y="2962"/>
                    <a:pt x="35585" y="120"/>
                  </a:cubicBezTo>
                  <a:cubicBezTo>
                    <a:pt x="52389" y="-2722"/>
                    <a:pt x="28048" y="45961"/>
                    <a:pt x="28048" y="45961"/>
                  </a:cubicBezTo>
                  <a:lnTo>
                    <a:pt x="0" y="39783"/>
                  </a:lnTo>
                  <a:close/>
                </a:path>
              </a:pathLst>
            </a:custGeom>
            <a:solidFill>
              <a:srgbClr val="162836"/>
            </a:solidFill>
            <a:ln w="12353"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D04B9245-1C73-48F9-A296-8F25266429DC}"/>
                </a:ext>
              </a:extLst>
            </p:cNvPr>
            <p:cNvSpPr/>
            <p:nvPr/>
          </p:nvSpPr>
          <p:spPr>
            <a:xfrm>
              <a:off x="8252221" y="2874601"/>
              <a:ext cx="24712" cy="49424"/>
            </a:xfrm>
            <a:custGeom>
              <a:avLst/>
              <a:gdLst>
                <a:gd name="connsiteX0" fmla="*/ 3509 w 24712"/>
                <a:gd name="connsiteY0" fmla="*/ 59062 h 49424"/>
                <a:gd name="connsiteX1" fmla="*/ 791 w 24712"/>
                <a:gd name="connsiteY1" fmla="*/ 57703 h 49424"/>
                <a:gd name="connsiteX2" fmla="*/ 1285 w 24712"/>
                <a:gd name="connsiteY2" fmla="*/ 52760 h 49424"/>
                <a:gd name="connsiteX3" fmla="*/ 26492 w 24712"/>
                <a:gd name="connsiteY3" fmla="*/ 3583 h 49424"/>
                <a:gd name="connsiteX4" fmla="*/ 29828 w 24712"/>
                <a:gd name="connsiteY4" fmla="*/ 0 h 49424"/>
                <a:gd name="connsiteX5" fmla="*/ 29951 w 24712"/>
                <a:gd name="connsiteY5" fmla="*/ 0 h 49424"/>
                <a:gd name="connsiteX6" fmla="*/ 33411 w 24712"/>
                <a:gd name="connsiteY6" fmla="*/ 3336 h 49424"/>
                <a:gd name="connsiteX7" fmla="*/ 5610 w 24712"/>
                <a:gd name="connsiteY7" fmla="*/ 58321 h 49424"/>
                <a:gd name="connsiteX8" fmla="*/ 3509 w 24712"/>
                <a:gd name="connsiteY8" fmla="*/ 59062 h 49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12" h="49424">
                  <a:moveTo>
                    <a:pt x="3509" y="59062"/>
                  </a:moveTo>
                  <a:cubicBezTo>
                    <a:pt x="2521" y="59062"/>
                    <a:pt x="1533" y="58568"/>
                    <a:pt x="791" y="57703"/>
                  </a:cubicBezTo>
                  <a:cubicBezTo>
                    <a:pt x="-444" y="56220"/>
                    <a:pt x="-197" y="53996"/>
                    <a:pt x="1285" y="52760"/>
                  </a:cubicBezTo>
                  <a:cubicBezTo>
                    <a:pt x="27233" y="31755"/>
                    <a:pt x="26492" y="3830"/>
                    <a:pt x="26492" y="3583"/>
                  </a:cubicBezTo>
                  <a:cubicBezTo>
                    <a:pt x="26368" y="1606"/>
                    <a:pt x="27974" y="0"/>
                    <a:pt x="29828" y="0"/>
                  </a:cubicBezTo>
                  <a:lnTo>
                    <a:pt x="29951" y="0"/>
                  </a:lnTo>
                  <a:cubicBezTo>
                    <a:pt x="31805" y="0"/>
                    <a:pt x="33411" y="1483"/>
                    <a:pt x="33411" y="3336"/>
                  </a:cubicBezTo>
                  <a:cubicBezTo>
                    <a:pt x="33411" y="4572"/>
                    <a:pt x="34399" y="34968"/>
                    <a:pt x="5610" y="58321"/>
                  </a:cubicBezTo>
                  <a:cubicBezTo>
                    <a:pt x="4992" y="58815"/>
                    <a:pt x="4251" y="59062"/>
                    <a:pt x="3509" y="59062"/>
                  </a:cubicBezTo>
                </a:path>
              </a:pathLst>
            </a:custGeom>
            <a:solidFill>
              <a:srgbClr val="162836"/>
            </a:solidFill>
            <a:ln w="12353"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573C002C-4B32-4811-92A6-164BAE06BD6E}"/>
                </a:ext>
              </a:extLst>
            </p:cNvPr>
            <p:cNvSpPr/>
            <p:nvPr/>
          </p:nvSpPr>
          <p:spPr>
            <a:xfrm>
              <a:off x="8261881" y="2900796"/>
              <a:ext cx="49424" cy="24712"/>
            </a:xfrm>
            <a:custGeom>
              <a:avLst/>
              <a:gdLst>
                <a:gd name="connsiteX0" fmla="*/ 3610 w 49424"/>
                <a:gd name="connsiteY0" fmla="*/ 36080 h 24712"/>
                <a:gd name="connsiteX1" fmla="*/ 3116 w 49424"/>
                <a:gd name="connsiteY1" fmla="*/ 36080 h 24712"/>
                <a:gd name="connsiteX2" fmla="*/ 27 w 49424"/>
                <a:gd name="connsiteY2" fmla="*/ 32126 h 24712"/>
                <a:gd name="connsiteX3" fmla="*/ 45991 w 49424"/>
                <a:gd name="connsiteY3" fmla="*/ 0 h 24712"/>
                <a:gd name="connsiteX4" fmla="*/ 46362 w 49424"/>
                <a:gd name="connsiteY4" fmla="*/ 0 h 24712"/>
                <a:gd name="connsiteX5" fmla="*/ 49822 w 49424"/>
                <a:gd name="connsiteY5" fmla="*/ 3213 h 24712"/>
                <a:gd name="connsiteX6" fmla="*/ 46609 w 49424"/>
                <a:gd name="connsiteY6" fmla="*/ 7043 h 24712"/>
                <a:gd name="connsiteX7" fmla="*/ 6946 w 49424"/>
                <a:gd name="connsiteY7" fmla="*/ 33114 h 24712"/>
                <a:gd name="connsiteX8" fmla="*/ 3610 w 49424"/>
                <a:gd name="connsiteY8" fmla="*/ 36080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24" h="24712">
                  <a:moveTo>
                    <a:pt x="3610" y="36080"/>
                  </a:moveTo>
                  <a:cubicBezTo>
                    <a:pt x="3487" y="36080"/>
                    <a:pt x="3363" y="36080"/>
                    <a:pt x="3116" y="36080"/>
                  </a:cubicBezTo>
                  <a:cubicBezTo>
                    <a:pt x="1263" y="35832"/>
                    <a:pt x="-220" y="34103"/>
                    <a:pt x="27" y="32126"/>
                  </a:cubicBezTo>
                  <a:cubicBezTo>
                    <a:pt x="3363" y="4448"/>
                    <a:pt x="44138" y="123"/>
                    <a:pt x="45991" y="0"/>
                  </a:cubicBezTo>
                  <a:cubicBezTo>
                    <a:pt x="46115" y="0"/>
                    <a:pt x="46239" y="0"/>
                    <a:pt x="46362" y="0"/>
                  </a:cubicBezTo>
                  <a:cubicBezTo>
                    <a:pt x="48092" y="0"/>
                    <a:pt x="49698" y="1359"/>
                    <a:pt x="49822" y="3213"/>
                  </a:cubicBezTo>
                  <a:cubicBezTo>
                    <a:pt x="50069" y="5190"/>
                    <a:pt x="48587" y="6919"/>
                    <a:pt x="46609" y="7043"/>
                  </a:cubicBezTo>
                  <a:cubicBezTo>
                    <a:pt x="46239" y="7043"/>
                    <a:pt x="9665" y="10997"/>
                    <a:pt x="6946" y="33114"/>
                  </a:cubicBezTo>
                  <a:cubicBezTo>
                    <a:pt x="6946" y="34720"/>
                    <a:pt x="5464" y="36080"/>
                    <a:pt x="3610" y="36080"/>
                  </a:cubicBezTo>
                </a:path>
              </a:pathLst>
            </a:custGeom>
            <a:solidFill>
              <a:srgbClr val="162836"/>
            </a:solidFill>
            <a:ln w="12353"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BCEA60EE-2D76-4F2D-BF1E-AEB0EA5E71DA}"/>
                </a:ext>
              </a:extLst>
            </p:cNvPr>
            <p:cNvSpPr/>
            <p:nvPr/>
          </p:nvSpPr>
          <p:spPr>
            <a:xfrm>
              <a:off x="4583020" y="1612050"/>
              <a:ext cx="827855" cy="172985"/>
            </a:xfrm>
            <a:custGeom>
              <a:avLst/>
              <a:gdLst>
                <a:gd name="connsiteX0" fmla="*/ 0 w 827854"/>
                <a:gd name="connsiteY0" fmla="*/ 179420 h 172984"/>
                <a:gd name="connsiteX1" fmla="*/ 48189 w 827854"/>
                <a:gd name="connsiteY1" fmla="*/ 129255 h 172984"/>
                <a:gd name="connsiteX2" fmla="*/ 240078 w 827854"/>
                <a:gd name="connsiteY2" fmla="*/ 87738 h 172984"/>
                <a:gd name="connsiteX3" fmla="*/ 267632 w 827854"/>
                <a:gd name="connsiteY3" fmla="*/ 98241 h 172984"/>
                <a:gd name="connsiteX4" fmla="*/ 345228 w 827854"/>
                <a:gd name="connsiteY4" fmla="*/ 76000 h 172984"/>
                <a:gd name="connsiteX5" fmla="*/ 493747 w 827854"/>
                <a:gd name="connsiteY5" fmla="*/ 11 h 172984"/>
                <a:gd name="connsiteX6" fmla="*/ 659689 w 827854"/>
                <a:gd name="connsiteY6" fmla="*/ 133085 h 172984"/>
                <a:gd name="connsiteX7" fmla="*/ 837245 w 827854"/>
                <a:gd name="connsiteY7" fmla="*/ 175590 h 172984"/>
                <a:gd name="connsiteX8" fmla="*/ 0 w 827854"/>
                <a:gd name="connsiteY8" fmla="*/ 179420 h 17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7854" h="172984">
                  <a:moveTo>
                    <a:pt x="0" y="179420"/>
                  </a:moveTo>
                  <a:cubicBezTo>
                    <a:pt x="0" y="179420"/>
                    <a:pt x="29902" y="145071"/>
                    <a:pt x="48189" y="129255"/>
                  </a:cubicBezTo>
                  <a:cubicBezTo>
                    <a:pt x="81179" y="100836"/>
                    <a:pt x="119112" y="50670"/>
                    <a:pt x="240078" y="87738"/>
                  </a:cubicBezTo>
                  <a:cubicBezTo>
                    <a:pt x="249468" y="90580"/>
                    <a:pt x="258612" y="94411"/>
                    <a:pt x="267632" y="98241"/>
                  </a:cubicBezTo>
                  <a:cubicBezTo>
                    <a:pt x="278258" y="102813"/>
                    <a:pt x="311372" y="102936"/>
                    <a:pt x="345228" y="76000"/>
                  </a:cubicBezTo>
                  <a:cubicBezTo>
                    <a:pt x="399100" y="33248"/>
                    <a:pt x="420105" y="999"/>
                    <a:pt x="493747" y="11"/>
                  </a:cubicBezTo>
                  <a:cubicBezTo>
                    <a:pt x="579498" y="-1225"/>
                    <a:pt x="592967" y="105778"/>
                    <a:pt x="659689" y="133085"/>
                  </a:cubicBezTo>
                  <a:cubicBezTo>
                    <a:pt x="702070" y="150507"/>
                    <a:pt x="814016" y="167806"/>
                    <a:pt x="837245" y="175590"/>
                  </a:cubicBezTo>
                  <a:lnTo>
                    <a:pt x="0" y="179420"/>
                  </a:lnTo>
                  <a:close/>
                </a:path>
              </a:pathLst>
            </a:custGeom>
            <a:solidFill>
              <a:schemeClr val="bg1">
                <a:lumMod val="75000"/>
              </a:schemeClr>
            </a:solidFill>
            <a:ln w="12353"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3E16CD30-8B7E-4A78-A8C5-93F33C606F1A}"/>
                </a:ext>
              </a:extLst>
            </p:cNvPr>
            <p:cNvSpPr/>
            <p:nvPr/>
          </p:nvSpPr>
          <p:spPr>
            <a:xfrm>
              <a:off x="7327668" y="983864"/>
              <a:ext cx="1408589" cy="296545"/>
            </a:xfrm>
            <a:custGeom>
              <a:avLst/>
              <a:gdLst>
                <a:gd name="connsiteX0" fmla="*/ 0 w 1408588"/>
                <a:gd name="connsiteY0" fmla="*/ 302986 h 296544"/>
                <a:gd name="connsiteX1" fmla="*/ 81426 w 1408588"/>
                <a:gd name="connsiteY1" fmla="*/ 218347 h 296544"/>
                <a:gd name="connsiteX2" fmla="*/ 405402 w 1408588"/>
                <a:gd name="connsiteY2" fmla="*/ 148165 h 296544"/>
                <a:gd name="connsiteX3" fmla="*/ 451984 w 1408588"/>
                <a:gd name="connsiteY3" fmla="*/ 165958 h 296544"/>
                <a:gd name="connsiteX4" fmla="*/ 582958 w 1408588"/>
                <a:gd name="connsiteY4" fmla="*/ 128395 h 296544"/>
                <a:gd name="connsiteX5" fmla="*/ 833786 w 1408588"/>
                <a:gd name="connsiteY5" fmla="*/ 16 h 296544"/>
                <a:gd name="connsiteX6" fmla="*/ 1113897 w 1408588"/>
                <a:gd name="connsiteY6" fmla="*/ 224773 h 296544"/>
                <a:gd name="connsiteX7" fmla="*/ 1413531 w 1408588"/>
                <a:gd name="connsiteY7" fmla="*/ 296438 h 296544"/>
                <a:gd name="connsiteX8" fmla="*/ 0 w 1408588"/>
                <a:gd name="connsiteY8" fmla="*/ 302986 h 29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8588" h="296544">
                  <a:moveTo>
                    <a:pt x="0" y="302986"/>
                  </a:moveTo>
                  <a:cubicBezTo>
                    <a:pt x="0" y="302986"/>
                    <a:pt x="50536" y="244913"/>
                    <a:pt x="81426" y="218347"/>
                  </a:cubicBezTo>
                  <a:cubicBezTo>
                    <a:pt x="137152" y="170406"/>
                    <a:pt x="201033" y="85767"/>
                    <a:pt x="405402" y="148165"/>
                  </a:cubicBezTo>
                  <a:cubicBezTo>
                    <a:pt x="421341" y="152984"/>
                    <a:pt x="436662" y="159409"/>
                    <a:pt x="451984" y="165958"/>
                  </a:cubicBezTo>
                  <a:cubicBezTo>
                    <a:pt x="470024" y="173618"/>
                    <a:pt x="525873" y="173742"/>
                    <a:pt x="582958" y="128395"/>
                  </a:cubicBezTo>
                  <a:cubicBezTo>
                    <a:pt x="673899" y="56113"/>
                    <a:pt x="709360" y="1746"/>
                    <a:pt x="833786" y="16"/>
                  </a:cubicBezTo>
                  <a:cubicBezTo>
                    <a:pt x="978599" y="-1961"/>
                    <a:pt x="1001334" y="178561"/>
                    <a:pt x="1113897" y="224773"/>
                  </a:cubicBezTo>
                  <a:cubicBezTo>
                    <a:pt x="1185562" y="254180"/>
                    <a:pt x="1374486" y="283340"/>
                    <a:pt x="1413531" y="296438"/>
                  </a:cubicBezTo>
                  <a:lnTo>
                    <a:pt x="0" y="302986"/>
                  </a:lnTo>
                  <a:close/>
                </a:path>
              </a:pathLst>
            </a:custGeom>
            <a:solidFill>
              <a:schemeClr val="bg1">
                <a:lumMod val="85000"/>
              </a:schemeClr>
            </a:solidFill>
            <a:ln w="12353"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93C8CB18-445D-44D5-AE04-045F6CE82189}"/>
                </a:ext>
              </a:extLst>
            </p:cNvPr>
            <p:cNvSpPr/>
            <p:nvPr/>
          </p:nvSpPr>
          <p:spPr>
            <a:xfrm>
              <a:off x="5519858" y="1240268"/>
              <a:ext cx="1173824" cy="1593929"/>
            </a:xfrm>
            <a:custGeom>
              <a:avLst/>
              <a:gdLst>
                <a:gd name="connsiteX0" fmla="*/ 26069 w 1173823"/>
                <a:gd name="connsiteY0" fmla="*/ 1244253 h 1593929"/>
                <a:gd name="connsiteX1" fmla="*/ 619035 w 1173823"/>
                <a:gd name="connsiteY1" fmla="*/ 51278 h 1593929"/>
                <a:gd name="connsiteX2" fmla="*/ 726656 w 1173823"/>
                <a:gd name="connsiteY2" fmla="*/ 0 h 1593929"/>
                <a:gd name="connsiteX3" fmla="*/ 863932 w 1173823"/>
                <a:gd name="connsiteY3" fmla="*/ 364133 h 1593929"/>
                <a:gd name="connsiteX4" fmla="*/ 787201 w 1173823"/>
                <a:gd name="connsiteY4" fmla="*/ 388474 h 1593929"/>
                <a:gd name="connsiteX5" fmla="*/ 787201 w 1173823"/>
                <a:gd name="connsiteY5" fmla="*/ 388597 h 1593929"/>
                <a:gd name="connsiteX6" fmla="*/ 703550 w 1173823"/>
                <a:gd name="connsiteY6" fmla="*/ 401324 h 1593929"/>
                <a:gd name="connsiteX7" fmla="*/ 584191 w 1173823"/>
                <a:gd name="connsiteY7" fmla="*/ 665249 h 1593929"/>
                <a:gd name="connsiteX8" fmla="*/ 848116 w 1173823"/>
                <a:gd name="connsiteY8" fmla="*/ 784609 h 1593929"/>
                <a:gd name="connsiteX9" fmla="*/ 919287 w 1173823"/>
                <a:gd name="connsiteY9" fmla="*/ 739015 h 1593929"/>
                <a:gd name="connsiteX10" fmla="*/ 919287 w 1173823"/>
                <a:gd name="connsiteY10" fmla="*/ 739138 h 1593929"/>
                <a:gd name="connsiteX11" fmla="*/ 992929 w 1173823"/>
                <a:gd name="connsiteY11" fmla="*/ 706766 h 1593929"/>
                <a:gd name="connsiteX12" fmla="*/ 1184200 w 1173823"/>
                <a:gd name="connsiteY12" fmla="*/ 1214228 h 1593929"/>
                <a:gd name="connsiteX13" fmla="*/ 815249 w 1173823"/>
                <a:gd name="connsiteY13" fmla="*/ 1353234 h 1593929"/>
                <a:gd name="connsiteX14" fmla="*/ 774103 w 1173823"/>
                <a:gd name="connsiteY14" fmla="*/ 1267853 h 1593929"/>
                <a:gd name="connsiteX15" fmla="*/ 773980 w 1173823"/>
                <a:gd name="connsiteY15" fmla="*/ 1267853 h 1593929"/>
                <a:gd name="connsiteX16" fmla="*/ 761253 w 1173823"/>
                <a:gd name="connsiteY16" fmla="*/ 1184203 h 1593929"/>
                <a:gd name="connsiteX17" fmla="*/ 497328 w 1173823"/>
                <a:gd name="connsiteY17" fmla="*/ 1064844 h 1593929"/>
                <a:gd name="connsiteX18" fmla="*/ 377969 w 1173823"/>
                <a:gd name="connsiteY18" fmla="*/ 1328769 h 1593929"/>
                <a:gd name="connsiteX19" fmla="*/ 423562 w 1173823"/>
                <a:gd name="connsiteY19" fmla="*/ 1399939 h 1593929"/>
                <a:gd name="connsiteX20" fmla="*/ 423439 w 1173823"/>
                <a:gd name="connsiteY20" fmla="*/ 1399939 h 1593929"/>
                <a:gd name="connsiteX21" fmla="*/ 448892 w 1173823"/>
                <a:gd name="connsiteY21" fmla="*/ 1491251 h 1593929"/>
                <a:gd name="connsiteX22" fmla="*/ 161985 w 1173823"/>
                <a:gd name="connsiteY22" fmla="*/ 1599366 h 1593929"/>
                <a:gd name="connsiteX23" fmla="*/ 26069 w 1173823"/>
                <a:gd name="connsiteY23" fmla="*/ 1244253 h 1593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73823" h="1593929">
                  <a:moveTo>
                    <a:pt x="26069" y="1244253"/>
                  </a:moveTo>
                  <a:cubicBezTo>
                    <a:pt x="-85012" y="701329"/>
                    <a:pt x="167545" y="315079"/>
                    <a:pt x="619035" y="51278"/>
                  </a:cubicBezTo>
                  <a:cubicBezTo>
                    <a:pt x="653508" y="31137"/>
                    <a:pt x="689464" y="14086"/>
                    <a:pt x="726656" y="0"/>
                  </a:cubicBezTo>
                  <a:lnTo>
                    <a:pt x="863932" y="364133"/>
                  </a:lnTo>
                  <a:cubicBezTo>
                    <a:pt x="839590" y="396382"/>
                    <a:pt x="787201" y="388474"/>
                    <a:pt x="787201" y="388474"/>
                  </a:cubicBezTo>
                  <a:lnTo>
                    <a:pt x="787201" y="388597"/>
                  </a:lnTo>
                  <a:cubicBezTo>
                    <a:pt x="759523" y="386991"/>
                    <a:pt x="731228" y="390945"/>
                    <a:pt x="703550" y="401324"/>
                  </a:cubicBezTo>
                  <a:cubicBezTo>
                    <a:pt x="597659" y="441234"/>
                    <a:pt x="544281" y="559358"/>
                    <a:pt x="584191" y="665249"/>
                  </a:cubicBezTo>
                  <a:cubicBezTo>
                    <a:pt x="624101" y="771141"/>
                    <a:pt x="742225" y="824519"/>
                    <a:pt x="848116" y="784609"/>
                  </a:cubicBezTo>
                  <a:cubicBezTo>
                    <a:pt x="875670" y="774230"/>
                    <a:pt x="899641" y="758414"/>
                    <a:pt x="919287" y="739015"/>
                  </a:cubicBezTo>
                  <a:lnTo>
                    <a:pt x="919287" y="739138"/>
                  </a:lnTo>
                  <a:cubicBezTo>
                    <a:pt x="919287" y="739138"/>
                    <a:pt x="953389" y="698734"/>
                    <a:pt x="992929" y="706766"/>
                  </a:cubicBezTo>
                  <a:lnTo>
                    <a:pt x="1184200" y="1214228"/>
                  </a:lnTo>
                  <a:lnTo>
                    <a:pt x="815249" y="1353234"/>
                  </a:lnTo>
                  <a:cubicBezTo>
                    <a:pt x="763724" y="1336553"/>
                    <a:pt x="774103" y="1267853"/>
                    <a:pt x="774103" y="1267853"/>
                  </a:cubicBezTo>
                  <a:lnTo>
                    <a:pt x="773980" y="1267853"/>
                  </a:lnTo>
                  <a:cubicBezTo>
                    <a:pt x="775586" y="1240176"/>
                    <a:pt x="771632" y="1211881"/>
                    <a:pt x="761253" y="1184203"/>
                  </a:cubicBezTo>
                  <a:cubicBezTo>
                    <a:pt x="721343" y="1078312"/>
                    <a:pt x="603219" y="1024934"/>
                    <a:pt x="497328" y="1064844"/>
                  </a:cubicBezTo>
                  <a:cubicBezTo>
                    <a:pt x="391437" y="1104754"/>
                    <a:pt x="338059" y="1222877"/>
                    <a:pt x="377969" y="1328769"/>
                  </a:cubicBezTo>
                  <a:cubicBezTo>
                    <a:pt x="388348" y="1356323"/>
                    <a:pt x="404163" y="1380293"/>
                    <a:pt x="423562" y="1399939"/>
                  </a:cubicBezTo>
                  <a:lnTo>
                    <a:pt x="423439" y="1399939"/>
                  </a:lnTo>
                  <a:cubicBezTo>
                    <a:pt x="423439" y="1399939"/>
                    <a:pt x="476570" y="1444792"/>
                    <a:pt x="448892" y="1491251"/>
                  </a:cubicBezTo>
                  <a:lnTo>
                    <a:pt x="161985" y="1599366"/>
                  </a:lnTo>
                  <a:cubicBezTo>
                    <a:pt x="102800" y="1504224"/>
                    <a:pt x="55599" y="1388325"/>
                    <a:pt x="26069" y="1244253"/>
                  </a:cubicBezTo>
                </a:path>
              </a:pathLst>
            </a:custGeom>
            <a:solidFill>
              <a:schemeClr val="accent5"/>
            </a:solidFill>
            <a:ln w="12353"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6C3A0AEC-0563-42E0-9CB8-AFEFF967EC6E}"/>
                </a:ext>
              </a:extLst>
            </p:cNvPr>
            <p:cNvSpPr/>
            <p:nvPr/>
          </p:nvSpPr>
          <p:spPr>
            <a:xfrm>
              <a:off x="4589241" y="2301939"/>
              <a:ext cx="679582" cy="2644193"/>
            </a:xfrm>
            <a:custGeom>
              <a:avLst/>
              <a:gdLst>
                <a:gd name="connsiteX0" fmla="*/ 20468 w 679582"/>
                <a:gd name="connsiteY0" fmla="*/ 2656508 h 2644192"/>
                <a:gd name="connsiteX1" fmla="*/ 40361 w 679582"/>
                <a:gd name="connsiteY1" fmla="*/ 2642422 h 2644192"/>
                <a:gd name="connsiteX2" fmla="*/ 688930 w 679582"/>
                <a:gd name="connsiteY2" fmla="*/ 21583 h 2644192"/>
                <a:gd name="connsiteX3" fmla="*/ 673238 w 679582"/>
                <a:gd name="connsiteY3" fmla="*/ 454 h 2644192"/>
                <a:gd name="connsiteX4" fmla="*/ 648897 w 679582"/>
                <a:gd name="connsiteY4" fmla="*/ 14045 h 2644192"/>
                <a:gd name="connsiteX5" fmla="*/ 451 w 679582"/>
                <a:gd name="connsiteY5" fmla="*/ 2634885 h 2644192"/>
                <a:gd name="connsiteX6" fmla="*/ 16144 w 679582"/>
                <a:gd name="connsiteY6" fmla="*/ 2656014 h 2644192"/>
                <a:gd name="connsiteX7" fmla="*/ 20468 w 679582"/>
                <a:gd name="connsiteY7" fmla="*/ 2656508 h 264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582" h="2644192">
                  <a:moveTo>
                    <a:pt x="20468" y="2656508"/>
                  </a:moveTo>
                  <a:cubicBezTo>
                    <a:pt x="29859" y="2656508"/>
                    <a:pt x="38384" y="2650824"/>
                    <a:pt x="40361" y="2642422"/>
                  </a:cubicBezTo>
                  <a:lnTo>
                    <a:pt x="688930" y="21583"/>
                  </a:lnTo>
                  <a:cubicBezTo>
                    <a:pt x="691278" y="11945"/>
                    <a:pt x="684235" y="2554"/>
                    <a:pt x="673238" y="454"/>
                  </a:cubicBezTo>
                  <a:cubicBezTo>
                    <a:pt x="662241" y="-1770"/>
                    <a:pt x="651368" y="4408"/>
                    <a:pt x="648897" y="14045"/>
                  </a:cubicBezTo>
                  <a:lnTo>
                    <a:pt x="451" y="2634885"/>
                  </a:lnTo>
                  <a:cubicBezTo>
                    <a:pt x="-1896" y="2644523"/>
                    <a:pt x="5147" y="2653913"/>
                    <a:pt x="16144" y="2656014"/>
                  </a:cubicBezTo>
                  <a:cubicBezTo>
                    <a:pt x="17626" y="2656385"/>
                    <a:pt x="18985" y="2656508"/>
                    <a:pt x="20468" y="2656508"/>
                  </a:cubicBezTo>
                </a:path>
              </a:pathLst>
            </a:custGeom>
            <a:solidFill>
              <a:srgbClr val="860864"/>
            </a:solidFill>
            <a:ln w="12353"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D9347DE5-FAAC-4FAC-A9DC-45D348279E57}"/>
                </a:ext>
              </a:extLst>
            </p:cNvPr>
            <p:cNvSpPr/>
            <p:nvPr/>
          </p:nvSpPr>
          <p:spPr>
            <a:xfrm>
              <a:off x="5064449" y="2301939"/>
              <a:ext cx="679582" cy="2644193"/>
            </a:xfrm>
            <a:custGeom>
              <a:avLst/>
              <a:gdLst>
                <a:gd name="connsiteX0" fmla="*/ 20474 w 679582"/>
                <a:gd name="connsiteY0" fmla="*/ 2656508 h 2644192"/>
                <a:gd name="connsiteX1" fmla="*/ 40367 w 679582"/>
                <a:gd name="connsiteY1" fmla="*/ 2642422 h 2644192"/>
                <a:gd name="connsiteX2" fmla="*/ 691407 w 679582"/>
                <a:gd name="connsiteY2" fmla="*/ 21583 h 2644192"/>
                <a:gd name="connsiteX3" fmla="*/ 675715 w 679582"/>
                <a:gd name="connsiteY3" fmla="*/ 454 h 2644192"/>
                <a:gd name="connsiteX4" fmla="*/ 651373 w 679582"/>
                <a:gd name="connsiteY4" fmla="*/ 14045 h 2644192"/>
                <a:gd name="connsiteX5" fmla="*/ 457 w 679582"/>
                <a:gd name="connsiteY5" fmla="*/ 2634885 h 2644192"/>
                <a:gd name="connsiteX6" fmla="*/ 16149 w 679582"/>
                <a:gd name="connsiteY6" fmla="*/ 2656014 h 2644192"/>
                <a:gd name="connsiteX7" fmla="*/ 20474 w 679582"/>
                <a:gd name="connsiteY7" fmla="*/ 2656508 h 264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582" h="2644192">
                  <a:moveTo>
                    <a:pt x="20474" y="2656508"/>
                  </a:moveTo>
                  <a:cubicBezTo>
                    <a:pt x="29864" y="2656508"/>
                    <a:pt x="38390" y="2650824"/>
                    <a:pt x="40367" y="2642422"/>
                  </a:cubicBezTo>
                  <a:lnTo>
                    <a:pt x="691407" y="21583"/>
                  </a:lnTo>
                  <a:cubicBezTo>
                    <a:pt x="693754" y="11945"/>
                    <a:pt x="686835" y="2554"/>
                    <a:pt x="675715" y="454"/>
                  </a:cubicBezTo>
                  <a:cubicBezTo>
                    <a:pt x="664718" y="-1770"/>
                    <a:pt x="653844" y="4408"/>
                    <a:pt x="651373" y="14045"/>
                  </a:cubicBezTo>
                  <a:lnTo>
                    <a:pt x="457" y="2634885"/>
                  </a:lnTo>
                  <a:cubicBezTo>
                    <a:pt x="-1891" y="2644523"/>
                    <a:pt x="5029" y="2653913"/>
                    <a:pt x="16149" y="2656014"/>
                  </a:cubicBezTo>
                  <a:cubicBezTo>
                    <a:pt x="17508" y="2656385"/>
                    <a:pt x="18991" y="2656508"/>
                    <a:pt x="20474" y="2656508"/>
                  </a:cubicBezTo>
                </a:path>
              </a:pathLst>
            </a:custGeom>
            <a:solidFill>
              <a:srgbClr val="860864"/>
            </a:solidFill>
            <a:ln w="12353"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1008E628-D41B-4107-BB1B-38B6B8436325}"/>
                </a:ext>
              </a:extLst>
            </p:cNvPr>
            <p:cNvSpPr/>
            <p:nvPr/>
          </p:nvSpPr>
          <p:spPr>
            <a:xfrm>
              <a:off x="5203170" y="2442016"/>
              <a:ext cx="506598" cy="24712"/>
            </a:xfrm>
            <a:custGeom>
              <a:avLst/>
              <a:gdLst>
                <a:gd name="connsiteX0" fmla="*/ 20511 w 506597"/>
                <a:gd name="connsiteY0" fmla="*/ 35585 h 24712"/>
                <a:gd name="connsiteX1" fmla="*/ 497949 w 506597"/>
                <a:gd name="connsiteY1" fmla="*/ 35585 h 24712"/>
                <a:gd name="connsiteX2" fmla="*/ 518336 w 506597"/>
                <a:gd name="connsiteY2" fmla="*/ 17793 h 24712"/>
                <a:gd name="connsiteX3" fmla="*/ 497949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9" y="35585"/>
                  </a:lnTo>
                  <a:cubicBezTo>
                    <a:pt x="509192" y="35585"/>
                    <a:pt x="518336" y="27678"/>
                    <a:pt x="518336" y="17793"/>
                  </a:cubicBezTo>
                  <a:cubicBezTo>
                    <a:pt x="518336" y="8031"/>
                    <a:pt x="509192" y="0"/>
                    <a:pt x="497949" y="0"/>
                  </a:cubicBezTo>
                  <a:lnTo>
                    <a:pt x="20511" y="0"/>
                  </a:lnTo>
                  <a:cubicBezTo>
                    <a:pt x="9267" y="0"/>
                    <a:pt x="0" y="8031"/>
                    <a:pt x="0" y="17793"/>
                  </a:cubicBezTo>
                  <a:cubicBezTo>
                    <a:pt x="0" y="27554"/>
                    <a:pt x="9143" y="35585"/>
                    <a:pt x="20511" y="35585"/>
                  </a:cubicBezTo>
                </a:path>
              </a:pathLst>
            </a:custGeom>
            <a:solidFill>
              <a:srgbClr val="15636B"/>
            </a:solidFill>
            <a:ln w="12353"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644B0DFC-CB4D-466F-BA21-0132899C975E}"/>
                </a:ext>
              </a:extLst>
            </p:cNvPr>
            <p:cNvSpPr/>
            <p:nvPr/>
          </p:nvSpPr>
          <p:spPr>
            <a:xfrm>
              <a:off x="5151151" y="2651575"/>
              <a:ext cx="506598" cy="24712"/>
            </a:xfrm>
            <a:custGeom>
              <a:avLst/>
              <a:gdLst>
                <a:gd name="connsiteX0" fmla="*/ 20511 w 506597"/>
                <a:gd name="connsiteY0" fmla="*/ 35585 h 24712"/>
                <a:gd name="connsiteX1" fmla="*/ 497948 w 506597"/>
                <a:gd name="connsiteY1" fmla="*/ 35585 h 24712"/>
                <a:gd name="connsiteX2" fmla="*/ 518336 w 506597"/>
                <a:gd name="connsiteY2" fmla="*/ 17793 h 24712"/>
                <a:gd name="connsiteX3" fmla="*/ 497948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8" y="35585"/>
                  </a:lnTo>
                  <a:cubicBezTo>
                    <a:pt x="509192" y="35585"/>
                    <a:pt x="518336" y="27678"/>
                    <a:pt x="518336" y="17793"/>
                  </a:cubicBezTo>
                  <a:cubicBezTo>
                    <a:pt x="518336" y="8031"/>
                    <a:pt x="509192" y="0"/>
                    <a:pt x="497948" y="0"/>
                  </a:cubicBezTo>
                  <a:lnTo>
                    <a:pt x="20511" y="0"/>
                  </a:lnTo>
                  <a:cubicBezTo>
                    <a:pt x="9267" y="0"/>
                    <a:pt x="0" y="8031"/>
                    <a:pt x="0" y="17793"/>
                  </a:cubicBezTo>
                  <a:cubicBezTo>
                    <a:pt x="0" y="27554"/>
                    <a:pt x="9143" y="35585"/>
                    <a:pt x="20511" y="35585"/>
                  </a:cubicBezTo>
                </a:path>
              </a:pathLst>
            </a:custGeom>
            <a:solidFill>
              <a:srgbClr val="15636B"/>
            </a:solidFill>
            <a:ln w="12353"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DD6F015-A112-4EE8-AEE1-2B0026ABF390}"/>
                </a:ext>
              </a:extLst>
            </p:cNvPr>
            <p:cNvSpPr/>
            <p:nvPr/>
          </p:nvSpPr>
          <p:spPr>
            <a:xfrm>
              <a:off x="5099132" y="2861133"/>
              <a:ext cx="506598" cy="24712"/>
            </a:xfrm>
            <a:custGeom>
              <a:avLst/>
              <a:gdLst>
                <a:gd name="connsiteX0" fmla="*/ 20511 w 506597"/>
                <a:gd name="connsiteY0" fmla="*/ 35585 h 24712"/>
                <a:gd name="connsiteX1" fmla="*/ 497948 w 506597"/>
                <a:gd name="connsiteY1" fmla="*/ 35585 h 24712"/>
                <a:gd name="connsiteX2" fmla="*/ 518336 w 506597"/>
                <a:gd name="connsiteY2" fmla="*/ 17793 h 24712"/>
                <a:gd name="connsiteX3" fmla="*/ 497948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8" y="35585"/>
                  </a:lnTo>
                  <a:cubicBezTo>
                    <a:pt x="509192" y="35585"/>
                    <a:pt x="518336" y="27678"/>
                    <a:pt x="518336" y="17793"/>
                  </a:cubicBezTo>
                  <a:cubicBezTo>
                    <a:pt x="518336" y="8032"/>
                    <a:pt x="509192" y="0"/>
                    <a:pt x="497948" y="0"/>
                  </a:cubicBezTo>
                  <a:lnTo>
                    <a:pt x="20511" y="0"/>
                  </a:lnTo>
                  <a:cubicBezTo>
                    <a:pt x="9267" y="0"/>
                    <a:pt x="0" y="8032"/>
                    <a:pt x="0" y="17793"/>
                  </a:cubicBezTo>
                  <a:cubicBezTo>
                    <a:pt x="0" y="27554"/>
                    <a:pt x="9143" y="35585"/>
                    <a:pt x="20511" y="35585"/>
                  </a:cubicBezTo>
                </a:path>
              </a:pathLst>
            </a:custGeom>
            <a:solidFill>
              <a:srgbClr val="15636B"/>
            </a:solidFill>
            <a:ln w="12353"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240645F1-0769-4BDC-B7AF-B18E238B98FE}"/>
                </a:ext>
              </a:extLst>
            </p:cNvPr>
            <p:cNvSpPr/>
            <p:nvPr/>
          </p:nvSpPr>
          <p:spPr>
            <a:xfrm>
              <a:off x="5047113" y="3070692"/>
              <a:ext cx="506598" cy="24712"/>
            </a:xfrm>
            <a:custGeom>
              <a:avLst/>
              <a:gdLst>
                <a:gd name="connsiteX0" fmla="*/ 20511 w 506597"/>
                <a:gd name="connsiteY0" fmla="*/ 35585 h 24712"/>
                <a:gd name="connsiteX1" fmla="*/ 497948 w 506597"/>
                <a:gd name="connsiteY1" fmla="*/ 35585 h 24712"/>
                <a:gd name="connsiteX2" fmla="*/ 518336 w 506597"/>
                <a:gd name="connsiteY2" fmla="*/ 17793 h 24712"/>
                <a:gd name="connsiteX3" fmla="*/ 497948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8" y="35585"/>
                  </a:lnTo>
                  <a:cubicBezTo>
                    <a:pt x="509193" y="35585"/>
                    <a:pt x="518336" y="27678"/>
                    <a:pt x="518336" y="17793"/>
                  </a:cubicBezTo>
                  <a:cubicBezTo>
                    <a:pt x="518336" y="8031"/>
                    <a:pt x="509193" y="0"/>
                    <a:pt x="497948" y="0"/>
                  </a:cubicBezTo>
                  <a:lnTo>
                    <a:pt x="20511" y="0"/>
                  </a:lnTo>
                  <a:cubicBezTo>
                    <a:pt x="9267" y="0"/>
                    <a:pt x="0" y="8031"/>
                    <a:pt x="0" y="17793"/>
                  </a:cubicBezTo>
                  <a:cubicBezTo>
                    <a:pt x="0" y="27678"/>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6A5153FE-B982-4FBE-A523-6C944683C1F3}"/>
                </a:ext>
              </a:extLst>
            </p:cNvPr>
            <p:cNvSpPr/>
            <p:nvPr/>
          </p:nvSpPr>
          <p:spPr>
            <a:xfrm>
              <a:off x="4995094" y="3280374"/>
              <a:ext cx="506598" cy="24712"/>
            </a:xfrm>
            <a:custGeom>
              <a:avLst/>
              <a:gdLst>
                <a:gd name="connsiteX0" fmla="*/ 20511 w 506597"/>
                <a:gd name="connsiteY0" fmla="*/ 35585 h 24712"/>
                <a:gd name="connsiteX1" fmla="*/ 497948 w 506597"/>
                <a:gd name="connsiteY1" fmla="*/ 35585 h 24712"/>
                <a:gd name="connsiteX2" fmla="*/ 518336 w 506597"/>
                <a:gd name="connsiteY2" fmla="*/ 17793 h 24712"/>
                <a:gd name="connsiteX3" fmla="*/ 497948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8" y="35585"/>
                  </a:lnTo>
                  <a:cubicBezTo>
                    <a:pt x="509193" y="35585"/>
                    <a:pt x="518336" y="27554"/>
                    <a:pt x="518336" y="17793"/>
                  </a:cubicBezTo>
                  <a:cubicBezTo>
                    <a:pt x="518336" y="8031"/>
                    <a:pt x="509193" y="0"/>
                    <a:pt x="497948" y="0"/>
                  </a:cubicBezTo>
                  <a:lnTo>
                    <a:pt x="20511" y="0"/>
                  </a:lnTo>
                  <a:cubicBezTo>
                    <a:pt x="9267" y="0"/>
                    <a:pt x="0" y="8031"/>
                    <a:pt x="0" y="17793"/>
                  </a:cubicBezTo>
                  <a:cubicBezTo>
                    <a:pt x="0" y="27554"/>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430232EF-8928-432B-974B-13A96127F9A3}"/>
                </a:ext>
              </a:extLst>
            </p:cNvPr>
            <p:cNvSpPr/>
            <p:nvPr/>
          </p:nvSpPr>
          <p:spPr>
            <a:xfrm>
              <a:off x="4943075" y="3489932"/>
              <a:ext cx="506598" cy="24712"/>
            </a:xfrm>
            <a:custGeom>
              <a:avLst/>
              <a:gdLst>
                <a:gd name="connsiteX0" fmla="*/ 20511 w 506597"/>
                <a:gd name="connsiteY0" fmla="*/ 35585 h 24712"/>
                <a:gd name="connsiteX1" fmla="*/ 497948 w 506597"/>
                <a:gd name="connsiteY1" fmla="*/ 35585 h 24712"/>
                <a:gd name="connsiteX2" fmla="*/ 518336 w 506597"/>
                <a:gd name="connsiteY2" fmla="*/ 17793 h 24712"/>
                <a:gd name="connsiteX3" fmla="*/ 497948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8" y="35585"/>
                  </a:lnTo>
                  <a:cubicBezTo>
                    <a:pt x="509193" y="35585"/>
                    <a:pt x="518336" y="27554"/>
                    <a:pt x="518336" y="17793"/>
                  </a:cubicBezTo>
                  <a:cubicBezTo>
                    <a:pt x="518336" y="8031"/>
                    <a:pt x="509193" y="0"/>
                    <a:pt x="497948" y="0"/>
                  </a:cubicBezTo>
                  <a:lnTo>
                    <a:pt x="20511" y="0"/>
                  </a:lnTo>
                  <a:cubicBezTo>
                    <a:pt x="9267" y="0"/>
                    <a:pt x="0" y="8031"/>
                    <a:pt x="0" y="17793"/>
                  </a:cubicBezTo>
                  <a:cubicBezTo>
                    <a:pt x="0" y="27554"/>
                    <a:pt x="9143" y="35585"/>
                    <a:pt x="20511" y="35585"/>
                  </a:cubicBezTo>
                </a:path>
              </a:pathLst>
            </a:custGeom>
            <a:solidFill>
              <a:srgbClr val="15636B"/>
            </a:solidFill>
            <a:ln w="12353"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1EC5B97D-9D7C-4360-9F51-E2865E2E57F7}"/>
                </a:ext>
              </a:extLst>
            </p:cNvPr>
            <p:cNvSpPr/>
            <p:nvPr/>
          </p:nvSpPr>
          <p:spPr>
            <a:xfrm>
              <a:off x="4891057" y="3699491"/>
              <a:ext cx="506598" cy="24712"/>
            </a:xfrm>
            <a:custGeom>
              <a:avLst/>
              <a:gdLst>
                <a:gd name="connsiteX0" fmla="*/ 20511 w 506597"/>
                <a:gd name="connsiteY0" fmla="*/ 35585 h 24712"/>
                <a:gd name="connsiteX1" fmla="*/ 498072 w 506597"/>
                <a:gd name="connsiteY1" fmla="*/ 35585 h 24712"/>
                <a:gd name="connsiteX2" fmla="*/ 518459 w 506597"/>
                <a:gd name="connsiteY2" fmla="*/ 17793 h 24712"/>
                <a:gd name="connsiteX3" fmla="*/ 498072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8072" y="35585"/>
                  </a:lnTo>
                  <a:cubicBezTo>
                    <a:pt x="509316" y="35585"/>
                    <a:pt x="518459" y="27554"/>
                    <a:pt x="518459" y="17793"/>
                  </a:cubicBezTo>
                  <a:cubicBezTo>
                    <a:pt x="518459" y="8031"/>
                    <a:pt x="509316" y="0"/>
                    <a:pt x="498072" y="0"/>
                  </a:cubicBezTo>
                  <a:lnTo>
                    <a:pt x="20511" y="0"/>
                  </a:lnTo>
                  <a:cubicBezTo>
                    <a:pt x="9267" y="0"/>
                    <a:pt x="0" y="8031"/>
                    <a:pt x="0" y="17793"/>
                  </a:cubicBezTo>
                  <a:cubicBezTo>
                    <a:pt x="124" y="27678"/>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D26692D7-84CC-4292-A34F-2CC2B55BDB1B}"/>
                </a:ext>
              </a:extLst>
            </p:cNvPr>
            <p:cNvSpPr/>
            <p:nvPr/>
          </p:nvSpPr>
          <p:spPr>
            <a:xfrm>
              <a:off x="4839038" y="3909049"/>
              <a:ext cx="506598" cy="24712"/>
            </a:xfrm>
            <a:custGeom>
              <a:avLst/>
              <a:gdLst>
                <a:gd name="connsiteX0" fmla="*/ 20511 w 506597"/>
                <a:gd name="connsiteY0" fmla="*/ 35585 h 24712"/>
                <a:gd name="connsiteX1" fmla="*/ 497949 w 506597"/>
                <a:gd name="connsiteY1" fmla="*/ 35585 h 24712"/>
                <a:gd name="connsiteX2" fmla="*/ 518460 w 506597"/>
                <a:gd name="connsiteY2" fmla="*/ 17793 h 24712"/>
                <a:gd name="connsiteX3" fmla="*/ 497949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9" y="35585"/>
                  </a:lnTo>
                  <a:cubicBezTo>
                    <a:pt x="509192" y="35585"/>
                    <a:pt x="518460" y="27677"/>
                    <a:pt x="518460" y="17793"/>
                  </a:cubicBezTo>
                  <a:cubicBezTo>
                    <a:pt x="518460" y="8031"/>
                    <a:pt x="509316" y="0"/>
                    <a:pt x="497949" y="0"/>
                  </a:cubicBezTo>
                  <a:lnTo>
                    <a:pt x="20511" y="0"/>
                  </a:lnTo>
                  <a:cubicBezTo>
                    <a:pt x="9267" y="0"/>
                    <a:pt x="0" y="8031"/>
                    <a:pt x="0" y="17793"/>
                  </a:cubicBezTo>
                  <a:cubicBezTo>
                    <a:pt x="0" y="27677"/>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1226E3AC-EFE5-4F08-88AE-2B2B98C277D9}"/>
                </a:ext>
              </a:extLst>
            </p:cNvPr>
            <p:cNvSpPr/>
            <p:nvPr/>
          </p:nvSpPr>
          <p:spPr>
            <a:xfrm>
              <a:off x="4787019" y="4118607"/>
              <a:ext cx="506598" cy="24712"/>
            </a:xfrm>
            <a:custGeom>
              <a:avLst/>
              <a:gdLst>
                <a:gd name="connsiteX0" fmla="*/ 20511 w 506597"/>
                <a:gd name="connsiteY0" fmla="*/ 35585 h 24712"/>
                <a:gd name="connsiteX1" fmla="*/ 497949 w 506597"/>
                <a:gd name="connsiteY1" fmla="*/ 35585 h 24712"/>
                <a:gd name="connsiteX2" fmla="*/ 518336 w 506597"/>
                <a:gd name="connsiteY2" fmla="*/ 17793 h 24712"/>
                <a:gd name="connsiteX3" fmla="*/ 497949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9" y="35585"/>
                  </a:lnTo>
                  <a:cubicBezTo>
                    <a:pt x="509192" y="35585"/>
                    <a:pt x="518336" y="27678"/>
                    <a:pt x="518336" y="17793"/>
                  </a:cubicBezTo>
                  <a:cubicBezTo>
                    <a:pt x="518336" y="8032"/>
                    <a:pt x="509192" y="0"/>
                    <a:pt x="497949" y="0"/>
                  </a:cubicBezTo>
                  <a:lnTo>
                    <a:pt x="20511" y="0"/>
                  </a:lnTo>
                  <a:cubicBezTo>
                    <a:pt x="9267" y="0"/>
                    <a:pt x="0" y="8032"/>
                    <a:pt x="0" y="17793"/>
                  </a:cubicBezTo>
                  <a:cubicBezTo>
                    <a:pt x="124" y="27678"/>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E77F1990-35A0-47CC-B657-5CF55D566513}"/>
                </a:ext>
              </a:extLst>
            </p:cNvPr>
            <p:cNvSpPr/>
            <p:nvPr/>
          </p:nvSpPr>
          <p:spPr>
            <a:xfrm>
              <a:off x="4735000" y="4328290"/>
              <a:ext cx="506598" cy="24712"/>
            </a:xfrm>
            <a:custGeom>
              <a:avLst/>
              <a:gdLst>
                <a:gd name="connsiteX0" fmla="*/ 20511 w 506597"/>
                <a:gd name="connsiteY0" fmla="*/ 35585 h 24712"/>
                <a:gd name="connsiteX1" fmla="*/ 497949 w 506597"/>
                <a:gd name="connsiteY1" fmla="*/ 35585 h 24712"/>
                <a:gd name="connsiteX2" fmla="*/ 518336 w 506597"/>
                <a:gd name="connsiteY2" fmla="*/ 17792 h 24712"/>
                <a:gd name="connsiteX3" fmla="*/ 497949 w 506597"/>
                <a:gd name="connsiteY3" fmla="*/ 0 h 24712"/>
                <a:gd name="connsiteX4" fmla="*/ 20511 w 506597"/>
                <a:gd name="connsiteY4" fmla="*/ 0 h 24712"/>
                <a:gd name="connsiteX5" fmla="*/ 0 w 506597"/>
                <a:gd name="connsiteY5" fmla="*/ 17792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9" y="35585"/>
                  </a:lnTo>
                  <a:cubicBezTo>
                    <a:pt x="509192" y="35585"/>
                    <a:pt x="518336" y="27677"/>
                    <a:pt x="518336" y="17792"/>
                  </a:cubicBezTo>
                  <a:cubicBezTo>
                    <a:pt x="518336" y="8031"/>
                    <a:pt x="509192" y="0"/>
                    <a:pt x="497949" y="0"/>
                  </a:cubicBezTo>
                  <a:lnTo>
                    <a:pt x="20511" y="0"/>
                  </a:lnTo>
                  <a:cubicBezTo>
                    <a:pt x="9267" y="0"/>
                    <a:pt x="0" y="8031"/>
                    <a:pt x="0" y="17792"/>
                  </a:cubicBezTo>
                  <a:cubicBezTo>
                    <a:pt x="124" y="27554"/>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8CF859C5-84B8-4BDF-9BF6-FC0C32AD7DA2}"/>
                </a:ext>
              </a:extLst>
            </p:cNvPr>
            <p:cNvSpPr/>
            <p:nvPr/>
          </p:nvSpPr>
          <p:spPr>
            <a:xfrm>
              <a:off x="5070590" y="2437939"/>
              <a:ext cx="111204" cy="222409"/>
            </a:xfrm>
            <a:custGeom>
              <a:avLst/>
              <a:gdLst>
                <a:gd name="connsiteX0" fmla="*/ 0 w 111204"/>
                <a:gd name="connsiteY0" fmla="*/ 219073 h 222408"/>
                <a:gd name="connsiteX1" fmla="*/ 108610 w 111204"/>
                <a:gd name="connsiteY1" fmla="*/ 223274 h 222408"/>
                <a:gd name="connsiteX2" fmla="*/ 119730 w 111204"/>
                <a:gd name="connsiteY2" fmla="*/ 4325 h 222408"/>
                <a:gd name="connsiteX3" fmla="*/ 11120 w 111204"/>
                <a:gd name="connsiteY3" fmla="*/ 0 h 222408"/>
              </a:gdLst>
              <a:ahLst/>
              <a:cxnLst>
                <a:cxn ang="0">
                  <a:pos x="connsiteX0" y="connsiteY0"/>
                </a:cxn>
                <a:cxn ang="0">
                  <a:pos x="connsiteX1" y="connsiteY1"/>
                </a:cxn>
                <a:cxn ang="0">
                  <a:pos x="connsiteX2" y="connsiteY2"/>
                </a:cxn>
                <a:cxn ang="0">
                  <a:pos x="connsiteX3" y="connsiteY3"/>
                </a:cxn>
              </a:cxnLst>
              <a:rect l="l" t="t" r="r" b="b"/>
              <a:pathLst>
                <a:path w="111204" h="222408">
                  <a:moveTo>
                    <a:pt x="0" y="219073"/>
                  </a:moveTo>
                  <a:lnTo>
                    <a:pt x="108610" y="223274"/>
                  </a:lnTo>
                  <a:lnTo>
                    <a:pt x="119730" y="4325"/>
                  </a:lnTo>
                  <a:lnTo>
                    <a:pt x="11120" y="0"/>
                  </a:lnTo>
                  <a:close/>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298C5F69-1875-49D5-AB79-3E58629DB0F5}"/>
                </a:ext>
              </a:extLst>
            </p:cNvPr>
            <p:cNvSpPr/>
            <p:nvPr/>
          </p:nvSpPr>
          <p:spPr>
            <a:xfrm>
              <a:off x="5088910" y="2486622"/>
              <a:ext cx="86492" cy="135916"/>
            </a:xfrm>
            <a:custGeom>
              <a:avLst/>
              <a:gdLst>
                <a:gd name="connsiteX0" fmla="*/ 90 w 86492"/>
                <a:gd name="connsiteY0" fmla="*/ 0 h 135916"/>
                <a:gd name="connsiteX1" fmla="*/ 92019 w 86492"/>
                <a:gd name="connsiteY1" fmla="*/ 139253 h 135916"/>
                <a:gd name="connsiteX2" fmla="*/ 95850 w 86492"/>
                <a:gd name="connsiteY2" fmla="*/ 81797 h 135916"/>
                <a:gd name="connsiteX3" fmla="*/ 90 w 86492"/>
                <a:gd name="connsiteY3" fmla="*/ 0 h 135916"/>
              </a:gdLst>
              <a:ahLst/>
              <a:cxnLst>
                <a:cxn ang="0">
                  <a:pos x="connsiteX0" y="connsiteY0"/>
                </a:cxn>
                <a:cxn ang="0">
                  <a:pos x="connsiteX1" y="connsiteY1"/>
                </a:cxn>
                <a:cxn ang="0">
                  <a:pos x="connsiteX2" y="connsiteY2"/>
                </a:cxn>
                <a:cxn ang="0">
                  <a:pos x="connsiteX3" y="connsiteY3"/>
                </a:cxn>
              </a:cxnLst>
              <a:rect l="l" t="t" r="r" b="b"/>
              <a:pathLst>
                <a:path w="86492" h="135916">
                  <a:moveTo>
                    <a:pt x="90" y="0"/>
                  </a:moveTo>
                  <a:cubicBezTo>
                    <a:pt x="90" y="0"/>
                    <a:pt x="-6458" y="120842"/>
                    <a:pt x="92019" y="139253"/>
                  </a:cubicBezTo>
                  <a:lnTo>
                    <a:pt x="95850" y="81797"/>
                  </a:lnTo>
                  <a:lnTo>
                    <a:pt x="90" y="0"/>
                  </a:lnTo>
                  <a:close/>
                </a:path>
              </a:pathLst>
            </a:custGeom>
            <a:solidFill>
              <a:schemeClr val="accent4">
                <a:lumMod val="40000"/>
                <a:lumOff val="60000"/>
              </a:schemeClr>
            </a:solidFill>
            <a:ln w="12353"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44407586-137A-473E-96FA-333C33EB2F86}"/>
                </a:ext>
              </a:extLst>
            </p:cNvPr>
            <p:cNvSpPr/>
            <p:nvPr/>
          </p:nvSpPr>
          <p:spPr>
            <a:xfrm>
              <a:off x="5024547" y="2330194"/>
              <a:ext cx="61780" cy="111204"/>
            </a:xfrm>
            <a:custGeom>
              <a:avLst/>
              <a:gdLst>
                <a:gd name="connsiteX0" fmla="*/ 71249 w 61780"/>
                <a:gd name="connsiteY0" fmla="*/ 0 h 111204"/>
                <a:gd name="connsiteX1" fmla="*/ 49874 w 61780"/>
                <a:gd name="connsiteY1" fmla="*/ 122819 h 111204"/>
                <a:gd name="connsiteX2" fmla="*/ 71249 w 61780"/>
                <a:gd name="connsiteY2" fmla="*/ 0 h 111204"/>
              </a:gdLst>
              <a:ahLst/>
              <a:cxnLst>
                <a:cxn ang="0">
                  <a:pos x="connsiteX0" y="connsiteY0"/>
                </a:cxn>
                <a:cxn ang="0">
                  <a:pos x="connsiteX1" y="connsiteY1"/>
                </a:cxn>
                <a:cxn ang="0">
                  <a:pos x="connsiteX2" y="connsiteY2"/>
                </a:cxn>
              </a:cxnLst>
              <a:rect l="l" t="t" r="r" b="b"/>
              <a:pathLst>
                <a:path w="61780" h="111204">
                  <a:moveTo>
                    <a:pt x="71249" y="0"/>
                  </a:moveTo>
                  <a:cubicBezTo>
                    <a:pt x="71249" y="0"/>
                    <a:pt x="-73687" y="19399"/>
                    <a:pt x="49874" y="122819"/>
                  </a:cubicBezTo>
                  <a:lnTo>
                    <a:pt x="71249" y="0"/>
                  </a:lnTo>
                  <a:close/>
                </a:path>
              </a:pathLst>
            </a:custGeom>
            <a:solidFill>
              <a:srgbClr val="4701A7"/>
            </a:solidFill>
            <a:ln w="12353"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AB46E9A9-0C04-48C8-8CCD-355E29BB6A3B}"/>
                </a:ext>
              </a:extLst>
            </p:cNvPr>
            <p:cNvSpPr/>
            <p:nvPr/>
          </p:nvSpPr>
          <p:spPr>
            <a:xfrm>
              <a:off x="5088322" y="2314378"/>
              <a:ext cx="247121" cy="284189"/>
            </a:xfrm>
            <a:custGeom>
              <a:avLst/>
              <a:gdLst>
                <a:gd name="connsiteX0" fmla="*/ 117690 w 247120"/>
                <a:gd name="connsiteY0" fmla="*/ 285054 h 284188"/>
                <a:gd name="connsiteX1" fmla="*/ 117690 w 247120"/>
                <a:gd name="connsiteY1" fmla="*/ 285054 h 284188"/>
                <a:gd name="connsiteX2" fmla="*/ 248417 w 247120"/>
                <a:gd name="connsiteY2" fmla="*/ 167424 h 284188"/>
                <a:gd name="connsiteX3" fmla="*/ 256572 w 247120"/>
                <a:gd name="connsiteY3" fmla="*/ 13097 h 284188"/>
                <a:gd name="connsiteX4" fmla="*/ 8339 w 247120"/>
                <a:gd name="connsiteY4" fmla="*/ 0 h 284188"/>
                <a:gd name="connsiteX5" fmla="*/ 184 w 247120"/>
                <a:gd name="connsiteY5" fmla="*/ 154327 h 284188"/>
                <a:gd name="connsiteX6" fmla="*/ 117690 w 247120"/>
                <a:gd name="connsiteY6" fmla="*/ 285054 h 28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120" h="284188">
                  <a:moveTo>
                    <a:pt x="117690" y="285054"/>
                  </a:moveTo>
                  <a:lnTo>
                    <a:pt x="117690" y="285054"/>
                  </a:lnTo>
                  <a:cubicBezTo>
                    <a:pt x="186266" y="288637"/>
                    <a:pt x="244710" y="236000"/>
                    <a:pt x="248417" y="167424"/>
                  </a:cubicBezTo>
                  <a:lnTo>
                    <a:pt x="256572" y="13097"/>
                  </a:lnTo>
                  <a:lnTo>
                    <a:pt x="8339" y="0"/>
                  </a:lnTo>
                  <a:lnTo>
                    <a:pt x="184" y="154327"/>
                  </a:lnTo>
                  <a:cubicBezTo>
                    <a:pt x="-3522" y="222903"/>
                    <a:pt x="49114" y="281471"/>
                    <a:pt x="117690" y="285054"/>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F0B59018-3D9D-4483-B704-73B2909A523D}"/>
                </a:ext>
              </a:extLst>
            </p:cNvPr>
            <p:cNvSpPr/>
            <p:nvPr/>
          </p:nvSpPr>
          <p:spPr>
            <a:xfrm>
              <a:off x="5228464" y="2302247"/>
              <a:ext cx="135916" cy="98848"/>
            </a:xfrm>
            <a:custGeom>
              <a:avLst/>
              <a:gdLst>
                <a:gd name="connsiteX0" fmla="*/ 86158 w 135916"/>
                <a:gd name="connsiteY0" fmla="*/ 41415 h 98848"/>
                <a:gd name="connsiteX1" fmla="*/ 112106 w 135916"/>
                <a:gd name="connsiteY1" fmla="*/ 107026 h 98848"/>
                <a:gd name="connsiteX2" fmla="*/ 132493 w 135916"/>
                <a:gd name="connsiteY2" fmla="*/ 12749 h 98848"/>
                <a:gd name="connsiteX3" fmla="*/ 101356 w 135916"/>
                <a:gd name="connsiteY3" fmla="*/ 23 h 98848"/>
                <a:gd name="connsiteX4" fmla="*/ 15605 w 135916"/>
                <a:gd name="connsiteY4" fmla="*/ 33507 h 98848"/>
                <a:gd name="connsiteX5" fmla="*/ 86158 w 135916"/>
                <a:gd name="connsiteY5" fmla="*/ 41415 h 9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916" h="98848">
                  <a:moveTo>
                    <a:pt x="86158" y="41415"/>
                  </a:moveTo>
                  <a:cubicBezTo>
                    <a:pt x="86158" y="41415"/>
                    <a:pt x="114701" y="59455"/>
                    <a:pt x="112106" y="107026"/>
                  </a:cubicBezTo>
                  <a:cubicBezTo>
                    <a:pt x="112106" y="107026"/>
                    <a:pt x="162766" y="47840"/>
                    <a:pt x="132493" y="12749"/>
                  </a:cubicBezTo>
                  <a:cubicBezTo>
                    <a:pt x="124833" y="3853"/>
                    <a:pt x="113094" y="-348"/>
                    <a:pt x="101356" y="23"/>
                  </a:cubicBezTo>
                  <a:cubicBezTo>
                    <a:pt x="83687" y="517"/>
                    <a:pt x="53044" y="6201"/>
                    <a:pt x="15605" y="33507"/>
                  </a:cubicBezTo>
                  <a:cubicBezTo>
                    <a:pt x="-43951" y="77124"/>
                    <a:pt x="86158" y="41415"/>
                    <a:pt x="86158" y="41415"/>
                  </a:cubicBezTo>
                </a:path>
              </a:pathLst>
            </a:custGeom>
            <a:solidFill>
              <a:srgbClr val="4701A7"/>
            </a:solidFill>
            <a:ln w="12353"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93AF5D2B-0A1E-4068-9C67-E4AFBA76D0A8}"/>
                </a:ext>
              </a:extLst>
            </p:cNvPr>
            <p:cNvSpPr/>
            <p:nvPr/>
          </p:nvSpPr>
          <p:spPr>
            <a:xfrm>
              <a:off x="5057669" y="2223751"/>
              <a:ext cx="259477" cy="210053"/>
            </a:xfrm>
            <a:custGeom>
              <a:avLst/>
              <a:gdLst>
                <a:gd name="connsiteX0" fmla="*/ 265107 w 259476"/>
                <a:gd name="connsiteY0" fmla="*/ 96558 h 210052"/>
                <a:gd name="connsiteX1" fmla="*/ 119800 w 259476"/>
                <a:gd name="connsiteY1" fmla="*/ 1416 h 210052"/>
                <a:gd name="connsiteX2" fmla="*/ 38745 w 259476"/>
                <a:gd name="connsiteY2" fmla="*/ 213446 h 210052"/>
                <a:gd name="connsiteX3" fmla="*/ 68770 w 259476"/>
                <a:gd name="connsiteY3" fmla="*/ 193429 h 210052"/>
                <a:gd name="connsiteX4" fmla="*/ 265107 w 259476"/>
                <a:gd name="connsiteY4" fmla="*/ 96558 h 210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476" h="210052">
                  <a:moveTo>
                    <a:pt x="265107" y="96558"/>
                  </a:moveTo>
                  <a:cubicBezTo>
                    <a:pt x="265107" y="96558"/>
                    <a:pt x="268073" y="-13658"/>
                    <a:pt x="119800" y="1416"/>
                  </a:cubicBezTo>
                  <a:cubicBezTo>
                    <a:pt x="-33168" y="16985"/>
                    <a:pt x="-14757" y="158709"/>
                    <a:pt x="38745" y="213446"/>
                  </a:cubicBezTo>
                  <a:lnTo>
                    <a:pt x="68770" y="193429"/>
                  </a:lnTo>
                  <a:lnTo>
                    <a:pt x="265107" y="96558"/>
                  </a:lnTo>
                  <a:close/>
                </a:path>
              </a:pathLst>
            </a:custGeom>
            <a:solidFill>
              <a:srgbClr val="4701A7"/>
            </a:solidFill>
            <a:ln w="12353"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E319CB8E-6F8A-4873-B443-C4B47B595250}"/>
                </a:ext>
              </a:extLst>
            </p:cNvPr>
            <p:cNvSpPr/>
            <p:nvPr/>
          </p:nvSpPr>
          <p:spPr>
            <a:xfrm>
              <a:off x="5046937" y="2410950"/>
              <a:ext cx="74136" cy="74136"/>
            </a:xfrm>
            <a:custGeom>
              <a:avLst/>
              <a:gdLst>
                <a:gd name="connsiteX0" fmla="*/ 53 w 74136"/>
                <a:gd name="connsiteY0" fmla="*/ 36997 h 74136"/>
                <a:gd name="connsiteX1" fmla="*/ 36997 w 74136"/>
                <a:gd name="connsiteY1" fmla="*/ 78019 h 74136"/>
                <a:gd name="connsiteX2" fmla="*/ 78019 w 74136"/>
                <a:gd name="connsiteY2" fmla="*/ 41075 h 74136"/>
                <a:gd name="connsiteX3" fmla="*/ 41075 w 74136"/>
                <a:gd name="connsiteY3" fmla="*/ 53 h 74136"/>
                <a:gd name="connsiteX4" fmla="*/ 53 w 74136"/>
                <a:gd name="connsiteY4" fmla="*/ 36997 h 74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36" h="74136">
                  <a:moveTo>
                    <a:pt x="53" y="36997"/>
                  </a:moveTo>
                  <a:cubicBezTo>
                    <a:pt x="-1059" y="58497"/>
                    <a:pt x="15498" y="76907"/>
                    <a:pt x="36997" y="78019"/>
                  </a:cubicBezTo>
                  <a:cubicBezTo>
                    <a:pt x="58497" y="79132"/>
                    <a:pt x="76907" y="62574"/>
                    <a:pt x="78019" y="41075"/>
                  </a:cubicBezTo>
                  <a:cubicBezTo>
                    <a:pt x="79132" y="19575"/>
                    <a:pt x="62574" y="1165"/>
                    <a:pt x="41075" y="53"/>
                  </a:cubicBezTo>
                  <a:cubicBezTo>
                    <a:pt x="19575" y="-1059"/>
                    <a:pt x="1165" y="15498"/>
                    <a:pt x="53" y="36997"/>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8690176B-81E6-4AF9-83B9-CEA66F2286E3}"/>
                </a:ext>
              </a:extLst>
            </p:cNvPr>
            <p:cNvSpPr/>
            <p:nvPr/>
          </p:nvSpPr>
          <p:spPr>
            <a:xfrm>
              <a:off x="5084266" y="2293685"/>
              <a:ext cx="234765" cy="172985"/>
            </a:xfrm>
            <a:custGeom>
              <a:avLst/>
              <a:gdLst>
                <a:gd name="connsiteX0" fmla="*/ 31176 w 234764"/>
                <a:gd name="connsiteY0" fmla="*/ 112375 h 172984"/>
                <a:gd name="connsiteX1" fmla="*/ 34389 w 234764"/>
                <a:gd name="connsiteY1" fmla="*/ 173167 h 172984"/>
                <a:gd name="connsiteX2" fmla="*/ 66762 w 234764"/>
                <a:gd name="connsiteY2" fmla="*/ 174526 h 172984"/>
                <a:gd name="connsiteX3" fmla="*/ 69480 w 234764"/>
                <a:gd name="connsiteY3" fmla="*/ 112746 h 172984"/>
                <a:gd name="connsiteX4" fmla="*/ 244936 w 234764"/>
                <a:gd name="connsiteY4" fmla="*/ 32926 h 172984"/>
                <a:gd name="connsiteX5" fmla="*/ 31176 w 234764"/>
                <a:gd name="connsiteY5" fmla="*/ 2654 h 172984"/>
                <a:gd name="connsiteX6" fmla="*/ 3870 w 234764"/>
                <a:gd name="connsiteY6" fmla="*/ 117194 h 172984"/>
                <a:gd name="connsiteX7" fmla="*/ 29570 w 234764"/>
                <a:gd name="connsiteY7" fmla="*/ 91988 h 172984"/>
                <a:gd name="connsiteX8" fmla="*/ 31176 w 234764"/>
                <a:gd name="connsiteY8" fmla="*/ 112375 h 17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764" h="172984">
                  <a:moveTo>
                    <a:pt x="31176" y="112375"/>
                  </a:moveTo>
                  <a:lnTo>
                    <a:pt x="34389" y="173167"/>
                  </a:lnTo>
                  <a:lnTo>
                    <a:pt x="66762" y="174526"/>
                  </a:lnTo>
                  <a:lnTo>
                    <a:pt x="69480" y="112746"/>
                  </a:lnTo>
                  <a:cubicBezTo>
                    <a:pt x="196006" y="125596"/>
                    <a:pt x="244936" y="32926"/>
                    <a:pt x="244936" y="32926"/>
                  </a:cubicBezTo>
                  <a:cubicBezTo>
                    <a:pt x="229244" y="32061"/>
                    <a:pt x="77388" y="-10938"/>
                    <a:pt x="31176" y="2654"/>
                  </a:cubicBezTo>
                  <a:cubicBezTo>
                    <a:pt x="-15159" y="16369"/>
                    <a:pt x="3870" y="117194"/>
                    <a:pt x="3870" y="117194"/>
                  </a:cubicBezTo>
                  <a:lnTo>
                    <a:pt x="29570" y="91988"/>
                  </a:lnTo>
                  <a:lnTo>
                    <a:pt x="31176" y="112375"/>
                  </a:lnTo>
                  <a:close/>
                </a:path>
              </a:pathLst>
            </a:custGeom>
            <a:solidFill>
              <a:srgbClr val="4701A7"/>
            </a:solidFill>
            <a:ln w="12353"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F84D31CE-6D25-4803-B2AC-35B07E39AC42}"/>
                </a:ext>
              </a:extLst>
            </p:cNvPr>
            <p:cNvSpPr/>
            <p:nvPr/>
          </p:nvSpPr>
          <p:spPr>
            <a:xfrm>
              <a:off x="5246293" y="3745826"/>
              <a:ext cx="222409" cy="135916"/>
            </a:xfrm>
            <a:custGeom>
              <a:avLst/>
              <a:gdLst>
                <a:gd name="connsiteX0" fmla="*/ 116023 w 222408"/>
                <a:gd name="connsiteY0" fmla="*/ 14580 h 135916"/>
                <a:gd name="connsiteX1" fmla="*/ 35709 w 222408"/>
                <a:gd name="connsiteY1" fmla="*/ 0 h 135916"/>
                <a:gd name="connsiteX2" fmla="*/ 0 w 222408"/>
                <a:gd name="connsiteY2" fmla="*/ 131715 h 135916"/>
                <a:gd name="connsiteX3" fmla="*/ 228463 w 222408"/>
                <a:gd name="connsiteY3" fmla="*/ 145925 h 135916"/>
                <a:gd name="connsiteX4" fmla="*/ 231799 w 222408"/>
                <a:gd name="connsiteY4" fmla="*/ 128132 h 135916"/>
                <a:gd name="connsiteX5" fmla="*/ 206840 w 222408"/>
                <a:gd name="connsiteY5" fmla="*/ 85998 h 135916"/>
                <a:gd name="connsiteX6" fmla="*/ 98601 w 222408"/>
                <a:gd name="connsiteY6" fmla="*/ 66723 h 135916"/>
                <a:gd name="connsiteX7" fmla="*/ 116023 w 222408"/>
                <a:gd name="connsiteY7" fmla="*/ 14580 h 13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408" h="135916">
                  <a:moveTo>
                    <a:pt x="116023" y="14580"/>
                  </a:moveTo>
                  <a:lnTo>
                    <a:pt x="35709" y="0"/>
                  </a:lnTo>
                  <a:lnTo>
                    <a:pt x="0" y="131715"/>
                  </a:lnTo>
                  <a:lnTo>
                    <a:pt x="228463" y="145925"/>
                  </a:lnTo>
                  <a:lnTo>
                    <a:pt x="231799" y="128132"/>
                  </a:lnTo>
                  <a:cubicBezTo>
                    <a:pt x="233406" y="109722"/>
                    <a:pt x="223644" y="93412"/>
                    <a:pt x="206840" y="85998"/>
                  </a:cubicBezTo>
                  <a:lnTo>
                    <a:pt x="98601" y="66723"/>
                  </a:lnTo>
                  <a:lnTo>
                    <a:pt x="116023" y="14580"/>
                  </a:lnTo>
                  <a:close/>
                </a:path>
              </a:pathLst>
            </a:custGeom>
            <a:solidFill>
              <a:schemeClr val="accent4"/>
            </a:solidFill>
            <a:ln w="12353"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7A3406D3-F54E-4C99-BF4A-2371FBE4F3A8}"/>
                </a:ext>
              </a:extLst>
            </p:cNvPr>
            <p:cNvSpPr/>
            <p:nvPr/>
          </p:nvSpPr>
          <p:spPr>
            <a:xfrm>
              <a:off x="4768237" y="3979231"/>
              <a:ext cx="222409" cy="135916"/>
            </a:xfrm>
            <a:custGeom>
              <a:avLst/>
              <a:gdLst>
                <a:gd name="connsiteX0" fmla="*/ 121089 w 222408"/>
                <a:gd name="connsiteY0" fmla="*/ 11244 h 135916"/>
                <a:gd name="connsiteX1" fmla="*/ 40281 w 222408"/>
                <a:gd name="connsiteY1" fmla="*/ 0 h 135916"/>
                <a:gd name="connsiteX2" fmla="*/ 0 w 222408"/>
                <a:gd name="connsiteY2" fmla="*/ 138882 h 135916"/>
                <a:gd name="connsiteX3" fmla="*/ 228957 w 222408"/>
                <a:gd name="connsiteY3" fmla="*/ 143701 h 135916"/>
                <a:gd name="connsiteX4" fmla="*/ 231429 w 222408"/>
                <a:gd name="connsiteY4" fmla="*/ 125785 h 135916"/>
                <a:gd name="connsiteX5" fmla="*/ 204740 w 222408"/>
                <a:gd name="connsiteY5" fmla="*/ 84762 h 135916"/>
                <a:gd name="connsiteX6" fmla="*/ 102061 w 222408"/>
                <a:gd name="connsiteY6" fmla="*/ 70800 h 135916"/>
                <a:gd name="connsiteX7" fmla="*/ 121089 w 222408"/>
                <a:gd name="connsiteY7" fmla="*/ 11244 h 13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408" h="135916">
                  <a:moveTo>
                    <a:pt x="121089" y="11244"/>
                  </a:moveTo>
                  <a:lnTo>
                    <a:pt x="40281" y="0"/>
                  </a:lnTo>
                  <a:lnTo>
                    <a:pt x="0" y="138882"/>
                  </a:lnTo>
                  <a:lnTo>
                    <a:pt x="228957" y="143701"/>
                  </a:lnTo>
                  <a:lnTo>
                    <a:pt x="231429" y="125785"/>
                  </a:lnTo>
                  <a:cubicBezTo>
                    <a:pt x="232170" y="107374"/>
                    <a:pt x="221915" y="91435"/>
                    <a:pt x="204740" y="84762"/>
                  </a:cubicBezTo>
                  <a:lnTo>
                    <a:pt x="102061" y="70800"/>
                  </a:lnTo>
                  <a:lnTo>
                    <a:pt x="121089" y="11244"/>
                  </a:lnTo>
                  <a:close/>
                </a:path>
              </a:pathLst>
            </a:custGeom>
            <a:solidFill>
              <a:schemeClr val="accent4"/>
            </a:solidFill>
            <a:ln w="12353"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DBB68913-6143-4826-A3E5-86FDE39C4E9C}"/>
                </a:ext>
              </a:extLst>
            </p:cNvPr>
            <p:cNvSpPr/>
            <p:nvPr/>
          </p:nvSpPr>
          <p:spPr>
            <a:xfrm>
              <a:off x="4763666" y="3191163"/>
              <a:ext cx="407749" cy="815499"/>
            </a:xfrm>
            <a:custGeom>
              <a:avLst/>
              <a:gdLst>
                <a:gd name="connsiteX0" fmla="*/ 220679 w 407749"/>
                <a:gd name="connsiteY0" fmla="*/ 0 h 815498"/>
                <a:gd name="connsiteX1" fmla="*/ 153956 w 407749"/>
                <a:gd name="connsiteY1" fmla="*/ 340285 h 815498"/>
                <a:gd name="connsiteX2" fmla="*/ 0 w 407749"/>
                <a:gd name="connsiteY2" fmla="*/ 816240 h 815498"/>
                <a:gd name="connsiteX3" fmla="*/ 145554 w 407749"/>
                <a:gd name="connsiteY3" fmla="*/ 824642 h 815498"/>
                <a:gd name="connsiteX4" fmla="*/ 315450 w 407749"/>
                <a:gd name="connsiteY4" fmla="*/ 353754 h 815498"/>
                <a:gd name="connsiteX5" fmla="*/ 417016 w 407749"/>
                <a:gd name="connsiteY5" fmla="*/ 0 h 81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749" h="815498">
                  <a:moveTo>
                    <a:pt x="220679" y="0"/>
                  </a:moveTo>
                  <a:lnTo>
                    <a:pt x="153956" y="340285"/>
                  </a:lnTo>
                  <a:lnTo>
                    <a:pt x="0" y="816240"/>
                  </a:lnTo>
                  <a:lnTo>
                    <a:pt x="145554" y="824642"/>
                  </a:lnTo>
                  <a:lnTo>
                    <a:pt x="315450" y="353754"/>
                  </a:lnTo>
                  <a:lnTo>
                    <a:pt x="417016" y="0"/>
                  </a:lnTo>
                  <a:close/>
                </a:path>
              </a:pathLst>
            </a:custGeom>
            <a:solidFill>
              <a:schemeClr val="accent5"/>
            </a:solidFill>
            <a:ln w="12353"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3252FE9C-7849-428B-936E-B0A767461C97}"/>
                </a:ext>
              </a:extLst>
            </p:cNvPr>
            <p:cNvSpPr/>
            <p:nvPr/>
          </p:nvSpPr>
          <p:spPr>
            <a:xfrm>
              <a:off x="4973471" y="3222300"/>
              <a:ext cx="172985" cy="111204"/>
            </a:xfrm>
            <a:custGeom>
              <a:avLst/>
              <a:gdLst>
                <a:gd name="connsiteX0" fmla="*/ 4695 w 172984"/>
                <a:gd name="connsiteY0" fmla="*/ 0 h 111204"/>
                <a:gd name="connsiteX1" fmla="*/ 183982 w 172984"/>
                <a:gd name="connsiteY1" fmla="*/ 49671 h 111204"/>
                <a:gd name="connsiteX2" fmla="*/ 163470 w 172984"/>
                <a:gd name="connsiteY2" fmla="*/ 121336 h 111204"/>
                <a:gd name="connsiteX3" fmla="*/ 0 w 172984"/>
                <a:gd name="connsiteY3" fmla="*/ 23971 h 111204"/>
              </a:gdLst>
              <a:ahLst/>
              <a:cxnLst>
                <a:cxn ang="0">
                  <a:pos x="connsiteX0" y="connsiteY0"/>
                </a:cxn>
                <a:cxn ang="0">
                  <a:pos x="connsiteX1" y="connsiteY1"/>
                </a:cxn>
                <a:cxn ang="0">
                  <a:pos x="connsiteX2" y="connsiteY2"/>
                </a:cxn>
                <a:cxn ang="0">
                  <a:pos x="connsiteX3" y="connsiteY3"/>
                </a:cxn>
              </a:cxnLst>
              <a:rect l="l" t="t" r="r" b="b"/>
              <a:pathLst>
                <a:path w="172984" h="111204">
                  <a:moveTo>
                    <a:pt x="4695" y="0"/>
                  </a:moveTo>
                  <a:lnTo>
                    <a:pt x="183982" y="49671"/>
                  </a:lnTo>
                  <a:lnTo>
                    <a:pt x="163470" y="121336"/>
                  </a:lnTo>
                  <a:lnTo>
                    <a:pt x="0" y="23971"/>
                  </a:lnTo>
                  <a:close/>
                </a:path>
              </a:pathLst>
            </a:custGeom>
            <a:solidFill>
              <a:schemeClr val="accent5">
                <a:lumMod val="75000"/>
              </a:schemeClr>
            </a:solidFill>
            <a:ln w="12353"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DC66C758-EBAC-42DF-98FD-7EAB20F3DBA0}"/>
                </a:ext>
              </a:extLst>
            </p:cNvPr>
            <p:cNvSpPr/>
            <p:nvPr/>
          </p:nvSpPr>
          <p:spPr>
            <a:xfrm>
              <a:off x="4943570" y="3132348"/>
              <a:ext cx="580734" cy="642514"/>
            </a:xfrm>
            <a:custGeom>
              <a:avLst/>
              <a:gdLst>
                <a:gd name="connsiteX0" fmla="*/ 301364 w 580733"/>
                <a:gd name="connsiteY0" fmla="*/ 123 h 642514"/>
                <a:gd name="connsiteX1" fmla="*/ 531928 w 580733"/>
                <a:gd name="connsiteY1" fmla="*/ 71665 h 642514"/>
                <a:gd name="connsiteX2" fmla="*/ 586171 w 580733"/>
                <a:gd name="connsiteY2" fmla="*/ 158899 h 642514"/>
                <a:gd name="connsiteX3" fmla="*/ 441852 w 580733"/>
                <a:gd name="connsiteY3" fmla="*/ 646097 h 642514"/>
                <a:gd name="connsiteX4" fmla="*/ 290985 w 580733"/>
                <a:gd name="connsiteY4" fmla="*/ 644985 h 642514"/>
                <a:gd name="connsiteX5" fmla="*/ 427519 w 580733"/>
                <a:gd name="connsiteY5" fmla="*/ 186082 h 642514"/>
                <a:gd name="connsiteX6" fmla="*/ 88099 w 580733"/>
                <a:gd name="connsiteY6" fmla="*/ 112193 h 642514"/>
                <a:gd name="connsiteX7" fmla="*/ 0 w 580733"/>
                <a:gd name="connsiteY7" fmla="*/ 15816 h 642514"/>
                <a:gd name="connsiteX8" fmla="*/ 0 w 580733"/>
                <a:gd name="connsiteY8" fmla="*/ 0 h 642514"/>
                <a:gd name="connsiteX9" fmla="*/ 301364 w 580733"/>
                <a:gd name="connsiteY9" fmla="*/ 0 h 64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0733" h="642514">
                  <a:moveTo>
                    <a:pt x="301364" y="123"/>
                  </a:moveTo>
                  <a:lnTo>
                    <a:pt x="531928" y="71665"/>
                  </a:lnTo>
                  <a:cubicBezTo>
                    <a:pt x="572579" y="78461"/>
                    <a:pt x="598156" y="119359"/>
                    <a:pt x="586171" y="158899"/>
                  </a:cubicBezTo>
                  <a:lnTo>
                    <a:pt x="441852" y="646097"/>
                  </a:lnTo>
                  <a:lnTo>
                    <a:pt x="290985" y="644985"/>
                  </a:lnTo>
                  <a:lnTo>
                    <a:pt x="427519" y="186082"/>
                  </a:lnTo>
                  <a:lnTo>
                    <a:pt x="88099" y="112193"/>
                  </a:lnTo>
                  <a:cubicBezTo>
                    <a:pt x="38180" y="107745"/>
                    <a:pt x="0" y="65858"/>
                    <a:pt x="0" y="15816"/>
                  </a:cubicBezTo>
                  <a:lnTo>
                    <a:pt x="0" y="0"/>
                  </a:lnTo>
                  <a:lnTo>
                    <a:pt x="301364" y="0"/>
                  </a:lnTo>
                  <a:close/>
                </a:path>
              </a:pathLst>
            </a:custGeom>
            <a:solidFill>
              <a:schemeClr val="accent5"/>
            </a:solidFill>
            <a:ln w="12353"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B203BF61-F4A6-4A5D-A7D8-2BC94D7A9276}"/>
                </a:ext>
              </a:extLst>
            </p:cNvPr>
            <p:cNvSpPr/>
            <p:nvPr/>
          </p:nvSpPr>
          <p:spPr>
            <a:xfrm>
              <a:off x="4915522" y="2639837"/>
              <a:ext cx="345969" cy="506598"/>
            </a:xfrm>
            <a:custGeom>
              <a:avLst/>
              <a:gdLst>
                <a:gd name="connsiteX0" fmla="*/ 238348 w 345969"/>
                <a:gd name="connsiteY0" fmla="*/ 0 h 506597"/>
                <a:gd name="connsiteX1" fmla="*/ 238348 w 345969"/>
                <a:gd name="connsiteY1" fmla="*/ 0 h 506597"/>
                <a:gd name="connsiteX2" fmla="*/ 354989 w 345969"/>
                <a:gd name="connsiteY2" fmla="*/ 168042 h 506597"/>
                <a:gd name="connsiteX3" fmla="*/ 329536 w 345969"/>
                <a:gd name="connsiteY3" fmla="*/ 492635 h 506597"/>
                <a:gd name="connsiteX4" fmla="*/ 0 w 345969"/>
                <a:gd name="connsiteY4" fmla="*/ 506721 h 506597"/>
                <a:gd name="connsiteX5" fmla="*/ 52760 w 345969"/>
                <a:gd name="connsiteY5" fmla="*/ 120348 h 506597"/>
                <a:gd name="connsiteX6" fmla="*/ 157910 w 345969"/>
                <a:gd name="connsiteY6" fmla="*/ 247 h 506597"/>
                <a:gd name="connsiteX7" fmla="*/ 238348 w 345969"/>
                <a:gd name="connsiteY7" fmla="*/ 0 h 506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969" h="506597">
                  <a:moveTo>
                    <a:pt x="238348" y="0"/>
                  </a:moveTo>
                  <a:lnTo>
                    <a:pt x="238348" y="0"/>
                  </a:lnTo>
                  <a:cubicBezTo>
                    <a:pt x="304329" y="247"/>
                    <a:pt x="354989" y="94153"/>
                    <a:pt x="354989" y="168042"/>
                  </a:cubicBezTo>
                  <a:lnTo>
                    <a:pt x="329536" y="492635"/>
                  </a:lnTo>
                  <a:lnTo>
                    <a:pt x="0" y="506721"/>
                  </a:lnTo>
                  <a:lnTo>
                    <a:pt x="52760" y="120348"/>
                  </a:lnTo>
                  <a:cubicBezTo>
                    <a:pt x="60545" y="49671"/>
                    <a:pt x="104903" y="0"/>
                    <a:pt x="157910" y="247"/>
                  </a:cubicBezTo>
                  <a:lnTo>
                    <a:pt x="238348" y="0"/>
                  </a:lnTo>
                  <a:close/>
                </a:path>
              </a:pathLst>
            </a:custGeom>
            <a:solidFill>
              <a:srgbClr val="CB2980"/>
            </a:solidFill>
            <a:ln w="12353"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A50E8753-3BCC-4438-981D-ABD44A74CD22}"/>
                </a:ext>
              </a:extLst>
            </p:cNvPr>
            <p:cNvSpPr/>
            <p:nvPr/>
          </p:nvSpPr>
          <p:spPr>
            <a:xfrm>
              <a:off x="5732390" y="2617730"/>
              <a:ext cx="135916" cy="135916"/>
            </a:xfrm>
            <a:custGeom>
              <a:avLst/>
              <a:gdLst>
                <a:gd name="connsiteX0" fmla="*/ 22107 w 135916"/>
                <a:gd name="connsiteY0" fmla="*/ 119596 h 135916"/>
                <a:gd name="connsiteX1" fmla="*/ 119596 w 135916"/>
                <a:gd name="connsiteY1" fmla="*/ 115889 h 135916"/>
                <a:gd name="connsiteX2" fmla="*/ 115889 w 135916"/>
                <a:gd name="connsiteY2" fmla="*/ 18400 h 135916"/>
                <a:gd name="connsiteX3" fmla="*/ 18400 w 135916"/>
                <a:gd name="connsiteY3" fmla="*/ 22107 h 135916"/>
                <a:gd name="connsiteX4" fmla="*/ 22107 w 135916"/>
                <a:gd name="connsiteY4" fmla="*/ 119596 h 135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916" h="135916">
                  <a:moveTo>
                    <a:pt x="22107" y="119596"/>
                  </a:moveTo>
                  <a:cubicBezTo>
                    <a:pt x="50032" y="145544"/>
                    <a:pt x="93648" y="143814"/>
                    <a:pt x="119596" y="115889"/>
                  </a:cubicBezTo>
                  <a:cubicBezTo>
                    <a:pt x="145544" y="87965"/>
                    <a:pt x="143814" y="44224"/>
                    <a:pt x="115889" y="18400"/>
                  </a:cubicBezTo>
                  <a:cubicBezTo>
                    <a:pt x="87965" y="-7548"/>
                    <a:pt x="44348" y="-5818"/>
                    <a:pt x="18400" y="22107"/>
                  </a:cubicBezTo>
                  <a:cubicBezTo>
                    <a:pt x="-7548" y="50032"/>
                    <a:pt x="-5818" y="93648"/>
                    <a:pt x="22107" y="119596"/>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1E0F731F-7396-4643-AE4B-4F13C754F790}"/>
                </a:ext>
              </a:extLst>
            </p:cNvPr>
            <p:cNvSpPr/>
            <p:nvPr/>
          </p:nvSpPr>
          <p:spPr>
            <a:xfrm>
              <a:off x="5107411" y="2646385"/>
              <a:ext cx="716650" cy="284189"/>
            </a:xfrm>
            <a:custGeom>
              <a:avLst/>
              <a:gdLst>
                <a:gd name="connsiteX0" fmla="*/ 341027 w 716650"/>
                <a:gd name="connsiteY0" fmla="*/ 286413 h 284188"/>
                <a:gd name="connsiteX1" fmla="*/ 320639 w 716650"/>
                <a:gd name="connsiteY1" fmla="*/ 282212 h 284188"/>
                <a:gd name="connsiteX2" fmla="*/ 0 w 716650"/>
                <a:gd name="connsiteY2" fmla="*/ 141971 h 284188"/>
                <a:gd name="connsiteX3" fmla="*/ 40651 w 716650"/>
                <a:gd name="connsiteY3" fmla="*/ 48930 h 284188"/>
                <a:gd name="connsiteX4" fmla="*/ 344610 w 716650"/>
                <a:gd name="connsiteY4" fmla="*/ 181881 h 284188"/>
                <a:gd name="connsiteX5" fmla="*/ 689838 w 716650"/>
                <a:gd name="connsiteY5" fmla="*/ 0 h 284188"/>
                <a:gd name="connsiteX6" fmla="*/ 717392 w 716650"/>
                <a:gd name="connsiteY6" fmla="*/ 71789 h 284188"/>
                <a:gd name="connsiteX7" fmla="*/ 354618 w 716650"/>
                <a:gd name="connsiteY7" fmla="*/ 284436 h 284188"/>
                <a:gd name="connsiteX8" fmla="*/ 341027 w 716650"/>
                <a:gd name="connsiteY8" fmla="*/ 286413 h 28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650" h="284188">
                  <a:moveTo>
                    <a:pt x="341027" y="286413"/>
                  </a:moveTo>
                  <a:cubicBezTo>
                    <a:pt x="334107" y="286413"/>
                    <a:pt x="327188" y="284930"/>
                    <a:pt x="320639" y="282212"/>
                  </a:cubicBezTo>
                  <a:lnTo>
                    <a:pt x="0" y="141971"/>
                  </a:lnTo>
                  <a:lnTo>
                    <a:pt x="40651" y="48930"/>
                  </a:lnTo>
                  <a:lnTo>
                    <a:pt x="344610" y="181881"/>
                  </a:lnTo>
                  <a:lnTo>
                    <a:pt x="689838" y="0"/>
                  </a:lnTo>
                  <a:lnTo>
                    <a:pt x="717392" y="71789"/>
                  </a:lnTo>
                  <a:lnTo>
                    <a:pt x="354618" y="284436"/>
                  </a:lnTo>
                  <a:cubicBezTo>
                    <a:pt x="350170" y="285795"/>
                    <a:pt x="345599" y="286413"/>
                    <a:pt x="341027" y="286413"/>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D95E08A4-A7B4-48DE-BCD2-441294A45C7E}"/>
                </a:ext>
              </a:extLst>
            </p:cNvPr>
            <p:cNvSpPr/>
            <p:nvPr/>
          </p:nvSpPr>
          <p:spPr>
            <a:xfrm>
              <a:off x="5073212" y="2672341"/>
              <a:ext cx="234765" cy="222409"/>
            </a:xfrm>
            <a:custGeom>
              <a:avLst/>
              <a:gdLst>
                <a:gd name="connsiteX0" fmla="*/ 246723 w 234764"/>
                <a:gd name="connsiteY0" fmla="*/ 83395 h 222408"/>
                <a:gd name="connsiteX1" fmla="*/ 180741 w 234764"/>
                <a:gd name="connsiteY1" fmla="*/ 222524 h 222408"/>
                <a:gd name="connsiteX2" fmla="*/ 39512 w 234764"/>
                <a:gd name="connsiteY2" fmla="*/ 143940 h 222408"/>
                <a:gd name="connsiteX3" fmla="*/ 10969 w 234764"/>
                <a:gd name="connsiteY3" fmla="*/ 37307 h 222408"/>
                <a:gd name="connsiteX4" fmla="*/ 102528 w 234764"/>
                <a:gd name="connsiteY4" fmla="*/ 4440 h 222408"/>
                <a:gd name="connsiteX5" fmla="*/ 246723 w 234764"/>
                <a:gd name="connsiteY5" fmla="*/ 83395 h 2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764" h="222408">
                  <a:moveTo>
                    <a:pt x="246723" y="83395"/>
                  </a:moveTo>
                  <a:lnTo>
                    <a:pt x="180741" y="222524"/>
                  </a:lnTo>
                  <a:lnTo>
                    <a:pt x="39512" y="143940"/>
                  </a:lnTo>
                  <a:cubicBezTo>
                    <a:pt x="1579" y="122811"/>
                    <a:pt x="-11395" y="74499"/>
                    <a:pt x="10969" y="37307"/>
                  </a:cubicBezTo>
                  <a:cubicBezTo>
                    <a:pt x="29751" y="5923"/>
                    <a:pt x="68054" y="-7792"/>
                    <a:pt x="102528" y="4440"/>
                  </a:cubicBezTo>
                  <a:lnTo>
                    <a:pt x="246723" y="83395"/>
                  </a:lnTo>
                  <a:close/>
                </a:path>
              </a:pathLst>
            </a:custGeom>
            <a:solidFill>
              <a:srgbClr val="860864"/>
            </a:solidFill>
            <a:ln w="12353"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7114769B-9254-4B26-B46A-DB1B3BA586CF}"/>
                </a:ext>
              </a:extLst>
            </p:cNvPr>
            <p:cNvSpPr/>
            <p:nvPr/>
          </p:nvSpPr>
          <p:spPr>
            <a:xfrm>
              <a:off x="5100615" y="2807755"/>
              <a:ext cx="160629" cy="135916"/>
            </a:xfrm>
            <a:custGeom>
              <a:avLst/>
              <a:gdLst>
                <a:gd name="connsiteX0" fmla="*/ 164953 w 160628"/>
                <a:gd name="connsiteY0" fmla="*/ 62645 h 135916"/>
                <a:gd name="connsiteX1" fmla="*/ 158775 w 160628"/>
                <a:gd name="connsiteY1" fmla="*/ 141229 h 135916"/>
                <a:gd name="connsiteX2" fmla="*/ 0 w 160628"/>
                <a:gd name="connsiteY2" fmla="*/ 0 h 135916"/>
                <a:gd name="connsiteX3" fmla="*/ 153339 w 160628"/>
                <a:gd name="connsiteY3" fmla="*/ 86986 h 135916"/>
              </a:gdLst>
              <a:ahLst/>
              <a:cxnLst>
                <a:cxn ang="0">
                  <a:pos x="connsiteX0" y="connsiteY0"/>
                </a:cxn>
                <a:cxn ang="0">
                  <a:pos x="connsiteX1" y="connsiteY1"/>
                </a:cxn>
                <a:cxn ang="0">
                  <a:pos x="connsiteX2" y="connsiteY2"/>
                </a:cxn>
                <a:cxn ang="0">
                  <a:pos x="connsiteX3" y="connsiteY3"/>
                </a:cxn>
              </a:cxnLst>
              <a:rect l="l" t="t" r="r" b="b"/>
              <a:pathLst>
                <a:path w="160628" h="135916">
                  <a:moveTo>
                    <a:pt x="164953" y="62645"/>
                  </a:moveTo>
                  <a:lnTo>
                    <a:pt x="158775" y="141229"/>
                  </a:lnTo>
                  <a:lnTo>
                    <a:pt x="0" y="0"/>
                  </a:lnTo>
                  <a:lnTo>
                    <a:pt x="153339" y="86986"/>
                  </a:lnTo>
                  <a:close/>
                </a:path>
              </a:pathLst>
            </a:custGeom>
            <a:solidFill>
              <a:srgbClr val="4701A7"/>
            </a:solidFill>
            <a:ln w="12353"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D6D8B7FA-A8DF-4F49-A43F-220E3B68AC05}"/>
                </a:ext>
              </a:extLst>
            </p:cNvPr>
            <p:cNvSpPr/>
            <p:nvPr/>
          </p:nvSpPr>
          <p:spPr>
            <a:xfrm>
              <a:off x="7811475" y="4835352"/>
              <a:ext cx="261816" cy="124674"/>
            </a:xfrm>
            <a:custGeom>
              <a:avLst/>
              <a:gdLst>
                <a:gd name="connsiteX0" fmla="*/ 172923 w 261816"/>
                <a:gd name="connsiteY0" fmla="*/ 0 h 124674"/>
                <a:gd name="connsiteX1" fmla="*/ 265432 w 261816"/>
                <a:gd name="connsiteY1" fmla="*/ 2618 h 124674"/>
                <a:gd name="connsiteX2" fmla="*/ 263063 w 261816"/>
                <a:gd name="connsiteY2" fmla="*/ 135272 h 124674"/>
                <a:gd name="connsiteX3" fmla="*/ 0 w 261816"/>
                <a:gd name="connsiteY3" fmla="*/ 127667 h 124674"/>
                <a:gd name="connsiteX4" fmla="*/ 37652 w 261816"/>
                <a:gd name="connsiteY4" fmla="*/ 86773 h 124674"/>
                <a:gd name="connsiteX5" fmla="*/ 169059 w 261816"/>
                <a:gd name="connsiteY5" fmla="*/ 59470 h 124674"/>
                <a:gd name="connsiteX6" fmla="*/ 172923 w 261816"/>
                <a:gd name="connsiteY6" fmla="*/ 0 h 12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816" h="124674">
                  <a:moveTo>
                    <a:pt x="172923" y="0"/>
                  </a:moveTo>
                  <a:lnTo>
                    <a:pt x="265432" y="2618"/>
                  </a:lnTo>
                  <a:lnTo>
                    <a:pt x="263063" y="135272"/>
                  </a:lnTo>
                  <a:lnTo>
                    <a:pt x="0" y="127667"/>
                  </a:lnTo>
                  <a:cubicBezTo>
                    <a:pt x="2618" y="106971"/>
                    <a:pt x="17205" y="91012"/>
                    <a:pt x="37652" y="86773"/>
                  </a:cubicBezTo>
                  <a:lnTo>
                    <a:pt x="169059" y="59470"/>
                  </a:lnTo>
                  <a:lnTo>
                    <a:pt x="172923" y="0"/>
                  </a:lnTo>
                  <a:close/>
                </a:path>
              </a:pathLst>
            </a:custGeom>
            <a:solidFill>
              <a:schemeClr val="accent5"/>
            </a:solidFill>
            <a:ln w="12431"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2468A7FC-653A-42AC-A4EE-9A2C7A94F218}"/>
                </a:ext>
              </a:extLst>
            </p:cNvPr>
            <p:cNvSpPr/>
            <p:nvPr/>
          </p:nvSpPr>
          <p:spPr>
            <a:xfrm>
              <a:off x="8275887" y="4847445"/>
              <a:ext cx="236881" cy="124674"/>
            </a:xfrm>
            <a:custGeom>
              <a:avLst/>
              <a:gdLst>
                <a:gd name="connsiteX0" fmla="*/ 147490 w 236881"/>
                <a:gd name="connsiteY0" fmla="*/ 8478 h 124674"/>
                <a:gd name="connsiteX1" fmla="*/ 235261 w 236881"/>
                <a:gd name="connsiteY1" fmla="*/ 0 h 124674"/>
                <a:gd name="connsiteX2" fmla="*/ 248850 w 236881"/>
                <a:gd name="connsiteY2" fmla="*/ 125672 h 124674"/>
                <a:gd name="connsiteX3" fmla="*/ 0 w 236881"/>
                <a:gd name="connsiteY3" fmla="*/ 129287 h 124674"/>
                <a:gd name="connsiteX4" fmla="*/ 30795 w 236881"/>
                <a:gd name="connsiteY4" fmla="*/ 86150 h 124674"/>
                <a:gd name="connsiteX5" fmla="*/ 150981 w 236881"/>
                <a:gd name="connsiteY5" fmla="*/ 65205 h 124674"/>
                <a:gd name="connsiteX6" fmla="*/ 147490 w 236881"/>
                <a:gd name="connsiteY6" fmla="*/ 8478 h 12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881" h="124674">
                  <a:moveTo>
                    <a:pt x="147490" y="8478"/>
                  </a:moveTo>
                  <a:lnTo>
                    <a:pt x="235261" y="0"/>
                  </a:lnTo>
                  <a:lnTo>
                    <a:pt x="248850" y="125672"/>
                  </a:lnTo>
                  <a:lnTo>
                    <a:pt x="0" y="129287"/>
                  </a:lnTo>
                  <a:cubicBezTo>
                    <a:pt x="0" y="109339"/>
                    <a:pt x="11844" y="92633"/>
                    <a:pt x="30795" y="86150"/>
                  </a:cubicBezTo>
                  <a:lnTo>
                    <a:pt x="150981" y="65205"/>
                  </a:lnTo>
                  <a:lnTo>
                    <a:pt x="147490" y="8478"/>
                  </a:lnTo>
                  <a:close/>
                </a:path>
              </a:pathLst>
            </a:custGeom>
            <a:solidFill>
              <a:schemeClr val="accent5"/>
            </a:solidFill>
            <a:ln w="12431"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23BF14CA-89E4-450E-9C24-4394251E038F}"/>
                </a:ext>
              </a:extLst>
            </p:cNvPr>
            <p:cNvSpPr/>
            <p:nvPr/>
          </p:nvSpPr>
          <p:spPr>
            <a:xfrm>
              <a:off x="7947111" y="4776336"/>
              <a:ext cx="162077" cy="62337"/>
            </a:xfrm>
            <a:custGeom>
              <a:avLst/>
              <a:gdLst>
                <a:gd name="connsiteX0" fmla="*/ 0 w 162076"/>
                <a:gd name="connsiteY0" fmla="*/ 59309 h 62337"/>
                <a:gd name="connsiteX1" fmla="*/ 2101 w 162076"/>
                <a:gd name="connsiteY1" fmla="*/ 0 h 62337"/>
                <a:gd name="connsiteX2" fmla="*/ 172055 w 162076"/>
                <a:gd name="connsiteY2" fmla="*/ 6020 h 62337"/>
                <a:gd name="connsiteX3" fmla="*/ 169954 w 162076"/>
                <a:gd name="connsiteY3" fmla="*/ 65329 h 62337"/>
              </a:gdLst>
              <a:ahLst/>
              <a:cxnLst>
                <a:cxn ang="0">
                  <a:pos x="connsiteX0" y="connsiteY0"/>
                </a:cxn>
                <a:cxn ang="0">
                  <a:pos x="connsiteX1" y="connsiteY1"/>
                </a:cxn>
                <a:cxn ang="0">
                  <a:pos x="connsiteX2" y="connsiteY2"/>
                </a:cxn>
                <a:cxn ang="0">
                  <a:pos x="connsiteX3" y="connsiteY3"/>
                </a:cxn>
              </a:cxnLst>
              <a:rect l="l" t="t" r="r" b="b"/>
              <a:pathLst>
                <a:path w="162076" h="62337">
                  <a:moveTo>
                    <a:pt x="0" y="59309"/>
                  </a:moveTo>
                  <a:lnTo>
                    <a:pt x="2101" y="0"/>
                  </a:lnTo>
                  <a:lnTo>
                    <a:pt x="172055" y="6020"/>
                  </a:lnTo>
                  <a:lnTo>
                    <a:pt x="169954" y="65329"/>
                  </a:lnTo>
                  <a:close/>
                </a:path>
              </a:pathLst>
            </a:custGeom>
            <a:solidFill>
              <a:schemeClr val="accent3">
                <a:lumMod val="75000"/>
                <a:lumOff val="25000"/>
              </a:schemeClr>
            </a:solidFill>
            <a:ln w="12431"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AE60E147-E4E5-4025-85CF-FAB558D6F7E7}"/>
                </a:ext>
              </a:extLst>
            </p:cNvPr>
            <p:cNvSpPr/>
            <p:nvPr/>
          </p:nvSpPr>
          <p:spPr>
            <a:xfrm>
              <a:off x="8370640" y="4788599"/>
              <a:ext cx="174544" cy="62337"/>
            </a:xfrm>
            <a:custGeom>
              <a:avLst/>
              <a:gdLst>
                <a:gd name="connsiteX0" fmla="*/ 0 w 174544"/>
                <a:gd name="connsiteY0" fmla="*/ 10223 h 62337"/>
                <a:gd name="connsiteX1" fmla="*/ 173048 w 174544"/>
                <a:gd name="connsiteY1" fmla="*/ 0 h 62337"/>
                <a:gd name="connsiteX2" fmla="*/ 182399 w 174544"/>
                <a:gd name="connsiteY2" fmla="*/ 58597 h 62337"/>
                <a:gd name="connsiteX3" fmla="*/ 9351 w 174544"/>
                <a:gd name="connsiteY3" fmla="*/ 68820 h 62337"/>
              </a:gdLst>
              <a:ahLst/>
              <a:cxnLst>
                <a:cxn ang="0">
                  <a:pos x="connsiteX0" y="connsiteY0"/>
                </a:cxn>
                <a:cxn ang="0">
                  <a:pos x="connsiteX1" y="connsiteY1"/>
                </a:cxn>
                <a:cxn ang="0">
                  <a:pos x="connsiteX2" y="connsiteY2"/>
                </a:cxn>
                <a:cxn ang="0">
                  <a:pos x="connsiteX3" y="connsiteY3"/>
                </a:cxn>
              </a:cxnLst>
              <a:rect l="l" t="t" r="r" b="b"/>
              <a:pathLst>
                <a:path w="174544" h="62337">
                  <a:moveTo>
                    <a:pt x="0" y="10223"/>
                  </a:moveTo>
                  <a:lnTo>
                    <a:pt x="173048" y="0"/>
                  </a:lnTo>
                  <a:lnTo>
                    <a:pt x="182399" y="58597"/>
                  </a:lnTo>
                  <a:lnTo>
                    <a:pt x="9351" y="68820"/>
                  </a:lnTo>
                  <a:close/>
                </a:path>
              </a:pathLst>
            </a:custGeom>
            <a:solidFill>
              <a:schemeClr val="accent3">
                <a:lumMod val="75000"/>
                <a:lumOff val="25000"/>
              </a:schemeClr>
            </a:solidFill>
            <a:ln w="12431" cap="flat">
              <a:noFill/>
              <a:prstDash val="solid"/>
              <a:miter/>
            </a:ln>
          </p:spPr>
          <p:txBody>
            <a:bodyPr rtlCol="0" anchor="ctr"/>
            <a:lstStyle/>
            <a:p>
              <a:endParaRPr lang="en-US"/>
            </a:p>
          </p:txBody>
        </p:sp>
      </p:grpSp>
      <p:sp>
        <p:nvSpPr>
          <p:cNvPr id="79" name="Retângulo 43">
            <a:extLst>
              <a:ext uri="{FF2B5EF4-FFF2-40B4-BE49-F238E27FC236}">
                <a16:creationId xmlns:a16="http://schemas.microsoft.com/office/drawing/2014/main" id="{4F0B473C-73E4-0542-BA56-9B82AC1AF1DA}"/>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grpSp>
        <p:nvGrpSpPr>
          <p:cNvPr id="80" name="Group 79">
            <a:extLst>
              <a:ext uri="{FF2B5EF4-FFF2-40B4-BE49-F238E27FC236}">
                <a16:creationId xmlns:a16="http://schemas.microsoft.com/office/drawing/2014/main" id="{C2477904-E97D-D548-A7ED-D8C25FE98C0B}"/>
              </a:ext>
            </a:extLst>
          </p:cNvPr>
          <p:cNvGrpSpPr/>
          <p:nvPr userDrawn="1"/>
        </p:nvGrpSpPr>
        <p:grpSpPr>
          <a:xfrm>
            <a:off x="-411672" y="2161948"/>
            <a:ext cx="5634022" cy="4748138"/>
            <a:chOff x="4267265" y="983864"/>
            <a:chExt cx="4732364" cy="3988255"/>
          </a:xfrm>
        </p:grpSpPr>
        <p:sp>
          <p:nvSpPr>
            <p:cNvPr id="81" name="Freeform: Shape 12">
              <a:extLst>
                <a:ext uri="{FF2B5EF4-FFF2-40B4-BE49-F238E27FC236}">
                  <a16:creationId xmlns:a16="http://schemas.microsoft.com/office/drawing/2014/main" id="{F8E99825-39F6-3042-A3FC-AAF832D09968}"/>
                </a:ext>
              </a:extLst>
            </p:cNvPr>
            <p:cNvSpPr/>
            <p:nvPr/>
          </p:nvSpPr>
          <p:spPr>
            <a:xfrm>
              <a:off x="4267265" y="2266723"/>
              <a:ext cx="4732364" cy="2668905"/>
            </a:xfrm>
            <a:custGeom>
              <a:avLst/>
              <a:gdLst>
                <a:gd name="connsiteX0" fmla="*/ 781578 w 4732363"/>
                <a:gd name="connsiteY0" fmla="*/ 2675662 h 2668904"/>
                <a:gd name="connsiteX1" fmla="*/ 166865 w 4732363"/>
                <a:gd name="connsiteY1" fmla="*/ 1183299 h 2668904"/>
                <a:gd name="connsiteX2" fmla="*/ 2582842 w 4732363"/>
                <a:gd name="connsiteY2" fmla="*/ 735640 h 2668904"/>
                <a:gd name="connsiteX3" fmla="*/ 4485796 w 4732363"/>
                <a:gd name="connsiteY3" fmla="*/ 139585 h 2668904"/>
                <a:gd name="connsiteX4" fmla="*/ 4538062 w 4732363"/>
                <a:gd name="connsiteY4" fmla="*/ 1673217 h 2668904"/>
                <a:gd name="connsiteX5" fmla="*/ 4671384 w 4732363"/>
                <a:gd name="connsiteY5" fmla="*/ 2675538 h 2668904"/>
                <a:gd name="connsiteX6" fmla="*/ 781578 w 4732363"/>
                <a:gd name="connsiteY6" fmla="*/ 2675538 h 266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32363" h="2668904">
                  <a:moveTo>
                    <a:pt x="781578" y="2675662"/>
                  </a:moveTo>
                  <a:cubicBezTo>
                    <a:pt x="781578" y="2675662"/>
                    <a:pt x="-434133" y="1805302"/>
                    <a:pt x="166865" y="1183299"/>
                  </a:cubicBezTo>
                  <a:cubicBezTo>
                    <a:pt x="767863" y="561296"/>
                    <a:pt x="2207465" y="962868"/>
                    <a:pt x="2582842" y="735640"/>
                  </a:cubicBezTo>
                  <a:cubicBezTo>
                    <a:pt x="2958218" y="508413"/>
                    <a:pt x="3793734" y="-327474"/>
                    <a:pt x="4485796" y="139585"/>
                  </a:cubicBezTo>
                  <a:cubicBezTo>
                    <a:pt x="5117313" y="565745"/>
                    <a:pt x="4318866" y="1250640"/>
                    <a:pt x="4538062" y="1673217"/>
                  </a:cubicBezTo>
                  <a:cubicBezTo>
                    <a:pt x="4776781" y="2133479"/>
                    <a:pt x="4786913" y="2325863"/>
                    <a:pt x="4671384" y="2675538"/>
                  </a:cubicBezTo>
                  <a:lnTo>
                    <a:pt x="781578" y="2675538"/>
                  </a:lnTo>
                  <a:close/>
                </a:path>
              </a:pathLst>
            </a:custGeom>
            <a:solidFill>
              <a:srgbClr val="88D5ED"/>
            </a:solidFill>
            <a:ln w="12353" cap="flat">
              <a:noFill/>
              <a:prstDash val="solid"/>
              <a:miter/>
            </a:ln>
          </p:spPr>
          <p:txBody>
            <a:bodyPr rtlCol="0" anchor="ctr"/>
            <a:lstStyle/>
            <a:p>
              <a:endParaRPr lang="en-US"/>
            </a:p>
          </p:txBody>
        </p:sp>
        <p:sp>
          <p:nvSpPr>
            <p:cNvPr id="82" name="Freeform: Shape 13">
              <a:extLst>
                <a:ext uri="{FF2B5EF4-FFF2-40B4-BE49-F238E27FC236}">
                  <a16:creationId xmlns:a16="http://schemas.microsoft.com/office/drawing/2014/main" id="{EAD9FBA5-8A20-FE42-8079-0DC788B47393}"/>
                </a:ext>
              </a:extLst>
            </p:cNvPr>
            <p:cNvSpPr/>
            <p:nvPr/>
          </p:nvSpPr>
          <p:spPr>
            <a:xfrm>
              <a:off x="7479411" y="3384175"/>
              <a:ext cx="111204" cy="111204"/>
            </a:xfrm>
            <a:custGeom>
              <a:avLst/>
              <a:gdLst>
                <a:gd name="connsiteX0" fmla="*/ 120337 w 111204"/>
                <a:gd name="connsiteY0" fmla="*/ 72890 h 111204"/>
                <a:gd name="connsiteX1" fmla="*/ 48672 w 111204"/>
                <a:gd name="connsiteY1" fmla="*/ 120337 h 111204"/>
                <a:gd name="connsiteX2" fmla="*/ 1225 w 111204"/>
                <a:gd name="connsiteY2" fmla="*/ 48672 h 111204"/>
                <a:gd name="connsiteX3" fmla="*/ 72890 w 111204"/>
                <a:gd name="connsiteY3" fmla="*/ 1225 h 111204"/>
                <a:gd name="connsiteX4" fmla="*/ 120337 w 111204"/>
                <a:gd name="connsiteY4" fmla="*/ 72890 h 111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04" h="111204">
                  <a:moveTo>
                    <a:pt x="120337" y="72890"/>
                  </a:moveTo>
                  <a:cubicBezTo>
                    <a:pt x="113665" y="105757"/>
                    <a:pt x="81539" y="127009"/>
                    <a:pt x="48672" y="120337"/>
                  </a:cubicBezTo>
                  <a:cubicBezTo>
                    <a:pt x="15805" y="113665"/>
                    <a:pt x="-5447" y="81539"/>
                    <a:pt x="1225" y="48672"/>
                  </a:cubicBezTo>
                  <a:cubicBezTo>
                    <a:pt x="7897" y="15805"/>
                    <a:pt x="40023" y="-5447"/>
                    <a:pt x="72890" y="1225"/>
                  </a:cubicBezTo>
                  <a:cubicBezTo>
                    <a:pt x="105757" y="7897"/>
                    <a:pt x="127010" y="40023"/>
                    <a:pt x="120337" y="72890"/>
                  </a:cubicBezTo>
                </a:path>
              </a:pathLst>
            </a:custGeom>
            <a:solidFill>
              <a:srgbClr val="FDAC70"/>
            </a:solidFill>
            <a:ln w="12353" cap="flat">
              <a:noFill/>
              <a:prstDash val="solid"/>
              <a:miter/>
            </a:ln>
          </p:spPr>
          <p:txBody>
            <a:bodyPr rtlCol="0" anchor="ctr"/>
            <a:lstStyle/>
            <a:p>
              <a:endParaRPr lang="en-US"/>
            </a:p>
          </p:txBody>
        </p:sp>
        <p:sp>
          <p:nvSpPr>
            <p:cNvPr id="83" name="Freeform: Shape 14">
              <a:extLst>
                <a:ext uri="{FF2B5EF4-FFF2-40B4-BE49-F238E27FC236}">
                  <a16:creationId xmlns:a16="http://schemas.microsoft.com/office/drawing/2014/main" id="{F3B90563-8B1D-CF41-B0D4-FACEAF56B679}"/>
                </a:ext>
              </a:extLst>
            </p:cNvPr>
            <p:cNvSpPr/>
            <p:nvPr/>
          </p:nvSpPr>
          <p:spPr>
            <a:xfrm>
              <a:off x="7545915" y="3422631"/>
              <a:ext cx="111204" cy="61780"/>
            </a:xfrm>
            <a:custGeom>
              <a:avLst/>
              <a:gdLst>
                <a:gd name="connsiteX0" fmla="*/ 85958 w 111204"/>
                <a:gd name="connsiteY0" fmla="*/ 71996 h 61780"/>
                <a:gd name="connsiteX1" fmla="*/ 24054 w 111204"/>
                <a:gd name="connsiteY1" fmla="*/ 59393 h 61780"/>
                <a:gd name="connsiteX2" fmla="*/ 578 w 111204"/>
                <a:gd name="connsiteY2" fmla="*/ 24055 h 61780"/>
                <a:gd name="connsiteX3" fmla="*/ 35916 w 111204"/>
                <a:gd name="connsiteY3" fmla="*/ 578 h 61780"/>
                <a:gd name="connsiteX4" fmla="*/ 97820 w 111204"/>
                <a:gd name="connsiteY4" fmla="*/ 13181 h 61780"/>
                <a:gd name="connsiteX5" fmla="*/ 121173 w 111204"/>
                <a:gd name="connsiteY5" fmla="*/ 48519 h 61780"/>
                <a:gd name="connsiteX6" fmla="*/ 85958 w 111204"/>
                <a:gd name="connsiteY6" fmla="*/ 71996 h 6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204" h="61780">
                  <a:moveTo>
                    <a:pt x="85958" y="71996"/>
                  </a:moveTo>
                  <a:lnTo>
                    <a:pt x="24054" y="59393"/>
                  </a:lnTo>
                  <a:cubicBezTo>
                    <a:pt x="7868" y="56057"/>
                    <a:pt x="-2634" y="40117"/>
                    <a:pt x="578" y="24055"/>
                  </a:cubicBezTo>
                  <a:cubicBezTo>
                    <a:pt x="3914" y="7868"/>
                    <a:pt x="19853" y="-2635"/>
                    <a:pt x="35916" y="578"/>
                  </a:cubicBezTo>
                  <a:lnTo>
                    <a:pt x="97820" y="13181"/>
                  </a:lnTo>
                  <a:cubicBezTo>
                    <a:pt x="114006" y="16517"/>
                    <a:pt x="124509" y="32457"/>
                    <a:pt x="121173" y="48519"/>
                  </a:cubicBezTo>
                  <a:cubicBezTo>
                    <a:pt x="117960" y="64706"/>
                    <a:pt x="102145" y="75209"/>
                    <a:pt x="85958" y="71996"/>
                  </a:cubicBezTo>
                </a:path>
              </a:pathLst>
            </a:custGeom>
            <a:solidFill>
              <a:srgbClr val="FDAC70"/>
            </a:solidFill>
            <a:ln w="12353" cap="flat">
              <a:noFill/>
              <a:prstDash val="solid"/>
              <a:miter/>
            </a:ln>
          </p:spPr>
          <p:txBody>
            <a:bodyPr rtlCol="0" anchor="ctr"/>
            <a:lstStyle/>
            <a:p>
              <a:endParaRPr lang="en-US"/>
            </a:p>
          </p:txBody>
        </p:sp>
        <p:sp>
          <p:nvSpPr>
            <p:cNvPr id="84" name="Freeform: Shape 15">
              <a:extLst>
                <a:ext uri="{FF2B5EF4-FFF2-40B4-BE49-F238E27FC236}">
                  <a16:creationId xmlns:a16="http://schemas.microsoft.com/office/drawing/2014/main" id="{C8AF1462-1517-0244-B064-739C3521D2C2}"/>
                </a:ext>
              </a:extLst>
            </p:cNvPr>
            <p:cNvSpPr/>
            <p:nvPr/>
          </p:nvSpPr>
          <p:spPr>
            <a:xfrm>
              <a:off x="7592334" y="3269006"/>
              <a:ext cx="593090" cy="296545"/>
            </a:xfrm>
            <a:custGeom>
              <a:avLst/>
              <a:gdLst>
                <a:gd name="connsiteX0" fmla="*/ 344487 w 593090"/>
                <a:gd name="connsiteY0" fmla="*/ 306677 h 296544"/>
                <a:gd name="connsiteX1" fmla="*/ 340039 w 593090"/>
                <a:gd name="connsiteY1" fmla="*/ 306059 h 296544"/>
                <a:gd name="connsiteX2" fmla="*/ 0 w 593090"/>
                <a:gd name="connsiteY2" fmla="*/ 243908 h 296544"/>
                <a:gd name="connsiteX3" fmla="*/ 20264 w 593090"/>
                <a:gd name="connsiteY3" fmla="*/ 132827 h 296544"/>
                <a:gd name="connsiteX4" fmla="*/ 324840 w 593090"/>
                <a:gd name="connsiteY4" fmla="*/ 188430 h 296544"/>
                <a:gd name="connsiteX5" fmla="*/ 479291 w 593090"/>
                <a:gd name="connsiteY5" fmla="*/ 0 h 296544"/>
                <a:gd name="connsiteX6" fmla="*/ 592719 w 593090"/>
                <a:gd name="connsiteY6" fmla="*/ 7661 h 296544"/>
                <a:gd name="connsiteX7" fmla="*/ 396135 w 593090"/>
                <a:gd name="connsiteY7" fmla="*/ 283200 h 296544"/>
                <a:gd name="connsiteX8" fmla="*/ 344487 w 593090"/>
                <a:gd name="connsiteY8" fmla="*/ 306677 h 29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3090" h="296544">
                  <a:moveTo>
                    <a:pt x="344487" y="306677"/>
                  </a:moveTo>
                  <a:cubicBezTo>
                    <a:pt x="343004" y="306553"/>
                    <a:pt x="341521" y="306306"/>
                    <a:pt x="340039" y="306059"/>
                  </a:cubicBezTo>
                  <a:lnTo>
                    <a:pt x="0" y="243908"/>
                  </a:lnTo>
                  <a:lnTo>
                    <a:pt x="20264" y="132827"/>
                  </a:lnTo>
                  <a:lnTo>
                    <a:pt x="324840" y="188430"/>
                  </a:lnTo>
                  <a:cubicBezTo>
                    <a:pt x="388721" y="97983"/>
                    <a:pt x="479291" y="0"/>
                    <a:pt x="479291" y="0"/>
                  </a:cubicBezTo>
                  <a:lnTo>
                    <a:pt x="592719" y="7661"/>
                  </a:lnTo>
                  <a:cubicBezTo>
                    <a:pt x="596673" y="35091"/>
                    <a:pt x="572950" y="34473"/>
                    <a:pt x="396135" y="283200"/>
                  </a:cubicBezTo>
                  <a:cubicBezTo>
                    <a:pt x="384397" y="299881"/>
                    <a:pt x="364627" y="308777"/>
                    <a:pt x="344487" y="306677"/>
                  </a:cubicBezTo>
                </a:path>
              </a:pathLst>
            </a:custGeom>
            <a:solidFill>
              <a:schemeClr val="accent1"/>
            </a:solidFill>
            <a:ln w="12353" cap="flat">
              <a:noFill/>
              <a:prstDash val="solid"/>
              <a:miter/>
            </a:ln>
          </p:spPr>
          <p:txBody>
            <a:bodyPr rtlCol="0" anchor="ctr"/>
            <a:lstStyle/>
            <a:p>
              <a:endParaRPr lang="en-US"/>
            </a:p>
          </p:txBody>
        </p:sp>
        <p:sp>
          <p:nvSpPr>
            <p:cNvPr id="85" name="Freeform: Shape 16">
              <a:extLst>
                <a:ext uri="{FF2B5EF4-FFF2-40B4-BE49-F238E27FC236}">
                  <a16:creationId xmlns:a16="http://schemas.microsoft.com/office/drawing/2014/main" id="{22C41570-6C09-C242-A491-1911071A591E}"/>
                </a:ext>
              </a:extLst>
            </p:cNvPr>
            <p:cNvSpPr/>
            <p:nvPr/>
          </p:nvSpPr>
          <p:spPr>
            <a:xfrm>
              <a:off x="6374276" y="4218939"/>
              <a:ext cx="815499" cy="716650"/>
            </a:xfrm>
            <a:custGeom>
              <a:avLst/>
              <a:gdLst>
                <a:gd name="connsiteX0" fmla="*/ 407749 w 815498"/>
                <a:gd name="connsiteY0" fmla="*/ 725670 h 716650"/>
                <a:gd name="connsiteX1" fmla="*/ 407749 w 815498"/>
                <a:gd name="connsiteY1" fmla="*/ 725670 h 716650"/>
                <a:gd name="connsiteX2" fmla="*/ 0 w 815498"/>
                <a:gd name="connsiteY2" fmla="*/ 317921 h 716650"/>
                <a:gd name="connsiteX3" fmla="*/ 0 w 815498"/>
                <a:gd name="connsiteY3" fmla="*/ 0 h 716650"/>
                <a:gd name="connsiteX4" fmla="*/ 815499 w 815498"/>
                <a:gd name="connsiteY4" fmla="*/ 0 h 716650"/>
                <a:gd name="connsiteX5" fmla="*/ 815499 w 815498"/>
                <a:gd name="connsiteY5" fmla="*/ 317921 h 716650"/>
                <a:gd name="connsiteX6" fmla="*/ 407749 w 815498"/>
                <a:gd name="connsiteY6" fmla="*/ 725670 h 71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5498" h="716650">
                  <a:moveTo>
                    <a:pt x="407749" y="725670"/>
                  </a:moveTo>
                  <a:lnTo>
                    <a:pt x="407749" y="725670"/>
                  </a:lnTo>
                  <a:cubicBezTo>
                    <a:pt x="182499" y="725670"/>
                    <a:pt x="0" y="543171"/>
                    <a:pt x="0" y="317921"/>
                  </a:cubicBezTo>
                  <a:lnTo>
                    <a:pt x="0" y="0"/>
                  </a:lnTo>
                  <a:lnTo>
                    <a:pt x="815499" y="0"/>
                  </a:lnTo>
                  <a:lnTo>
                    <a:pt x="815499" y="317921"/>
                  </a:lnTo>
                  <a:cubicBezTo>
                    <a:pt x="815499" y="543171"/>
                    <a:pt x="633000" y="725670"/>
                    <a:pt x="407749" y="725670"/>
                  </a:cubicBezTo>
                </a:path>
              </a:pathLst>
            </a:custGeom>
            <a:solidFill>
              <a:srgbClr val="CB2980"/>
            </a:solidFill>
            <a:ln w="12353" cap="flat">
              <a:noFill/>
              <a:prstDash val="solid"/>
              <a:miter/>
            </a:ln>
          </p:spPr>
          <p:txBody>
            <a:bodyPr rtlCol="0" anchor="ctr"/>
            <a:lstStyle/>
            <a:p>
              <a:endParaRPr lang="en-US"/>
            </a:p>
          </p:txBody>
        </p:sp>
        <p:sp>
          <p:nvSpPr>
            <p:cNvPr id="86" name="Freeform: Shape 17">
              <a:extLst>
                <a:ext uri="{FF2B5EF4-FFF2-40B4-BE49-F238E27FC236}">
                  <a16:creationId xmlns:a16="http://schemas.microsoft.com/office/drawing/2014/main" id="{D7AF5A85-2834-7443-9E4C-656A31F14BC3}"/>
                </a:ext>
              </a:extLst>
            </p:cNvPr>
            <p:cNvSpPr/>
            <p:nvPr/>
          </p:nvSpPr>
          <p:spPr>
            <a:xfrm>
              <a:off x="6777330" y="2608576"/>
              <a:ext cx="1087332" cy="1668065"/>
            </a:xfrm>
            <a:custGeom>
              <a:avLst/>
              <a:gdLst>
                <a:gd name="connsiteX0" fmla="*/ 375500 w 1087331"/>
                <a:gd name="connsiteY0" fmla="*/ 382049 h 1668065"/>
                <a:gd name="connsiteX1" fmla="*/ 383902 w 1087331"/>
                <a:gd name="connsiteY1" fmla="*/ 287649 h 1668065"/>
                <a:gd name="connsiteX2" fmla="*/ 384026 w 1087331"/>
                <a:gd name="connsiteY2" fmla="*/ 287649 h 1668065"/>
                <a:gd name="connsiteX3" fmla="*/ 366480 w 1087331"/>
                <a:gd name="connsiteY3" fmla="*/ 204863 h 1668065"/>
                <a:gd name="connsiteX4" fmla="*/ 571343 w 1087331"/>
                <a:gd name="connsiteY4" fmla="*/ 0 h 1668065"/>
                <a:gd name="connsiteX5" fmla="*/ 776207 w 1087331"/>
                <a:gd name="connsiteY5" fmla="*/ 204863 h 1668065"/>
                <a:gd name="connsiteX6" fmla="*/ 758661 w 1087331"/>
                <a:gd name="connsiteY6" fmla="*/ 287649 h 1668065"/>
                <a:gd name="connsiteX7" fmla="*/ 758785 w 1087331"/>
                <a:gd name="connsiteY7" fmla="*/ 287649 h 1668065"/>
                <a:gd name="connsiteX8" fmla="*/ 767187 w 1087331"/>
                <a:gd name="connsiteY8" fmla="*/ 382049 h 1668065"/>
                <a:gd name="connsiteX9" fmla="*/ 1092398 w 1087331"/>
                <a:gd name="connsiteY9" fmla="*/ 382049 h 1668065"/>
                <a:gd name="connsiteX10" fmla="*/ 600133 w 1087331"/>
                <a:gd name="connsiteY10" fmla="*/ 1119457 h 1668065"/>
                <a:gd name="connsiteX11" fmla="*/ 410221 w 1087331"/>
                <a:gd name="connsiteY11" fmla="*/ 1586268 h 1668065"/>
                <a:gd name="connsiteX12" fmla="*/ 0 w 1087331"/>
                <a:gd name="connsiteY12" fmla="*/ 1678321 h 1668065"/>
                <a:gd name="connsiteX13" fmla="*/ 0 w 1087331"/>
                <a:gd name="connsiteY13" fmla="*/ 382049 h 1668065"/>
                <a:gd name="connsiteX14" fmla="*/ 375500 w 1087331"/>
                <a:gd name="connsiteY14" fmla="*/ 382049 h 1668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7331" h="1668065">
                  <a:moveTo>
                    <a:pt x="375500" y="382049"/>
                  </a:moveTo>
                  <a:cubicBezTo>
                    <a:pt x="417881" y="348317"/>
                    <a:pt x="383902" y="287649"/>
                    <a:pt x="383902" y="287649"/>
                  </a:cubicBezTo>
                  <a:lnTo>
                    <a:pt x="384026" y="287649"/>
                  </a:lnTo>
                  <a:cubicBezTo>
                    <a:pt x="372782" y="262319"/>
                    <a:pt x="366480" y="234394"/>
                    <a:pt x="366480" y="204863"/>
                  </a:cubicBezTo>
                  <a:cubicBezTo>
                    <a:pt x="366480" y="91805"/>
                    <a:pt x="458162" y="0"/>
                    <a:pt x="571343" y="0"/>
                  </a:cubicBezTo>
                  <a:cubicBezTo>
                    <a:pt x="684525" y="0"/>
                    <a:pt x="776207" y="91682"/>
                    <a:pt x="776207" y="204863"/>
                  </a:cubicBezTo>
                  <a:cubicBezTo>
                    <a:pt x="776207" y="234394"/>
                    <a:pt x="769905" y="262319"/>
                    <a:pt x="758661" y="287649"/>
                  </a:cubicBezTo>
                  <a:lnTo>
                    <a:pt x="758785" y="287649"/>
                  </a:lnTo>
                  <a:cubicBezTo>
                    <a:pt x="758785" y="287649"/>
                    <a:pt x="724929" y="348317"/>
                    <a:pt x="767187" y="382049"/>
                  </a:cubicBezTo>
                  <a:lnTo>
                    <a:pt x="1092398" y="382049"/>
                  </a:lnTo>
                  <a:cubicBezTo>
                    <a:pt x="1025675" y="718380"/>
                    <a:pt x="786215" y="915583"/>
                    <a:pt x="600133" y="1119457"/>
                  </a:cubicBezTo>
                  <a:cubicBezTo>
                    <a:pt x="394158" y="1344955"/>
                    <a:pt x="408120" y="1571441"/>
                    <a:pt x="410221" y="1586268"/>
                  </a:cubicBezTo>
                  <a:cubicBezTo>
                    <a:pt x="426160" y="1697473"/>
                    <a:pt x="0" y="1678321"/>
                    <a:pt x="0" y="1678321"/>
                  </a:cubicBezTo>
                  <a:lnTo>
                    <a:pt x="0" y="382049"/>
                  </a:lnTo>
                  <a:lnTo>
                    <a:pt x="375500" y="382049"/>
                  </a:lnTo>
                  <a:close/>
                </a:path>
              </a:pathLst>
            </a:custGeom>
            <a:solidFill>
              <a:schemeClr val="accent4"/>
            </a:solidFill>
            <a:ln w="12353" cap="flat">
              <a:noFill/>
              <a:prstDash val="solid"/>
              <a:miter/>
            </a:ln>
          </p:spPr>
          <p:txBody>
            <a:bodyPr rtlCol="0" anchor="ctr"/>
            <a:lstStyle/>
            <a:p>
              <a:endParaRPr lang="en-US"/>
            </a:p>
          </p:txBody>
        </p:sp>
        <p:sp>
          <p:nvSpPr>
            <p:cNvPr id="87" name="Freeform: Shape 18">
              <a:extLst>
                <a:ext uri="{FF2B5EF4-FFF2-40B4-BE49-F238E27FC236}">
                  <a16:creationId xmlns:a16="http://schemas.microsoft.com/office/drawing/2014/main" id="{08BFBF02-FF91-5E4A-8C63-10C5BCACB10D}"/>
                </a:ext>
              </a:extLst>
            </p:cNvPr>
            <p:cNvSpPr/>
            <p:nvPr/>
          </p:nvSpPr>
          <p:spPr>
            <a:xfrm>
              <a:off x="6409120" y="1692993"/>
              <a:ext cx="1470369" cy="1297384"/>
            </a:xfrm>
            <a:custGeom>
              <a:avLst/>
              <a:gdLst>
                <a:gd name="connsiteX0" fmla="*/ 204987 w 1470368"/>
                <a:gd name="connsiteY0" fmla="*/ 367345 h 1297384"/>
                <a:gd name="connsiteX1" fmla="*/ 287649 w 1470368"/>
                <a:gd name="connsiteY1" fmla="*/ 384891 h 1297384"/>
                <a:gd name="connsiteX2" fmla="*/ 287649 w 1470368"/>
                <a:gd name="connsiteY2" fmla="*/ 384767 h 1297384"/>
                <a:gd name="connsiteX3" fmla="*/ 367963 w 1470368"/>
                <a:gd name="connsiteY3" fmla="*/ 389092 h 1297384"/>
                <a:gd name="connsiteX4" fmla="*/ 367963 w 1470368"/>
                <a:gd name="connsiteY4" fmla="*/ 0 h 1297384"/>
                <a:gd name="connsiteX5" fmla="*/ 486704 w 1470368"/>
                <a:gd name="connsiteY5" fmla="*/ 10008 h 1297384"/>
                <a:gd name="connsiteX6" fmla="*/ 1462338 w 1470368"/>
                <a:gd name="connsiteY6" fmla="*/ 917189 h 1297384"/>
                <a:gd name="connsiteX7" fmla="*/ 1460361 w 1470368"/>
                <a:gd name="connsiteY7" fmla="*/ 1297755 h 1297384"/>
                <a:gd name="connsiteX8" fmla="*/ 1135150 w 1470368"/>
                <a:gd name="connsiteY8" fmla="*/ 1297755 h 1297384"/>
                <a:gd name="connsiteX9" fmla="*/ 1126748 w 1470368"/>
                <a:gd name="connsiteY9" fmla="*/ 1203355 h 1297384"/>
                <a:gd name="connsiteX10" fmla="*/ 1126624 w 1470368"/>
                <a:gd name="connsiteY10" fmla="*/ 1203355 h 1297384"/>
                <a:gd name="connsiteX11" fmla="*/ 1144170 w 1470368"/>
                <a:gd name="connsiteY11" fmla="*/ 1120569 h 1297384"/>
                <a:gd name="connsiteX12" fmla="*/ 939306 w 1470368"/>
                <a:gd name="connsiteY12" fmla="*/ 915706 h 1297384"/>
                <a:gd name="connsiteX13" fmla="*/ 734443 w 1470368"/>
                <a:gd name="connsiteY13" fmla="*/ 1120569 h 1297384"/>
                <a:gd name="connsiteX14" fmla="*/ 751989 w 1470368"/>
                <a:gd name="connsiteY14" fmla="*/ 1203355 h 1297384"/>
                <a:gd name="connsiteX15" fmla="*/ 751865 w 1470368"/>
                <a:gd name="connsiteY15" fmla="*/ 1203355 h 1297384"/>
                <a:gd name="connsiteX16" fmla="*/ 743463 w 1470368"/>
                <a:gd name="connsiteY16" fmla="*/ 1297755 h 1297384"/>
                <a:gd name="connsiteX17" fmla="*/ 367839 w 1470368"/>
                <a:gd name="connsiteY17" fmla="*/ 1297755 h 1297384"/>
                <a:gd name="connsiteX18" fmla="*/ 367839 w 1470368"/>
                <a:gd name="connsiteY18" fmla="*/ 755448 h 1297384"/>
                <a:gd name="connsiteX19" fmla="*/ 287525 w 1470368"/>
                <a:gd name="connsiteY19" fmla="*/ 759773 h 1297384"/>
                <a:gd name="connsiteX20" fmla="*/ 287525 w 1470368"/>
                <a:gd name="connsiteY20" fmla="*/ 759649 h 1297384"/>
                <a:gd name="connsiteX21" fmla="*/ 204863 w 1470368"/>
                <a:gd name="connsiteY21" fmla="*/ 777195 h 1297384"/>
                <a:gd name="connsiteX22" fmla="*/ 0 w 1470368"/>
                <a:gd name="connsiteY22" fmla="*/ 572332 h 1297384"/>
                <a:gd name="connsiteX23" fmla="*/ 204987 w 1470368"/>
                <a:gd name="connsiteY23" fmla="*/ 367345 h 1297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70368" h="1297384">
                  <a:moveTo>
                    <a:pt x="204987" y="367345"/>
                  </a:moveTo>
                  <a:cubicBezTo>
                    <a:pt x="234394" y="367345"/>
                    <a:pt x="262442" y="373647"/>
                    <a:pt x="287649" y="384891"/>
                  </a:cubicBezTo>
                  <a:lnTo>
                    <a:pt x="287649" y="384767"/>
                  </a:lnTo>
                  <a:cubicBezTo>
                    <a:pt x="287649" y="384767"/>
                    <a:pt x="333860" y="410591"/>
                    <a:pt x="367963" y="389092"/>
                  </a:cubicBezTo>
                  <a:lnTo>
                    <a:pt x="367963" y="0"/>
                  </a:lnTo>
                  <a:cubicBezTo>
                    <a:pt x="407749" y="0"/>
                    <a:pt x="447412" y="3336"/>
                    <a:pt x="486704" y="10008"/>
                  </a:cubicBezTo>
                  <a:cubicBezTo>
                    <a:pt x="1002322" y="97489"/>
                    <a:pt x="1374857" y="369940"/>
                    <a:pt x="1462338" y="917189"/>
                  </a:cubicBezTo>
                  <a:cubicBezTo>
                    <a:pt x="1485567" y="1062372"/>
                    <a:pt x="1482231" y="1187539"/>
                    <a:pt x="1460361" y="1297755"/>
                  </a:cubicBezTo>
                  <a:lnTo>
                    <a:pt x="1135150" y="1297755"/>
                  </a:lnTo>
                  <a:cubicBezTo>
                    <a:pt x="1092768" y="1264023"/>
                    <a:pt x="1126748" y="1203355"/>
                    <a:pt x="1126748" y="1203355"/>
                  </a:cubicBezTo>
                  <a:lnTo>
                    <a:pt x="1126624" y="1203355"/>
                  </a:lnTo>
                  <a:cubicBezTo>
                    <a:pt x="1137868" y="1178025"/>
                    <a:pt x="1144170" y="1150100"/>
                    <a:pt x="1144170" y="1120569"/>
                  </a:cubicBezTo>
                  <a:cubicBezTo>
                    <a:pt x="1144170" y="1007511"/>
                    <a:pt x="1052488" y="915706"/>
                    <a:pt x="939306" y="915706"/>
                  </a:cubicBezTo>
                  <a:cubicBezTo>
                    <a:pt x="826248" y="915706"/>
                    <a:pt x="734443" y="1007388"/>
                    <a:pt x="734443" y="1120569"/>
                  </a:cubicBezTo>
                  <a:cubicBezTo>
                    <a:pt x="734443" y="1150100"/>
                    <a:pt x="740745" y="1178025"/>
                    <a:pt x="751989" y="1203355"/>
                  </a:cubicBezTo>
                  <a:lnTo>
                    <a:pt x="751865" y="1203355"/>
                  </a:lnTo>
                  <a:cubicBezTo>
                    <a:pt x="751865" y="1203355"/>
                    <a:pt x="785844" y="1264023"/>
                    <a:pt x="743463" y="1297755"/>
                  </a:cubicBezTo>
                  <a:lnTo>
                    <a:pt x="367839" y="1297755"/>
                  </a:lnTo>
                  <a:lnTo>
                    <a:pt x="367839" y="755448"/>
                  </a:lnTo>
                  <a:cubicBezTo>
                    <a:pt x="333737" y="733949"/>
                    <a:pt x="287525" y="759773"/>
                    <a:pt x="287525" y="759773"/>
                  </a:cubicBezTo>
                  <a:lnTo>
                    <a:pt x="287525" y="759649"/>
                  </a:lnTo>
                  <a:cubicBezTo>
                    <a:pt x="262195" y="770893"/>
                    <a:pt x="234270" y="777195"/>
                    <a:pt x="204863" y="777195"/>
                  </a:cubicBezTo>
                  <a:cubicBezTo>
                    <a:pt x="91682" y="777195"/>
                    <a:pt x="0" y="685513"/>
                    <a:pt x="0" y="572332"/>
                  </a:cubicBezTo>
                  <a:cubicBezTo>
                    <a:pt x="0" y="459151"/>
                    <a:pt x="91929" y="367345"/>
                    <a:pt x="204987" y="367345"/>
                  </a:cubicBezTo>
                </a:path>
              </a:pathLst>
            </a:custGeom>
            <a:solidFill>
              <a:schemeClr val="accent1"/>
            </a:solidFill>
            <a:ln w="12353" cap="flat">
              <a:noFill/>
              <a:prstDash val="solid"/>
              <a:miter/>
            </a:ln>
          </p:spPr>
          <p:txBody>
            <a:bodyPr rtlCol="0" anchor="ctr"/>
            <a:lstStyle/>
            <a:p>
              <a:endParaRPr lang="en-US"/>
            </a:p>
          </p:txBody>
        </p:sp>
        <p:sp>
          <p:nvSpPr>
            <p:cNvPr id="88" name="Freeform: Shape 19">
              <a:extLst>
                <a:ext uri="{FF2B5EF4-FFF2-40B4-BE49-F238E27FC236}">
                  <a16:creationId xmlns:a16="http://schemas.microsoft.com/office/drawing/2014/main" id="{F35F6406-D9A3-9D4E-ACBB-2E023AF7AAC5}"/>
                </a:ext>
              </a:extLst>
            </p:cNvPr>
            <p:cNvSpPr/>
            <p:nvPr/>
          </p:nvSpPr>
          <p:spPr>
            <a:xfrm>
              <a:off x="5684809" y="2608576"/>
              <a:ext cx="1445657" cy="1668065"/>
            </a:xfrm>
            <a:custGeom>
              <a:avLst/>
              <a:gdLst>
                <a:gd name="connsiteX0" fmla="*/ 0 w 1445656"/>
                <a:gd name="connsiteY0" fmla="*/ 382049 h 1668065"/>
                <a:gd name="connsiteX1" fmla="*/ 306553 w 1445656"/>
                <a:gd name="connsiteY1" fmla="*/ 382049 h 1668065"/>
                <a:gd name="connsiteX2" fmla="*/ 314955 w 1445656"/>
                <a:gd name="connsiteY2" fmla="*/ 287649 h 1668065"/>
                <a:gd name="connsiteX3" fmla="*/ 315079 w 1445656"/>
                <a:gd name="connsiteY3" fmla="*/ 287649 h 1668065"/>
                <a:gd name="connsiteX4" fmla="*/ 297533 w 1445656"/>
                <a:gd name="connsiteY4" fmla="*/ 204863 h 1668065"/>
                <a:gd name="connsiteX5" fmla="*/ 502397 w 1445656"/>
                <a:gd name="connsiteY5" fmla="*/ 0 h 1668065"/>
                <a:gd name="connsiteX6" fmla="*/ 707260 w 1445656"/>
                <a:gd name="connsiteY6" fmla="*/ 204863 h 1668065"/>
                <a:gd name="connsiteX7" fmla="*/ 689714 w 1445656"/>
                <a:gd name="connsiteY7" fmla="*/ 287649 h 1668065"/>
                <a:gd name="connsiteX8" fmla="*/ 689838 w 1445656"/>
                <a:gd name="connsiteY8" fmla="*/ 287649 h 1668065"/>
                <a:gd name="connsiteX9" fmla="*/ 698240 w 1445656"/>
                <a:gd name="connsiteY9" fmla="*/ 382049 h 1668065"/>
                <a:gd name="connsiteX10" fmla="*/ 1092521 w 1445656"/>
                <a:gd name="connsiteY10" fmla="*/ 382049 h 1668065"/>
                <a:gd name="connsiteX11" fmla="*/ 1092521 w 1445656"/>
                <a:gd name="connsiteY11" fmla="*/ 799683 h 1668065"/>
                <a:gd name="connsiteX12" fmla="*/ 1164433 w 1445656"/>
                <a:gd name="connsiteY12" fmla="*/ 791157 h 1668065"/>
                <a:gd name="connsiteX13" fmla="*/ 1164433 w 1445656"/>
                <a:gd name="connsiteY13" fmla="*/ 791281 h 1668065"/>
                <a:gd name="connsiteX14" fmla="*/ 1247095 w 1445656"/>
                <a:gd name="connsiteY14" fmla="*/ 773735 h 1668065"/>
                <a:gd name="connsiteX15" fmla="*/ 1451959 w 1445656"/>
                <a:gd name="connsiteY15" fmla="*/ 978598 h 1668065"/>
                <a:gd name="connsiteX16" fmla="*/ 1247095 w 1445656"/>
                <a:gd name="connsiteY16" fmla="*/ 1183462 h 1668065"/>
                <a:gd name="connsiteX17" fmla="*/ 1164433 w 1445656"/>
                <a:gd name="connsiteY17" fmla="*/ 1165916 h 1668065"/>
                <a:gd name="connsiteX18" fmla="*/ 1164433 w 1445656"/>
                <a:gd name="connsiteY18" fmla="*/ 1166040 h 1668065"/>
                <a:gd name="connsiteX19" fmla="*/ 1092521 w 1445656"/>
                <a:gd name="connsiteY19" fmla="*/ 1157514 h 1668065"/>
                <a:gd name="connsiteX20" fmla="*/ 1092521 w 1445656"/>
                <a:gd name="connsiteY20" fmla="*/ 1678568 h 1668065"/>
                <a:gd name="connsiteX21" fmla="*/ 682301 w 1445656"/>
                <a:gd name="connsiteY21" fmla="*/ 1586516 h 1668065"/>
                <a:gd name="connsiteX22" fmla="*/ 492388 w 1445656"/>
                <a:gd name="connsiteY22" fmla="*/ 1119704 h 1668065"/>
                <a:gd name="connsiteX23" fmla="*/ 0 w 1445656"/>
                <a:gd name="connsiteY23" fmla="*/ 382049 h 1668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5656" h="1668065">
                  <a:moveTo>
                    <a:pt x="0" y="382049"/>
                  </a:moveTo>
                  <a:lnTo>
                    <a:pt x="306553" y="382049"/>
                  </a:lnTo>
                  <a:cubicBezTo>
                    <a:pt x="348935" y="348317"/>
                    <a:pt x="314955" y="287649"/>
                    <a:pt x="314955" y="287649"/>
                  </a:cubicBezTo>
                  <a:lnTo>
                    <a:pt x="315079" y="287649"/>
                  </a:lnTo>
                  <a:cubicBezTo>
                    <a:pt x="303835" y="262319"/>
                    <a:pt x="297533" y="234394"/>
                    <a:pt x="297533" y="204863"/>
                  </a:cubicBezTo>
                  <a:cubicBezTo>
                    <a:pt x="297533" y="91805"/>
                    <a:pt x="389215" y="0"/>
                    <a:pt x="502397" y="0"/>
                  </a:cubicBezTo>
                  <a:cubicBezTo>
                    <a:pt x="615578" y="0"/>
                    <a:pt x="707260" y="91682"/>
                    <a:pt x="707260" y="204863"/>
                  </a:cubicBezTo>
                  <a:cubicBezTo>
                    <a:pt x="707260" y="234394"/>
                    <a:pt x="700958" y="262319"/>
                    <a:pt x="689714" y="287649"/>
                  </a:cubicBezTo>
                  <a:lnTo>
                    <a:pt x="689838" y="287649"/>
                  </a:lnTo>
                  <a:cubicBezTo>
                    <a:pt x="689838" y="287649"/>
                    <a:pt x="655859" y="348317"/>
                    <a:pt x="698240" y="382049"/>
                  </a:cubicBezTo>
                  <a:lnTo>
                    <a:pt x="1092521" y="382049"/>
                  </a:lnTo>
                  <a:lnTo>
                    <a:pt x="1092521" y="799683"/>
                  </a:lnTo>
                  <a:cubicBezTo>
                    <a:pt x="1125388" y="813027"/>
                    <a:pt x="1164433" y="791157"/>
                    <a:pt x="1164433" y="791157"/>
                  </a:cubicBezTo>
                  <a:lnTo>
                    <a:pt x="1164433" y="791281"/>
                  </a:lnTo>
                  <a:cubicBezTo>
                    <a:pt x="1189763" y="780037"/>
                    <a:pt x="1217688" y="773735"/>
                    <a:pt x="1247095" y="773735"/>
                  </a:cubicBezTo>
                  <a:cubicBezTo>
                    <a:pt x="1360153" y="773735"/>
                    <a:pt x="1451959" y="865417"/>
                    <a:pt x="1451959" y="978598"/>
                  </a:cubicBezTo>
                  <a:cubicBezTo>
                    <a:pt x="1451959" y="1091780"/>
                    <a:pt x="1360277" y="1183462"/>
                    <a:pt x="1247095" y="1183462"/>
                  </a:cubicBezTo>
                  <a:cubicBezTo>
                    <a:pt x="1217564" y="1183462"/>
                    <a:pt x="1189640" y="1177160"/>
                    <a:pt x="1164433" y="1165916"/>
                  </a:cubicBezTo>
                  <a:lnTo>
                    <a:pt x="1164433" y="1166040"/>
                  </a:lnTo>
                  <a:cubicBezTo>
                    <a:pt x="1164433" y="1166040"/>
                    <a:pt x="1125388" y="1144293"/>
                    <a:pt x="1092521" y="1157514"/>
                  </a:cubicBezTo>
                  <a:lnTo>
                    <a:pt x="1092521" y="1678568"/>
                  </a:lnTo>
                  <a:cubicBezTo>
                    <a:pt x="1092521" y="1678568"/>
                    <a:pt x="682424" y="1697596"/>
                    <a:pt x="682301" y="1586516"/>
                  </a:cubicBezTo>
                  <a:cubicBezTo>
                    <a:pt x="682301" y="1571565"/>
                    <a:pt x="698363" y="1345202"/>
                    <a:pt x="492388" y="1119704"/>
                  </a:cubicBezTo>
                  <a:cubicBezTo>
                    <a:pt x="306059" y="915583"/>
                    <a:pt x="66599" y="718380"/>
                    <a:pt x="0" y="382049"/>
                  </a:cubicBezTo>
                </a:path>
              </a:pathLst>
            </a:custGeom>
            <a:solidFill>
              <a:schemeClr val="accent2"/>
            </a:solidFill>
            <a:ln w="12353" cap="flat">
              <a:noFill/>
              <a:prstDash val="solid"/>
              <a:miter/>
            </a:ln>
          </p:spPr>
          <p:txBody>
            <a:bodyPr rtlCol="0" anchor="ctr"/>
            <a:lstStyle/>
            <a:p>
              <a:endParaRPr lang="en-US"/>
            </a:p>
          </p:txBody>
        </p:sp>
        <p:sp>
          <p:nvSpPr>
            <p:cNvPr id="89" name="Freeform: Shape 20">
              <a:extLst>
                <a:ext uri="{FF2B5EF4-FFF2-40B4-BE49-F238E27FC236}">
                  <a16:creationId xmlns:a16="http://schemas.microsoft.com/office/drawing/2014/main" id="{37999AB0-8293-9B47-A8FB-8D14B77C0F0C}"/>
                </a:ext>
              </a:extLst>
            </p:cNvPr>
            <p:cNvSpPr/>
            <p:nvPr/>
          </p:nvSpPr>
          <p:spPr>
            <a:xfrm>
              <a:off x="6272091" y="4190519"/>
              <a:ext cx="988483" cy="160629"/>
            </a:xfrm>
            <a:custGeom>
              <a:avLst/>
              <a:gdLst>
                <a:gd name="connsiteX0" fmla="*/ 912247 w 988483"/>
                <a:gd name="connsiteY0" fmla="*/ 164830 h 160628"/>
                <a:gd name="connsiteX1" fmla="*/ 82415 w 988483"/>
                <a:gd name="connsiteY1" fmla="*/ 164830 h 160628"/>
                <a:gd name="connsiteX2" fmla="*/ 0 w 988483"/>
                <a:gd name="connsiteY2" fmla="*/ 82415 h 160628"/>
                <a:gd name="connsiteX3" fmla="*/ 82415 w 988483"/>
                <a:gd name="connsiteY3" fmla="*/ 0 h 160628"/>
                <a:gd name="connsiteX4" fmla="*/ 912247 w 988483"/>
                <a:gd name="connsiteY4" fmla="*/ 0 h 160628"/>
                <a:gd name="connsiteX5" fmla="*/ 994661 w 988483"/>
                <a:gd name="connsiteY5" fmla="*/ 82415 h 160628"/>
                <a:gd name="connsiteX6" fmla="*/ 912247 w 988483"/>
                <a:gd name="connsiteY6" fmla="*/ 164830 h 16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483" h="160628">
                  <a:moveTo>
                    <a:pt x="912247" y="164830"/>
                  </a:moveTo>
                  <a:lnTo>
                    <a:pt x="82415" y="164830"/>
                  </a:lnTo>
                  <a:cubicBezTo>
                    <a:pt x="36945" y="164830"/>
                    <a:pt x="0" y="128009"/>
                    <a:pt x="0" y="82415"/>
                  </a:cubicBezTo>
                  <a:cubicBezTo>
                    <a:pt x="0" y="36945"/>
                    <a:pt x="36945" y="0"/>
                    <a:pt x="82415" y="0"/>
                  </a:cubicBezTo>
                  <a:lnTo>
                    <a:pt x="912247" y="0"/>
                  </a:lnTo>
                  <a:cubicBezTo>
                    <a:pt x="957717" y="0"/>
                    <a:pt x="994661" y="36821"/>
                    <a:pt x="994661" y="82415"/>
                  </a:cubicBezTo>
                  <a:cubicBezTo>
                    <a:pt x="994661" y="128009"/>
                    <a:pt x="957717" y="164830"/>
                    <a:pt x="912247" y="164830"/>
                  </a:cubicBezTo>
                </a:path>
              </a:pathLst>
            </a:custGeom>
            <a:solidFill>
              <a:schemeClr val="accent5"/>
            </a:solidFill>
            <a:ln w="12353" cap="flat">
              <a:noFill/>
              <a:prstDash val="solid"/>
              <a:miter/>
            </a:ln>
          </p:spPr>
          <p:txBody>
            <a:bodyPr rtlCol="0" anchor="ctr"/>
            <a:lstStyle/>
            <a:p>
              <a:endParaRPr lang="en-US"/>
            </a:p>
          </p:txBody>
        </p:sp>
        <p:sp>
          <p:nvSpPr>
            <p:cNvPr id="90" name="Freeform: Shape 21">
              <a:extLst>
                <a:ext uri="{FF2B5EF4-FFF2-40B4-BE49-F238E27FC236}">
                  <a16:creationId xmlns:a16="http://schemas.microsoft.com/office/drawing/2014/main" id="{0A14DF30-778D-C346-9E7E-6292E152E30F}"/>
                </a:ext>
              </a:extLst>
            </p:cNvPr>
            <p:cNvSpPr/>
            <p:nvPr/>
          </p:nvSpPr>
          <p:spPr>
            <a:xfrm>
              <a:off x="6272091" y="4479280"/>
              <a:ext cx="988483" cy="160629"/>
            </a:xfrm>
            <a:custGeom>
              <a:avLst/>
              <a:gdLst>
                <a:gd name="connsiteX0" fmla="*/ 912247 w 988483"/>
                <a:gd name="connsiteY0" fmla="*/ 164830 h 160628"/>
                <a:gd name="connsiteX1" fmla="*/ 82415 w 988483"/>
                <a:gd name="connsiteY1" fmla="*/ 164830 h 160628"/>
                <a:gd name="connsiteX2" fmla="*/ 0 w 988483"/>
                <a:gd name="connsiteY2" fmla="*/ 82415 h 160628"/>
                <a:gd name="connsiteX3" fmla="*/ 82415 w 988483"/>
                <a:gd name="connsiteY3" fmla="*/ 0 h 160628"/>
                <a:gd name="connsiteX4" fmla="*/ 912247 w 988483"/>
                <a:gd name="connsiteY4" fmla="*/ 0 h 160628"/>
                <a:gd name="connsiteX5" fmla="*/ 994661 w 988483"/>
                <a:gd name="connsiteY5" fmla="*/ 82415 h 160628"/>
                <a:gd name="connsiteX6" fmla="*/ 912247 w 988483"/>
                <a:gd name="connsiteY6" fmla="*/ 164830 h 16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483" h="160628">
                  <a:moveTo>
                    <a:pt x="912247" y="164830"/>
                  </a:moveTo>
                  <a:lnTo>
                    <a:pt x="82415" y="164830"/>
                  </a:lnTo>
                  <a:cubicBezTo>
                    <a:pt x="36945" y="164830"/>
                    <a:pt x="0" y="128008"/>
                    <a:pt x="0" y="82415"/>
                  </a:cubicBezTo>
                  <a:cubicBezTo>
                    <a:pt x="0" y="36944"/>
                    <a:pt x="36945" y="0"/>
                    <a:pt x="82415" y="0"/>
                  </a:cubicBezTo>
                  <a:lnTo>
                    <a:pt x="912247" y="0"/>
                  </a:lnTo>
                  <a:cubicBezTo>
                    <a:pt x="957717" y="0"/>
                    <a:pt x="994661" y="36821"/>
                    <a:pt x="994661" y="82415"/>
                  </a:cubicBezTo>
                  <a:cubicBezTo>
                    <a:pt x="994661" y="127885"/>
                    <a:pt x="957717" y="164830"/>
                    <a:pt x="912247" y="164830"/>
                  </a:cubicBezTo>
                </a:path>
              </a:pathLst>
            </a:custGeom>
            <a:solidFill>
              <a:schemeClr val="accent5"/>
            </a:solidFill>
            <a:ln w="12353" cap="flat">
              <a:noFill/>
              <a:prstDash val="solid"/>
              <a:miter/>
            </a:ln>
          </p:spPr>
          <p:txBody>
            <a:bodyPr rtlCol="0" anchor="ctr"/>
            <a:lstStyle/>
            <a:p>
              <a:endParaRPr lang="en-US"/>
            </a:p>
          </p:txBody>
        </p:sp>
        <p:sp>
          <p:nvSpPr>
            <p:cNvPr id="91" name="Freeform: Shape 22">
              <a:extLst>
                <a:ext uri="{FF2B5EF4-FFF2-40B4-BE49-F238E27FC236}">
                  <a16:creationId xmlns:a16="http://schemas.microsoft.com/office/drawing/2014/main" id="{715EE8D8-C486-754D-AEF0-25A26E5D7FF6}"/>
                </a:ext>
              </a:extLst>
            </p:cNvPr>
            <p:cNvSpPr/>
            <p:nvPr/>
          </p:nvSpPr>
          <p:spPr>
            <a:xfrm>
              <a:off x="8046542" y="3774368"/>
              <a:ext cx="370681" cy="148272"/>
            </a:xfrm>
            <a:custGeom>
              <a:avLst/>
              <a:gdLst>
                <a:gd name="connsiteX0" fmla="*/ 35956 w 370681"/>
                <a:gd name="connsiteY0" fmla="*/ 0 h 148272"/>
                <a:gd name="connsiteX1" fmla="*/ 0 w 370681"/>
                <a:gd name="connsiteY1" fmla="*/ 124178 h 148272"/>
                <a:gd name="connsiteX2" fmla="*/ 377724 w 370681"/>
                <a:gd name="connsiteY2" fmla="*/ 157910 h 148272"/>
                <a:gd name="connsiteX3" fmla="*/ 370434 w 370681"/>
                <a:gd name="connsiteY3" fmla="*/ 371 h 148272"/>
              </a:gdLst>
              <a:ahLst/>
              <a:cxnLst>
                <a:cxn ang="0">
                  <a:pos x="connsiteX0" y="connsiteY0"/>
                </a:cxn>
                <a:cxn ang="0">
                  <a:pos x="connsiteX1" y="connsiteY1"/>
                </a:cxn>
                <a:cxn ang="0">
                  <a:pos x="connsiteX2" y="connsiteY2"/>
                </a:cxn>
                <a:cxn ang="0">
                  <a:pos x="connsiteX3" y="connsiteY3"/>
                </a:cxn>
              </a:cxnLst>
              <a:rect l="l" t="t" r="r" b="b"/>
              <a:pathLst>
                <a:path w="370681" h="148272">
                  <a:moveTo>
                    <a:pt x="35956" y="0"/>
                  </a:moveTo>
                  <a:lnTo>
                    <a:pt x="0" y="124178"/>
                  </a:lnTo>
                  <a:lnTo>
                    <a:pt x="377724" y="157910"/>
                  </a:lnTo>
                  <a:lnTo>
                    <a:pt x="370434" y="371"/>
                  </a:lnTo>
                  <a:close/>
                </a:path>
              </a:pathLst>
            </a:custGeom>
            <a:solidFill>
              <a:schemeClr val="accent1"/>
            </a:solidFill>
            <a:ln w="12353" cap="flat">
              <a:noFill/>
              <a:prstDash val="solid"/>
              <a:miter/>
            </a:ln>
          </p:spPr>
          <p:txBody>
            <a:bodyPr rtlCol="0" anchor="ctr"/>
            <a:lstStyle/>
            <a:p>
              <a:endParaRPr lang="en-US"/>
            </a:p>
          </p:txBody>
        </p:sp>
        <p:sp>
          <p:nvSpPr>
            <p:cNvPr id="92" name="Freeform: Shape 23">
              <a:extLst>
                <a:ext uri="{FF2B5EF4-FFF2-40B4-BE49-F238E27FC236}">
                  <a16:creationId xmlns:a16="http://schemas.microsoft.com/office/drawing/2014/main" id="{2DAE9F73-52A2-AF4A-8DDD-90BBD05FD393}"/>
                </a:ext>
              </a:extLst>
            </p:cNvPr>
            <p:cNvSpPr/>
            <p:nvPr/>
          </p:nvSpPr>
          <p:spPr>
            <a:xfrm>
              <a:off x="7953872" y="3861849"/>
              <a:ext cx="284189" cy="963771"/>
            </a:xfrm>
            <a:custGeom>
              <a:avLst/>
              <a:gdLst>
                <a:gd name="connsiteX0" fmla="*/ 293950 w 284188"/>
                <a:gd name="connsiteY0" fmla="*/ 0 h 963771"/>
                <a:gd name="connsiteX1" fmla="*/ 157540 w 284188"/>
                <a:gd name="connsiteY1" fmla="*/ 380195 h 963771"/>
                <a:gd name="connsiteX2" fmla="*/ 138882 w 284188"/>
                <a:gd name="connsiteY2" fmla="*/ 967478 h 963771"/>
                <a:gd name="connsiteX3" fmla="*/ 4448 w 284188"/>
                <a:gd name="connsiteY3" fmla="*/ 965625 h 963771"/>
                <a:gd name="connsiteX4" fmla="*/ 0 w 284188"/>
                <a:gd name="connsiteY4" fmla="*/ 353383 h 963771"/>
                <a:gd name="connsiteX5" fmla="*/ 102555 w 284188"/>
                <a:gd name="connsiteY5" fmla="*/ 3213 h 96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188" h="963771">
                  <a:moveTo>
                    <a:pt x="293950" y="0"/>
                  </a:moveTo>
                  <a:lnTo>
                    <a:pt x="157540" y="380195"/>
                  </a:lnTo>
                  <a:lnTo>
                    <a:pt x="138882" y="967478"/>
                  </a:lnTo>
                  <a:lnTo>
                    <a:pt x="4448" y="965625"/>
                  </a:lnTo>
                  <a:lnTo>
                    <a:pt x="0" y="353383"/>
                  </a:lnTo>
                  <a:lnTo>
                    <a:pt x="102555" y="3213"/>
                  </a:lnTo>
                  <a:close/>
                </a:path>
              </a:pathLst>
            </a:custGeom>
            <a:solidFill>
              <a:srgbClr val="4701A7"/>
            </a:solidFill>
            <a:ln w="12353" cap="flat">
              <a:noFill/>
              <a:prstDash val="solid"/>
              <a:miter/>
            </a:ln>
          </p:spPr>
          <p:txBody>
            <a:bodyPr rtlCol="0" anchor="ctr"/>
            <a:lstStyle/>
            <a:p>
              <a:endParaRPr lang="en-US"/>
            </a:p>
          </p:txBody>
        </p:sp>
        <p:sp>
          <p:nvSpPr>
            <p:cNvPr id="93" name="Freeform: Shape 24">
              <a:extLst>
                <a:ext uri="{FF2B5EF4-FFF2-40B4-BE49-F238E27FC236}">
                  <a16:creationId xmlns:a16="http://schemas.microsoft.com/office/drawing/2014/main" id="{0516A7FE-2208-9E45-9B5A-845473F4D858}"/>
                </a:ext>
              </a:extLst>
            </p:cNvPr>
            <p:cNvSpPr/>
            <p:nvPr/>
          </p:nvSpPr>
          <p:spPr>
            <a:xfrm>
              <a:off x="8130564" y="3902377"/>
              <a:ext cx="86492" cy="135916"/>
            </a:xfrm>
            <a:custGeom>
              <a:avLst/>
              <a:gdLst>
                <a:gd name="connsiteX0" fmla="*/ 98107 w 86492"/>
                <a:gd name="connsiteY0" fmla="*/ 12850 h 135916"/>
                <a:gd name="connsiteX1" fmla="*/ 0 w 86492"/>
                <a:gd name="connsiteY1" fmla="*/ 0 h 135916"/>
                <a:gd name="connsiteX2" fmla="*/ 52760 w 86492"/>
                <a:gd name="connsiteY2" fmla="*/ 139129 h 135916"/>
              </a:gdLst>
              <a:ahLst/>
              <a:cxnLst>
                <a:cxn ang="0">
                  <a:pos x="connsiteX0" y="connsiteY0"/>
                </a:cxn>
                <a:cxn ang="0">
                  <a:pos x="connsiteX1" y="connsiteY1"/>
                </a:cxn>
                <a:cxn ang="0">
                  <a:pos x="connsiteX2" y="connsiteY2"/>
                </a:cxn>
              </a:cxnLst>
              <a:rect l="l" t="t" r="r" b="b"/>
              <a:pathLst>
                <a:path w="86492" h="135916">
                  <a:moveTo>
                    <a:pt x="98107" y="12850"/>
                  </a:moveTo>
                  <a:lnTo>
                    <a:pt x="0" y="0"/>
                  </a:lnTo>
                  <a:lnTo>
                    <a:pt x="52760" y="139129"/>
                  </a:lnTo>
                  <a:close/>
                </a:path>
              </a:pathLst>
            </a:custGeom>
            <a:solidFill>
              <a:schemeClr val="accent3"/>
            </a:solidFill>
            <a:ln w="12353" cap="flat">
              <a:noFill/>
              <a:prstDash val="solid"/>
              <a:miter/>
            </a:ln>
          </p:spPr>
          <p:txBody>
            <a:bodyPr rtlCol="0" anchor="ctr"/>
            <a:lstStyle/>
            <a:p>
              <a:endParaRPr lang="en-US"/>
            </a:p>
          </p:txBody>
        </p:sp>
        <p:sp>
          <p:nvSpPr>
            <p:cNvPr id="94" name="Freeform: Shape 25">
              <a:extLst>
                <a:ext uri="{FF2B5EF4-FFF2-40B4-BE49-F238E27FC236}">
                  <a16:creationId xmlns:a16="http://schemas.microsoft.com/office/drawing/2014/main" id="{A8BE81FB-CD88-1448-A408-2CE222FADF9A}"/>
                </a:ext>
              </a:extLst>
            </p:cNvPr>
            <p:cNvSpPr/>
            <p:nvPr/>
          </p:nvSpPr>
          <p:spPr>
            <a:xfrm>
              <a:off x="8226199" y="3861849"/>
              <a:ext cx="296545" cy="963771"/>
            </a:xfrm>
            <a:custGeom>
              <a:avLst/>
              <a:gdLst>
                <a:gd name="connsiteX0" fmla="*/ 198067 w 296545"/>
                <a:gd name="connsiteY0" fmla="*/ 44852 h 963771"/>
                <a:gd name="connsiteX1" fmla="*/ 211165 w 296545"/>
                <a:gd name="connsiteY1" fmla="*/ 394652 h 963771"/>
                <a:gd name="connsiteX2" fmla="*/ 297039 w 296545"/>
                <a:gd name="connsiteY2" fmla="*/ 974274 h 963771"/>
                <a:gd name="connsiteX3" fmla="*/ 158281 w 296545"/>
                <a:gd name="connsiteY3" fmla="*/ 972420 h 963771"/>
                <a:gd name="connsiteX4" fmla="*/ 42875 w 296545"/>
                <a:gd name="connsiteY4" fmla="*/ 404413 h 963771"/>
                <a:gd name="connsiteX5" fmla="*/ 0 w 296545"/>
                <a:gd name="connsiteY5" fmla="*/ 0 h 96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545" h="963771">
                  <a:moveTo>
                    <a:pt x="198067" y="44852"/>
                  </a:moveTo>
                  <a:lnTo>
                    <a:pt x="211165" y="394652"/>
                  </a:lnTo>
                  <a:lnTo>
                    <a:pt x="297039" y="974274"/>
                  </a:lnTo>
                  <a:lnTo>
                    <a:pt x="158281" y="972420"/>
                  </a:lnTo>
                  <a:lnTo>
                    <a:pt x="42875" y="404413"/>
                  </a:lnTo>
                  <a:lnTo>
                    <a:pt x="0" y="0"/>
                  </a:lnTo>
                  <a:close/>
                </a:path>
              </a:pathLst>
            </a:custGeom>
            <a:solidFill>
              <a:srgbClr val="4701A7"/>
            </a:solidFill>
            <a:ln w="12353" cap="flat">
              <a:noFill/>
              <a:prstDash val="solid"/>
              <a:miter/>
            </a:ln>
          </p:spPr>
          <p:txBody>
            <a:bodyPr rtlCol="0" anchor="ctr"/>
            <a:lstStyle/>
            <a:p>
              <a:endParaRPr lang="en-US"/>
            </a:p>
          </p:txBody>
        </p:sp>
        <p:sp>
          <p:nvSpPr>
            <p:cNvPr id="95" name="Freeform: Shape 26">
              <a:extLst>
                <a:ext uri="{FF2B5EF4-FFF2-40B4-BE49-F238E27FC236}">
                  <a16:creationId xmlns:a16="http://schemas.microsoft.com/office/drawing/2014/main" id="{1D86EDCB-0CED-0244-9DD0-7728B0EB3C1D}"/>
                </a:ext>
              </a:extLst>
            </p:cNvPr>
            <p:cNvSpPr/>
            <p:nvPr/>
          </p:nvSpPr>
          <p:spPr>
            <a:xfrm>
              <a:off x="8037467" y="3240217"/>
              <a:ext cx="395393" cy="580734"/>
            </a:xfrm>
            <a:custGeom>
              <a:avLst/>
              <a:gdLst>
                <a:gd name="connsiteX0" fmla="*/ 232844 w 395393"/>
                <a:gd name="connsiteY0" fmla="*/ 0 h 580733"/>
                <a:gd name="connsiteX1" fmla="*/ 243840 w 395393"/>
                <a:gd name="connsiteY1" fmla="*/ 2224 h 580733"/>
                <a:gd name="connsiteX2" fmla="*/ 340465 w 395393"/>
                <a:gd name="connsiteY2" fmla="*/ 98230 h 580733"/>
                <a:gd name="connsiteX3" fmla="*/ 402863 w 395393"/>
                <a:gd name="connsiteY3" fmla="*/ 546384 h 580733"/>
                <a:gd name="connsiteX4" fmla="*/ 26127 w 395393"/>
                <a:gd name="connsiteY4" fmla="*/ 534028 h 580733"/>
                <a:gd name="connsiteX5" fmla="*/ 427 w 395393"/>
                <a:gd name="connsiteY5" fmla="*/ 117135 h 580733"/>
                <a:gd name="connsiteX6" fmla="*/ 63936 w 395393"/>
                <a:gd name="connsiteY6" fmla="*/ 8649 h 580733"/>
                <a:gd name="connsiteX7" fmla="*/ 232844 w 395393"/>
                <a:gd name="connsiteY7" fmla="*/ 0 h 58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393" h="580733">
                  <a:moveTo>
                    <a:pt x="232844" y="0"/>
                  </a:moveTo>
                  <a:lnTo>
                    <a:pt x="243840" y="2224"/>
                  </a:lnTo>
                  <a:cubicBezTo>
                    <a:pt x="292400" y="11985"/>
                    <a:pt x="330333" y="49795"/>
                    <a:pt x="340465" y="98230"/>
                  </a:cubicBezTo>
                  <a:lnTo>
                    <a:pt x="402863" y="546384"/>
                  </a:lnTo>
                  <a:cubicBezTo>
                    <a:pt x="233338" y="631147"/>
                    <a:pt x="26127" y="534028"/>
                    <a:pt x="26127" y="534028"/>
                  </a:cubicBezTo>
                  <a:lnTo>
                    <a:pt x="427" y="117135"/>
                  </a:lnTo>
                  <a:cubicBezTo>
                    <a:pt x="-3651" y="71171"/>
                    <a:pt x="21802" y="27678"/>
                    <a:pt x="63936" y="8649"/>
                  </a:cubicBezTo>
                  <a:lnTo>
                    <a:pt x="232844" y="0"/>
                  </a:lnTo>
                  <a:close/>
                </a:path>
              </a:pathLst>
            </a:custGeom>
            <a:solidFill>
              <a:schemeClr val="accent2"/>
            </a:solidFill>
            <a:ln w="12353" cap="flat">
              <a:noFill/>
              <a:prstDash val="solid"/>
              <a:miter/>
            </a:ln>
          </p:spPr>
          <p:txBody>
            <a:bodyPr rtlCol="0" anchor="ctr"/>
            <a:lstStyle/>
            <a:p>
              <a:endParaRPr lang="en-US"/>
            </a:p>
          </p:txBody>
        </p:sp>
        <p:sp>
          <p:nvSpPr>
            <p:cNvPr id="96" name="Freeform: Shape 27">
              <a:extLst>
                <a:ext uri="{FF2B5EF4-FFF2-40B4-BE49-F238E27FC236}">
                  <a16:creationId xmlns:a16="http://schemas.microsoft.com/office/drawing/2014/main" id="{81B486EA-DFCB-2D47-8607-336851DCAEF5}"/>
                </a:ext>
              </a:extLst>
            </p:cNvPr>
            <p:cNvSpPr/>
            <p:nvPr/>
          </p:nvSpPr>
          <p:spPr>
            <a:xfrm>
              <a:off x="8113917" y="3240711"/>
              <a:ext cx="135916" cy="49424"/>
            </a:xfrm>
            <a:custGeom>
              <a:avLst/>
              <a:gdLst>
                <a:gd name="connsiteX0" fmla="*/ 1819 w 135916"/>
                <a:gd name="connsiteY0" fmla="*/ 7414 h 49424"/>
                <a:gd name="connsiteX1" fmla="*/ 145273 w 135916"/>
                <a:gd name="connsiteY1" fmla="*/ 0 h 49424"/>
                <a:gd name="connsiteX2" fmla="*/ 55074 w 135916"/>
                <a:gd name="connsiteY2" fmla="*/ 59186 h 49424"/>
                <a:gd name="connsiteX3" fmla="*/ 1819 w 135916"/>
                <a:gd name="connsiteY3" fmla="*/ 7414 h 49424"/>
              </a:gdLst>
              <a:ahLst/>
              <a:cxnLst>
                <a:cxn ang="0">
                  <a:pos x="connsiteX0" y="connsiteY0"/>
                </a:cxn>
                <a:cxn ang="0">
                  <a:pos x="connsiteX1" y="connsiteY1"/>
                </a:cxn>
                <a:cxn ang="0">
                  <a:pos x="connsiteX2" y="connsiteY2"/>
                </a:cxn>
                <a:cxn ang="0">
                  <a:pos x="connsiteX3" y="connsiteY3"/>
                </a:cxn>
              </a:cxnLst>
              <a:rect l="l" t="t" r="r" b="b"/>
              <a:pathLst>
                <a:path w="135916" h="49424">
                  <a:moveTo>
                    <a:pt x="1819" y="7414"/>
                  </a:moveTo>
                  <a:lnTo>
                    <a:pt x="145273" y="0"/>
                  </a:lnTo>
                  <a:cubicBezTo>
                    <a:pt x="145273" y="0"/>
                    <a:pt x="141319" y="63263"/>
                    <a:pt x="55074" y="59186"/>
                  </a:cubicBezTo>
                  <a:cubicBezTo>
                    <a:pt x="-15232" y="55849"/>
                    <a:pt x="1819" y="7414"/>
                    <a:pt x="1819" y="7414"/>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97" name="Freeform: Shape 28">
              <a:extLst>
                <a:ext uri="{FF2B5EF4-FFF2-40B4-BE49-F238E27FC236}">
                  <a16:creationId xmlns:a16="http://schemas.microsoft.com/office/drawing/2014/main" id="{999B7D06-A887-B341-B68F-D0F65839D99A}"/>
                </a:ext>
              </a:extLst>
            </p:cNvPr>
            <p:cNvSpPr/>
            <p:nvPr/>
          </p:nvSpPr>
          <p:spPr>
            <a:xfrm>
              <a:off x="7701974" y="3546935"/>
              <a:ext cx="111204" cy="111204"/>
            </a:xfrm>
            <a:custGeom>
              <a:avLst/>
              <a:gdLst>
                <a:gd name="connsiteX0" fmla="*/ 121171 w 111204"/>
                <a:gd name="connsiteY0" fmla="*/ 67052 h 111204"/>
                <a:gd name="connsiteX1" fmla="*/ 54449 w 111204"/>
                <a:gd name="connsiteY1" fmla="*/ 121171 h 111204"/>
                <a:gd name="connsiteX2" fmla="*/ 329 w 111204"/>
                <a:gd name="connsiteY2" fmla="*/ 54448 h 111204"/>
                <a:gd name="connsiteX3" fmla="*/ 67052 w 111204"/>
                <a:gd name="connsiteY3" fmla="*/ 329 h 111204"/>
                <a:gd name="connsiteX4" fmla="*/ 121171 w 111204"/>
                <a:gd name="connsiteY4" fmla="*/ 67052 h 111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04" h="111204">
                  <a:moveTo>
                    <a:pt x="121171" y="67052"/>
                  </a:moveTo>
                  <a:cubicBezTo>
                    <a:pt x="117711" y="100413"/>
                    <a:pt x="87810" y="124631"/>
                    <a:pt x="54449" y="121171"/>
                  </a:cubicBezTo>
                  <a:cubicBezTo>
                    <a:pt x="21087" y="117711"/>
                    <a:pt x="-3131" y="87810"/>
                    <a:pt x="329" y="54448"/>
                  </a:cubicBezTo>
                  <a:cubicBezTo>
                    <a:pt x="3789" y="21087"/>
                    <a:pt x="33690" y="-3131"/>
                    <a:pt x="67052" y="329"/>
                  </a:cubicBezTo>
                  <a:cubicBezTo>
                    <a:pt x="100413" y="3789"/>
                    <a:pt x="124631" y="33690"/>
                    <a:pt x="121171" y="67052"/>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98" name="Freeform: Shape 29">
              <a:extLst>
                <a:ext uri="{FF2B5EF4-FFF2-40B4-BE49-F238E27FC236}">
                  <a16:creationId xmlns:a16="http://schemas.microsoft.com/office/drawing/2014/main" id="{B8697CD2-E637-EE4B-99CF-ADB22AC1255B}"/>
                </a:ext>
              </a:extLst>
            </p:cNvPr>
            <p:cNvSpPr/>
            <p:nvPr/>
          </p:nvSpPr>
          <p:spPr>
            <a:xfrm>
              <a:off x="7768983" y="3581819"/>
              <a:ext cx="111204" cy="61780"/>
            </a:xfrm>
            <a:custGeom>
              <a:avLst/>
              <a:gdLst>
                <a:gd name="connsiteX0" fmla="*/ 89747 w 111204"/>
                <a:gd name="connsiteY0" fmla="*/ 66394 h 61780"/>
                <a:gd name="connsiteX1" fmla="*/ 26855 w 111204"/>
                <a:gd name="connsiteY1" fmla="*/ 59846 h 61780"/>
                <a:gd name="connsiteX2" fmla="*/ 166 w 111204"/>
                <a:gd name="connsiteY2" fmla="*/ 26855 h 61780"/>
                <a:gd name="connsiteX3" fmla="*/ 33156 w 111204"/>
                <a:gd name="connsiteY3" fmla="*/ 166 h 61780"/>
                <a:gd name="connsiteX4" fmla="*/ 95925 w 111204"/>
                <a:gd name="connsiteY4" fmla="*/ 6715 h 61780"/>
                <a:gd name="connsiteX5" fmla="*/ 122614 w 111204"/>
                <a:gd name="connsiteY5" fmla="*/ 39705 h 61780"/>
                <a:gd name="connsiteX6" fmla="*/ 89747 w 111204"/>
                <a:gd name="connsiteY6" fmla="*/ 66394 h 6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204" h="61780">
                  <a:moveTo>
                    <a:pt x="89747" y="66394"/>
                  </a:moveTo>
                  <a:lnTo>
                    <a:pt x="26855" y="59846"/>
                  </a:lnTo>
                  <a:cubicBezTo>
                    <a:pt x="10421" y="58116"/>
                    <a:pt x="-1564" y="43288"/>
                    <a:pt x="166" y="26855"/>
                  </a:cubicBezTo>
                  <a:cubicBezTo>
                    <a:pt x="1896" y="10422"/>
                    <a:pt x="16723" y="-1564"/>
                    <a:pt x="33156" y="166"/>
                  </a:cubicBezTo>
                  <a:lnTo>
                    <a:pt x="95925" y="6715"/>
                  </a:lnTo>
                  <a:cubicBezTo>
                    <a:pt x="112359" y="8445"/>
                    <a:pt x="124344" y="23272"/>
                    <a:pt x="122614" y="39705"/>
                  </a:cubicBezTo>
                  <a:cubicBezTo>
                    <a:pt x="121008" y="56015"/>
                    <a:pt x="106181" y="68124"/>
                    <a:pt x="89747" y="66394"/>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99" name="Freeform: Shape 30">
              <a:extLst>
                <a:ext uri="{FF2B5EF4-FFF2-40B4-BE49-F238E27FC236}">
                  <a16:creationId xmlns:a16="http://schemas.microsoft.com/office/drawing/2014/main" id="{A9FD9A69-73C6-A844-AFA6-2A07A1A3831B}"/>
                </a:ext>
              </a:extLst>
            </p:cNvPr>
            <p:cNvSpPr/>
            <p:nvPr/>
          </p:nvSpPr>
          <p:spPr>
            <a:xfrm>
              <a:off x="7823516" y="3287105"/>
              <a:ext cx="531310" cy="383037"/>
            </a:xfrm>
            <a:custGeom>
              <a:avLst/>
              <a:gdLst>
                <a:gd name="connsiteX0" fmla="*/ 0 w 531309"/>
                <a:gd name="connsiteY0" fmla="*/ 382608 h 383037"/>
                <a:gd name="connsiteX1" fmla="*/ 4201 w 531309"/>
                <a:gd name="connsiteY1" fmla="*/ 269674 h 383037"/>
                <a:gd name="connsiteX2" fmla="*/ 315326 w 531309"/>
                <a:gd name="connsiteY2" fmla="*/ 281165 h 383037"/>
                <a:gd name="connsiteX3" fmla="*/ 431349 w 531309"/>
                <a:gd name="connsiteY3" fmla="*/ 31202 h 383037"/>
                <a:gd name="connsiteX4" fmla="*/ 507092 w 531309"/>
                <a:gd name="connsiteY4" fmla="*/ 5996 h 383037"/>
                <a:gd name="connsiteX5" fmla="*/ 532422 w 531309"/>
                <a:gd name="connsiteY5" fmla="*/ 81738 h 383037"/>
                <a:gd name="connsiteX6" fmla="*/ 400212 w 531309"/>
                <a:gd name="connsiteY6" fmla="*/ 364197 h 383037"/>
                <a:gd name="connsiteX7" fmla="*/ 347576 w 531309"/>
                <a:gd name="connsiteY7" fmla="*/ 395335 h 383037"/>
                <a:gd name="connsiteX8" fmla="*/ 0 w 531309"/>
                <a:gd name="connsiteY8" fmla="*/ 382608 h 38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309" h="383037">
                  <a:moveTo>
                    <a:pt x="0" y="382608"/>
                  </a:moveTo>
                  <a:lnTo>
                    <a:pt x="4201" y="269674"/>
                  </a:lnTo>
                  <a:lnTo>
                    <a:pt x="315326" y="281165"/>
                  </a:lnTo>
                  <a:lnTo>
                    <a:pt x="431349" y="31202"/>
                  </a:lnTo>
                  <a:cubicBezTo>
                    <a:pt x="445311" y="3277"/>
                    <a:pt x="479167" y="-7967"/>
                    <a:pt x="507092" y="5996"/>
                  </a:cubicBezTo>
                  <a:cubicBezTo>
                    <a:pt x="535016" y="19958"/>
                    <a:pt x="546384" y="53814"/>
                    <a:pt x="532422" y="81738"/>
                  </a:cubicBezTo>
                  <a:lnTo>
                    <a:pt x="400212" y="364197"/>
                  </a:lnTo>
                  <a:cubicBezTo>
                    <a:pt x="390327" y="383967"/>
                    <a:pt x="369693" y="396200"/>
                    <a:pt x="347576" y="395335"/>
                  </a:cubicBezTo>
                  <a:lnTo>
                    <a:pt x="0" y="382608"/>
                  </a:lnTo>
                  <a:close/>
                </a:path>
              </a:pathLst>
            </a:custGeom>
            <a:solidFill>
              <a:schemeClr val="accent1"/>
            </a:solidFill>
            <a:ln w="12353" cap="flat">
              <a:noFill/>
              <a:prstDash val="solid"/>
              <a:miter/>
            </a:ln>
          </p:spPr>
          <p:txBody>
            <a:bodyPr rtlCol="0" anchor="ctr"/>
            <a:lstStyle/>
            <a:p>
              <a:endParaRPr lang="en-US"/>
            </a:p>
          </p:txBody>
        </p:sp>
        <p:sp>
          <p:nvSpPr>
            <p:cNvPr id="100" name="Freeform: Shape 31">
              <a:extLst>
                <a:ext uri="{FF2B5EF4-FFF2-40B4-BE49-F238E27FC236}">
                  <a16:creationId xmlns:a16="http://schemas.microsoft.com/office/drawing/2014/main" id="{1156BBB8-8125-E247-8685-9F9E723E8039}"/>
                </a:ext>
              </a:extLst>
            </p:cNvPr>
            <p:cNvSpPr/>
            <p:nvPr/>
          </p:nvSpPr>
          <p:spPr>
            <a:xfrm>
              <a:off x="8057663" y="3391084"/>
              <a:ext cx="284189" cy="321257"/>
            </a:xfrm>
            <a:custGeom>
              <a:avLst/>
              <a:gdLst>
                <a:gd name="connsiteX0" fmla="*/ 0 w 284188"/>
                <a:gd name="connsiteY0" fmla="*/ 287278 h 321257"/>
                <a:gd name="connsiteX1" fmla="*/ 100455 w 284188"/>
                <a:gd name="connsiteY1" fmla="*/ 290985 h 321257"/>
                <a:gd name="connsiteX2" fmla="*/ 167054 w 284188"/>
                <a:gd name="connsiteY2" fmla="*/ 248851 h 321257"/>
                <a:gd name="connsiteX3" fmla="*/ 287772 w 284188"/>
                <a:gd name="connsiteY3" fmla="*/ 0 h 321257"/>
                <a:gd name="connsiteX4" fmla="*/ 177062 w 284188"/>
                <a:gd name="connsiteY4" fmla="*/ 294074 h 321257"/>
                <a:gd name="connsiteX5" fmla="*/ 130109 w 284188"/>
                <a:gd name="connsiteY5" fmla="*/ 323358 h 321257"/>
                <a:gd name="connsiteX6" fmla="*/ 1730 w 284188"/>
                <a:gd name="connsiteY6" fmla="*/ 313596 h 321257"/>
                <a:gd name="connsiteX7" fmla="*/ 0 w 284188"/>
                <a:gd name="connsiteY7" fmla="*/ 287278 h 321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188" h="321257">
                  <a:moveTo>
                    <a:pt x="0" y="287278"/>
                  </a:moveTo>
                  <a:lnTo>
                    <a:pt x="100455" y="290985"/>
                  </a:lnTo>
                  <a:cubicBezTo>
                    <a:pt x="128750" y="290120"/>
                    <a:pt x="154204" y="273933"/>
                    <a:pt x="167054" y="248851"/>
                  </a:cubicBezTo>
                  <a:lnTo>
                    <a:pt x="287772" y="0"/>
                  </a:lnTo>
                  <a:cubicBezTo>
                    <a:pt x="239213" y="145925"/>
                    <a:pt x="177062" y="294074"/>
                    <a:pt x="177062" y="294074"/>
                  </a:cubicBezTo>
                  <a:cubicBezTo>
                    <a:pt x="169402" y="312978"/>
                    <a:pt x="150497" y="324840"/>
                    <a:pt x="130109" y="323358"/>
                  </a:cubicBezTo>
                  <a:lnTo>
                    <a:pt x="1730" y="313596"/>
                  </a:lnTo>
                  <a:lnTo>
                    <a:pt x="0" y="287278"/>
                  </a:lnTo>
                  <a:close/>
                </a:path>
              </a:pathLst>
            </a:custGeom>
            <a:solidFill>
              <a:schemeClr val="accent3"/>
            </a:solidFill>
            <a:ln w="12353" cap="flat">
              <a:noFill/>
              <a:prstDash val="solid"/>
              <a:miter/>
            </a:ln>
          </p:spPr>
          <p:txBody>
            <a:bodyPr rtlCol="0" anchor="ctr"/>
            <a:lstStyle/>
            <a:p>
              <a:endParaRPr lang="en-US"/>
            </a:p>
          </p:txBody>
        </p:sp>
        <p:sp>
          <p:nvSpPr>
            <p:cNvPr id="101" name="Freeform: Shape 32">
              <a:extLst>
                <a:ext uri="{FF2B5EF4-FFF2-40B4-BE49-F238E27FC236}">
                  <a16:creationId xmlns:a16="http://schemas.microsoft.com/office/drawing/2014/main" id="{7D8E98CC-1F7C-CA41-9AFE-D2890B7A7B4C}"/>
                </a:ext>
              </a:extLst>
            </p:cNvPr>
            <p:cNvSpPr/>
            <p:nvPr/>
          </p:nvSpPr>
          <p:spPr>
            <a:xfrm>
              <a:off x="8133158" y="3053887"/>
              <a:ext cx="111204" cy="222409"/>
            </a:xfrm>
            <a:custGeom>
              <a:avLst/>
              <a:gdLst>
                <a:gd name="connsiteX0" fmla="*/ 103049 w 111204"/>
                <a:gd name="connsiteY0" fmla="*/ 226239 h 222408"/>
                <a:gd name="connsiteX1" fmla="*/ 0 w 111204"/>
                <a:gd name="connsiteY1" fmla="*/ 217590 h 222408"/>
                <a:gd name="connsiteX2" fmla="*/ 16186 w 111204"/>
                <a:gd name="connsiteY2" fmla="*/ 0 h 222408"/>
                <a:gd name="connsiteX3" fmla="*/ 119236 w 111204"/>
                <a:gd name="connsiteY3" fmla="*/ 8649 h 222408"/>
              </a:gdLst>
              <a:ahLst/>
              <a:cxnLst>
                <a:cxn ang="0">
                  <a:pos x="connsiteX0" y="connsiteY0"/>
                </a:cxn>
                <a:cxn ang="0">
                  <a:pos x="connsiteX1" y="connsiteY1"/>
                </a:cxn>
                <a:cxn ang="0">
                  <a:pos x="connsiteX2" y="connsiteY2"/>
                </a:cxn>
                <a:cxn ang="0">
                  <a:pos x="connsiteX3" y="connsiteY3"/>
                </a:cxn>
              </a:cxnLst>
              <a:rect l="l" t="t" r="r" b="b"/>
              <a:pathLst>
                <a:path w="111204" h="222408">
                  <a:moveTo>
                    <a:pt x="103049" y="226239"/>
                  </a:moveTo>
                  <a:lnTo>
                    <a:pt x="0" y="217590"/>
                  </a:lnTo>
                  <a:lnTo>
                    <a:pt x="16186" y="0"/>
                  </a:lnTo>
                  <a:lnTo>
                    <a:pt x="119236" y="8649"/>
                  </a:lnTo>
                  <a:close/>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102" name="Freeform: Shape 33">
              <a:extLst>
                <a:ext uri="{FF2B5EF4-FFF2-40B4-BE49-F238E27FC236}">
                  <a16:creationId xmlns:a16="http://schemas.microsoft.com/office/drawing/2014/main" id="{0E113D04-F004-CE4C-8EFD-1605D2052B16}"/>
                </a:ext>
              </a:extLst>
            </p:cNvPr>
            <p:cNvSpPr/>
            <p:nvPr/>
          </p:nvSpPr>
          <p:spPr>
            <a:xfrm>
              <a:off x="8136247" y="3090956"/>
              <a:ext cx="98848" cy="135916"/>
            </a:xfrm>
            <a:custGeom>
              <a:avLst/>
              <a:gdLst>
                <a:gd name="connsiteX0" fmla="*/ 0 w 98848"/>
                <a:gd name="connsiteY0" fmla="*/ 138264 h 135916"/>
                <a:gd name="connsiteX1" fmla="*/ 106015 w 98848"/>
                <a:gd name="connsiteY1" fmla="*/ 0 h 135916"/>
                <a:gd name="connsiteX2" fmla="*/ 2224 w 98848"/>
                <a:gd name="connsiteY2" fmla="*/ 108980 h 135916"/>
                <a:gd name="connsiteX3" fmla="*/ 0 w 98848"/>
                <a:gd name="connsiteY3" fmla="*/ 138264 h 135916"/>
              </a:gdLst>
              <a:ahLst/>
              <a:cxnLst>
                <a:cxn ang="0">
                  <a:pos x="connsiteX0" y="connsiteY0"/>
                </a:cxn>
                <a:cxn ang="0">
                  <a:pos x="connsiteX1" y="connsiteY1"/>
                </a:cxn>
                <a:cxn ang="0">
                  <a:pos x="connsiteX2" y="connsiteY2"/>
                </a:cxn>
                <a:cxn ang="0">
                  <a:pos x="connsiteX3" y="connsiteY3"/>
                </a:cxn>
              </a:cxnLst>
              <a:rect l="l" t="t" r="r" b="b"/>
              <a:pathLst>
                <a:path w="98848" h="135916">
                  <a:moveTo>
                    <a:pt x="0" y="138264"/>
                  </a:moveTo>
                  <a:cubicBezTo>
                    <a:pt x="0" y="138264"/>
                    <a:pt x="94524" y="156798"/>
                    <a:pt x="106015" y="0"/>
                  </a:cubicBezTo>
                  <a:lnTo>
                    <a:pt x="2224" y="108980"/>
                  </a:lnTo>
                  <a:lnTo>
                    <a:pt x="0" y="138264"/>
                  </a:lnTo>
                  <a:close/>
                </a:path>
              </a:pathLst>
            </a:custGeom>
            <a:solidFill>
              <a:schemeClr val="accent4">
                <a:lumMod val="40000"/>
                <a:lumOff val="60000"/>
              </a:schemeClr>
            </a:solidFill>
            <a:ln w="12353" cap="flat">
              <a:noFill/>
              <a:prstDash val="solid"/>
              <a:miter/>
            </a:ln>
          </p:spPr>
          <p:txBody>
            <a:bodyPr rtlCol="0" anchor="ctr"/>
            <a:lstStyle/>
            <a:p>
              <a:endParaRPr lang="en-US"/>
            </a:p>
          </p:txBody>
        </p:sp>
        <p:sp>
          <p:nvSpPr>
            <p:cNvPr id="103" name="Freeform: Shape 34">
              <a:extLst>
                <a:ext uri="{FF2B5EF4-FFF2-40B4-BE49-F238E27FC236}">
                  <a16:creationId xmlns:a16="http://schemas.microsoft.com/office/drawing/2014/main" id="{8D482541-4F33-0240-849D-B6C4917C4920}"/>
                </a:ext>
              </a:extLst>
            </p:cNvPr>
            <p:cNvSpPr/>
            <p:nvPr/>
          </p:nvSpPr>
          <p:spPr>
            <a:xfrm>
              <a:off x="8006198" y="2930942"/>
              <a:ext cx="234765" cy="259477"/>
            </a:xfrm>
            <a:custGeom>
              <a:avLst/>
              <a:gdLst>
                <a:gd name="connsiteX0" fmla="*/ 109785 w 234764"/>
                <a:gd name="connsiteY0" fmla="*/ 269364 h 259476"/>
                <a:gd name="connsiteX1" fmla="*/ 109785 w 234764"/>
                <a:gd name="connsiteY1" fmla="*/ 269364 h 259476"/>
                <a:gd name="connsiteX2" fmla="*/ 311 w 234764"/>
                <a:gd name="connsiteY2" fmla="*/ 142962 h 259476"/>
                <a:gd name="connsiteX3" fmla="*/ 7107 w 234764"/>
                <a:gd name="connsiteY3" fmla="*/ 48315 h 259476"/>
                <a:gd name="connsiteX4" fmla="*/ 62709 w 234764"/>
                <a:gd name="connsiteY4" fmla="*/ 126 h 259476"/>
                <a:gd name="connsiteX5" fmla="*/ 246690 w 234764"/>
                <a:gd name="connsiteY5" fmla="*/ 13223 h 259476"/>
                <a:gd name="connsiteX6" fmla="*/ 236188 w 234764"/>
                <a:gd name="connsiteY6" fmla="*/ 159766 h 259476"/>
                <a:gd name="connsiteX7" fmla="*/ 109785 w 234764"/>
                <a:gd name="connsiteY7" fmla="*/ 269364 h 25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764" h="259476">
                  <a:moveTo>
                    <a:pt x="109785" y="269364"/>
                  </a:moveTo>
                  <a:lnTo>
                    <a:pt x="109785" y="269364"/>
                  </a:lnTo>
                  <a:cubicBezTo>
                    <a:pt x="44669" y="264669"/>
                    <a:pt x="-4385" y="208078"/>
                    <a:pt x="311" y="142962"/>
                  </a:cubicBezTo>
                  <a:lnTo>
                    <a:pt x="7107" y="48315"/>
                  </a:lnTo>
                  <a:cubicBezTo>
                    <a:pt x="9207" y="19649"/>
                    <a:pt x="34043" y="-1851"/>
                    <a:pt x="62709" y="126"/>
                  </a:cubicBezTo>
                  <a:lnTo>
                    <a:pt x="246690" y="13223"/>
                  </a:lnTo>
                  <a:lnTo>
                    <a:pt x="236188" y="159766"/>
                  </a:lnTo>
                  <a:cubicBezTo>
                    <a:pt x="231492" y="225006"/>
                    <a:pt x="174902" y="274060"/>
                    <a:pt x="109785" y="269364"/>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104" name="Freeform: Shape 35">
              <a:extLst>
                <a:ext uri="{FF2B5EF4-FFF2-40B4-BE49-F238E27FC236}">
                  <a16:creationId xmlns:a16="http://schemas.microsoft.com/office/drawing/2014/main" id="{9CD4D21D-81EC-AB44-BF95-4B70B0F4E4E2}"/>
                </a:ext>
              </a:extLst>
            </p:cNvPr>
            <p:cNvSpPr/>
            <p:nvPr/>
          </p:nvSpPr>
          <p:spPr>
            <a:xfrm>
              <a:off x="7963603" y="2829283"/>
              <a:ext cx="308901" cy="234765"/>
            </a:xfrm>
            <a:custGeom>
              <a:avLst/>
              <a:gdLst>
                <a:gd name="connsiteX0" fmla="*/ 288297 w 308901"/>
                <a:gd name="connsiteY0" fmla="*/ 243757 h 234764"/>
                <a:gd name="connsiteX1" fmla="*/ 247275 w 308901"/>
                <a:gd name="connsiteY1" fmla="*/ 241162 h 234764"/>
                <a:gd name="connsiteX2" fmla="*/ 247399 w 308901"/>
                <a:gd name="connsiteY2" fmla="*/ 182224 h 234764"/>
                <a:gd name="connsiteX3" fmla="*/ 271864 w 308901"/>
                <a:gd name="connsiteY3" fmla="*/ 141202 h 234764"/>
                <a:gd name="connsiteX4" fmla="*/ 52050 w 308901"/>
                <a:gd name="connsiteY4" fmla="*/ 130081 h 234764"/>
                <a:gd name="connsiteX5" fmla="*/ 2873 w 308901"/>
                <a:gd name="connsiteY5" fmla="*/ 52732 h 234764"/>
                <a:gd name="connsiteX6" fmla="*/ 63170 w 308901"/>
                <a:gd name="connsiteY6" fmla="*/ 96 h 234764"/>
                <a:gd name="connsiteX7" fmla="*/ 82940 w 308901"/>
                <a:gd name="connsiteY7" fmla="*/ 32839 h 234764"/>
                <a:gd name="connsiteX8" fmla="*/ 82940 w 308901"/>
                <a:gd name="connsiteY8" fmla="*/ 32839 h 234764"/>
                <a:gd name="connsiteX9" fmla="*/ 307696 w 308901"/>
                <a:gd name="connsiteY9" fmla="*/ 80657 h 234764"/>
                <a:gd name="connsiteX10" fmla="*/ 294599 w 308901"/>
                <a:gd name="connsiteY10" fmla="*/ 168014 h 234764"/>
                <a:gd name="connsiteX11" fmla="*/ 288297 w 308901"/>
                <a:gd name="connsiteY11" fmla="*/ 243757 h 23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8901" h="234764">
                  <a:moveTo>
                    <a:pt x="288297" y="243757"/>
                  </a:moveTo>
                  <a:lnTo>
                    <a:pt x="247275" y="241162"/>
                  </a:lnTo>
                  <a:lnTo>
                    <a:pt x="247399" y="182224"/>
                  </a:lnTo>
                  <a:cubicBezTo>
                    <a:pt x="247399" y="182224"/>
                    <a:pt x="244928" y="142808"/>
                    <a:pt x="271864" y="141202"/>
                  </a:cubicBezTo>
                  <a:lnTo>
                    <a:pt x="52050" y="130081"/>
                  </a:lnTo>
                  <a:cubicBezTo>
                    <a:pt x="52050" y="130081"/>
                    <a:pt x="-14426" y="120073"/>
                    <a:pt x="2873" y="52732"/>
                  </a:cubicBezTo>
                  <a:cubicBezTo>
                    <a:pt x="12758" y="14305"/>
                    <a:pt x="47354" y="-1387"/>
                    <a:pt x="63170" y="96"/>
                  </a:cubicBezTo>
                  <a:cubicBezTo>
                    <a:pt x="75279" y="1208"/>
                    <a:pt x="82940" y="20730"/>
                    <a:pt x="82940" y="32839"/>
                  </a:cubicBezTo>
                  <a:lnTo>
                    <a:pt x="82940" y="32839"/>
                  </a:lnTo>
                  <a:cubicBezTo>
                    <a:pt x="82940" y="32839"/>
                    <a:pt x="299789" y="-8677"/>
                    <a:pt x="307696" y="80657"/>
                  </a:cubicBezTo>
                  <a:cubicBezTo>
                    <a:pt x="313998" y="152075"/>
                    <a:pt x="294599" y="168014"/>
                    <a:pt x="294599" y="168014"/>
                  </a:cubicBezTo>
                  <a:lnTo>
                    <a:pt x="288297" y="243757"/>
                  </a:lnTo>
                  <a:close/>
                </a:path>
              </a:pathLst>
            </a:custGeom>
            <a:solidFill>
              <a:srgbClr val="162836"/>
            </a:solidFill>
            <a:ln w="12353" cap="flat">
              <a:noFill/>
              <a:prstDash val="solid"/>
              <a:miter/>
            </a:ln>
          </p:spPr>
          <p:txBody>
            <a:bodyPr rtlCol="0" anchor="ctr"/>
            <a:lstStyle/>
            <a:p>
              <a:endParaRPr lang="en-US"/>
            </a:p>
          </p:txBody>
        </p:sp>
        <p:sp>
          <p:nvSpPr>
            <p:cNvPr id="105" name="Freeform: Shape 36">
              <a:extLst>
                <a:ext uri="{FF2B5EF4-FFF2-40B4-BE49-F238E27FC236}">
                  <a16:creationId xmlns:a16="http://schemas.microsoft.com/office/drawing/2014/main" id="{1A6F06FE-ACAE-A945-B975-94A9B73DC5F5}"/>
                </a:ext>
              </a:extLst>
            </p:cNvPr>
            <p:cNvSpPr/>
            <p:nvPr/>
          </p:nvSpPr>
          <p:spPr>
            <a:xfrm>
              <a:off x="8251900" y="2913245"/>
              <a:ext cx="49424" cy="148272"/>
            </a:xfrm>
            <a:custGeom>
              <a:avLst/>
              <a:gdLst>
                <a:gd name="connsiteX0" fmla="*/ 3830 w 49424"/>
                <a:gd name="connsiteY0" fmla="*/ 31 h 148272"/>
                <a:gd name="connsiteX1" fmla="*/ 59309 w 49424"/>
                <a:gd name="connsiteY1" fmla="*/ 42783 h 148272"/>
                <a:gd name="connsiteX2" fmla="*/ 0 w 49424"/>
                <a:gd name="connsiteY2" fmla="*/ 159795 h 148272"/>
                <a:gd name="connsiteX3" fmla="*/ 989 w 49424"/>
                <a:gd name="connsiteY3" fmla="*/ 31045 h 148272"/>
                <a:gd name="connsiteX4" fmla="*/ 3830 w 49424"/>
                <a:gd name="connsiteY4" fmla="*/ 31 h 148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24" h="148272">
                  <a:moveTo>
                    <a:pt x="3830" y="31"/>
                  </a:moveTo>
                  <a:cubicBezTo>
                    <a:pt x="3830" y="31"/>
                    <a:pt x="55108" y="-2687"/>
                    <a:pt x="59309" y="42783"/>
                  </a:cubicBezTo>
                  <a:cubicBezTo>
                    <a:pt x="66476" y="121491"/>
                    <a:pt x="0" y="159795"/>
                    <a:pt x="0" y="159795"/>
                  </a:cubicBezTo>
                  <a:lnTo>
                    <a:pt x="989" y="31045"/>
                  </a:lnTo>
                  <a:lnTo>
                    <a:pt x="3830" y="31"/>
                  </a:lnTo>
                  <a:close/>
                </a:path>
              </a:pathLst>
            </a:custGeom>
            <a:solidFill>
              <a:srgbClr val="162836"/>
            </a:solidFill>
            <a:ln w="12353" cap="flat">
              <a:noFill/>
              <a:prstDash val="solid"/>
              <a:miter/>
            </a:ln>
          </p:spPr>
          <p:txBody>
            <a:bodyPr rtlCol="0" anchor="ctr"/>
            <a:lstStyle/>
            <a:p>
              <a:endParaRPr lang="en-US"/>
            </a:p>
          </p:txBody>
        </p:sp>
        <p:sp>
          <p:nvSpPr>
            <p:cNvPr id="106" name="Freeform: Shape 37">
              <a:extLst>
                <a:ext uri="{FF2B5EF4-FFF2-40B4-BE49-F238E27FC236}">
                  <a16:creationId xmlns:a16="http://schemas.microsoft.com/office/drawing/2014/main" id="{3308F381-1F77-AB4F-99A6-35296AC6F625}"/>
                </a:ext>
              </a:extLst>
            </p:cNvPr>
            <p:cNvSpPr/>
            <p:nvPr/>
          </p:nvSpPr>
          <p:spPr>
            <a:xfrm>
              <a:off x="8225793" y="3021355"/>
              <a:ext cx="74136" cy="74136"/>
            </a:xfrm>
            <a:custGeom>
              <a:avLst/>
              <a:gdLst>
                <a:gd name="connsiteX0" fmla="*/ 72813 w 74136"/>
                <a:gd name="connsiteY0" fmla="*/ 47607 h 74136"/>
                <a:gd name="connsiteX1" fmla="*/ 26725 w 74136"/>
                <a:gd name="connsiteY1" fmla="*/ 72813 h 74136"/>
                <a:gd name="connsiteX2" fmla="*/ 1519 w 74136"/>
                <a:gd name="connsiteY2" fmla="*/ 26725 h 74136"/>
                <a:gd name="connsiteX3" fmla="*/ 47607 w 74136"/>
                <a:gd name="connsiteY3" fmla="*/ 1519 h 74136"/>
                <a:gd name="connsiteX4" fmla="*/ 72813 w 74136"/>
                <a:gd name="connsiteY4" fmla="*/ 47607 h 74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36" h="74136">
                  <a:moveTo>
                    <a:pt x="72813" y="47607"/>
                  </a:moveTo>
                  <a:cubicBezTo>
                    <a:pt x="67006" y="67253"/>
                    <a:pt x="46371" y="78620"/>
                    <a:pt x="26725" y="72813"/>
                  </a:cubicBezTo>
                  <a:cubicBezTo>
                    <a:pt x="7079" y="67006"/>
                    <a:pt x="-4289" y="46371"/>
                    <a:pt x="1519" y="26725"/>
                  </a:cubicBezTo>
                  <a:cubicBezTo>
                    <a:pt x="7202" y="7079"/>
                    <a:pt x="27961" y="-4289"/>
                    <a:pt x="47607" y="1519"/>
                  </a:cubicBezTo>
                  <a:cubicBezTo>
                    <a:pt x="67253" y="7326"/>
                    <a:pt x="78497" y="27961"/>
                    <a:pt x="72813" y="47607"/>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107" name="Freeform: Shape 38">
              <a:extLst>
                <a:ext uri="{FF2B5EF4-FFF2-40B4-BE49-F238E27FC236}">
                  <a16:creationId xmlns:a16="http://schemas.microsoft.com/office/drawing/2014/main" id="{48DD9216-4250-0941-A981-5B7A8DF14AF5}"/>
                </a:ext>
              </a:extLst>
            </p:cNvPr>
            <p:cNvSpPr/>
            <p:nvPr/>
          </p:nvSpPr>
          <p:spPr>
            <a:xfrm>
              <a:off x="8036658" y="2834695"/>
              <a:ext cx="37068" cy="37068"/>
            </a:xfrm>
            <a:custGeom>
              <a:avLst/>
              <a:gdLst>
                <a:gd name="connsiteX0" fmla="*/ 0 w 37068"/>
                <a:gd name="connsiteY0" fmla="*/ 39783 h 37068"/>
                <a:gd name="connsiteX1" fmla="*/ 35585 w 37068"/>
                <a:gd name="connsiteY1" fmla="*/ 120 h 37068"/>
                <a:gd name="connsiteX2" fmla="*/ 28048 w 37068"/>
                <a:gd name="connsiteY2" fmla="*/ 45961 h 37068"/>
                <a:gd name="connsiteX3" fmla="*/ 0 w 37068"/>
                <a:gd name="connsiteY3" fmla="*/ 39783 h 37068"/>
              </a:gdLst>
              <a:ahLst/>
              <a:cxnLst>
                <a:cxn ang="0">
                  <a:pos x="connsiteX0" y="connsiteY0"/>
                </a:cxn>
                <a:cxn ang="0">
                  <a:pos x="connsiteX1" y="connsiteY1"/>
                </a:cxn>
                <a:cxn ang="0">
                  <a:pos x="connsiteX2" y="connsiteY2"/>
                </a:cxn>
                <a:cxn ang="0">
                  <a:pos x="connsiteX3" y="connsiteY3"/>
                </a:cxn>
              </a:cxnLst>
              <a:rect l="l" t="t" r="r" b="b"/>
              <a:pathLst>
                <a:path w="37068" h="37068">
                  <a:moveTo>
                    <a:pt x="0" y="39783"/>
                  </a:moveTo>
                  <a:cubicBezTo>
                    <a:pt x="0" y="39783"/>
                    <a:pt x="18781" y="2962"/>
                    <a:pt x="35585" y="120"/>
                  </a:cubicBezTo>
                  <a:cubicBezTo>
                    <a:pt x="52389" y="-2722"/>
                    <a:pt x="28048" y="45961"/>
                    <a:pt x="28048" y="45961"/>
                  </a:cubicBezTo>
                  <a:lnTo>
                    <a:pt x="0" y="39783"/>
                  </a:lnTo>
                  <a:close/>
                </a:path>
              </a:pathLst>
            </a:custGeom>
            <a:solidFill>
              <a:srgbClr val="162836"/>
            </a:solidFill>
            <a:ln w="12353" cap="flat">
              <a:noFill/>
              <a:prstDash val="solid"/>
              <a:miter/>
            </a:ln>
          </p:spPr>
          <p:txBody>
            <a:bodyPr rtlCol="0" anchor="ctr"/>
            <a:lstStyle/>
            <a:p>
              <a:endParaRPr lang="en-US"/>
            </a:p>
          </p:txBody>
        </p:sp>
        <p:sp>
          <p:nvSpPr>
            <p:cNvPr id="108" name="Freeform: Shape 39">
              <a:extLst>
                <a:ext uri="{FF2B5EF4-FFF2-40B4-BE49-F238E27FC236}">
                  <a16:creationId xmlns:a16="http://schemas.microsoft.com/office/drawing/2014/main" id="{43EA8E70-F1B6-E74A-BB49-FB17D4A6E3DF}"/>
                </a:ext>
              </a:extLst>
            </p:cNvPr>
            <p:cNvSpPr/>
            <p:nvPr/>
          </p:nvSpPr>
          <p:spPr>
            <a:xfrm>
              <a:off x="8252221" y="2874601"/>
              <a:ext cx="24712" cy="49424"/>
            </a:xfrm>
            <a:custGeom>
              <a:avLst/>
              <a:gdLst>
                <a:gd name="connsiteX0" fmla="*/ 3509 w 24712"/>
                <a:gd name="connsiteY0" fmla="*/ 59062 h 49424"/>
                <a:gd name="connsiteX1" fmla="*/ 791 w 24712"/>
                <a:gd name="connsiteY1" fmla="*/ 57703 h 49424"/>
                <a:gd name="connsiteX2" fmla="*/ 1285 w 24712"/>
                <a:gd name="connsiteY2" fmla="*/ 52760 h 49424"/>
                <a:gd name="connsiteX3" fmla="*/ 26492 w 24712"/>
                <a:gd name="connsiteY3" fmla="*/ 3583 h 49424"/>
                <a:gd name="connsiteX4" fmla="*/ 29828 w 24712"/>
                <a:gd name="connsiteY4" fmla="*/ 0 h 49424"/>
                <a:gd name="connsiteX5" fmla="*/ 29951 w 24712"/>
                <a:gd name="connsiteY5" fmla="*/ 0 h 49424"/>
                <a:gd name="connsiteX6" fmla="*/ 33411 w 24712"/>
                <a:gd name="connsiteY6" fmla="*/ 3336 h 49424"/>
                <a:gd name="connsiteX7" fmla="*/ 5610 w 24712"/>
                <a:gd name="connsiteY7" fmla="*/ 58321 h 49424"/>
                <a:gd name="connsiteX8" fmla="*/ 3509 w 24712"/>
                <a:gd name="connsiteY8" fmla="*/ 59062 h 49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12" h="49424">
                  <a:moveTo>
                    <a:pt x="3509" y="59062"/>
                  </a:moveTo>
                  <a:cubicBezTo>
                    <a:pt x="2521" y="59062"/>
                    <a:pt x="1533" y="58568"/>
                    <a:pt x="791" y="57703"/>
                  </a:cubicBezTo>
                  <a:cubicBezTo>
                    <a:pt x="-444" y="56220"/>
                    <a:pt x="-197" y="53996"/>
                    <a:pt x="1285" y="52760"/>
                  </a:cubicBezTo>
                  <a:cubicBezTo>
                    <a:pt x="27233" y="31755"/>
                    <a:pt x="26492" y="3830"/>
                    <a:pt x="26492" y="3583"/>
                  </a:cubicBezTo>
                  <a:cubicBezTo>
                    <a:pt x="26368" y="1606"/>
                    <a:pt x="27974" y="0"/>
                    <a:pt x="29828" y="0"/>
                  </a:cubicBezTo>
                  <a:lnTo>
                    <a:pt x="29951" y="0"/>
                  </a:lnTo>
                  <a:cubicBezTo>
                    <a:pt x="31805" y="0"/>
                    <a:pt x="33411" y="1483"/>
                    <a:pt x="33411" y="3336"/>
                  </a:cubicBezTo>
                  <a:cubicBezTo>
                    <a:pt x="33411" y="4572"/>
                    <a:pt x="34399" y="34968"/>
                    <a:pt x="5610" y="58321"/>
                  </a:cubicBezTo>
                  <a:cubicBezTo>
                    <a:pt x="4992" y="58815"/>
                    <a:pt x="4251" y="59062"/>
                    <a:pt x="3509" y="59062"/>
                  </a:cubicBezTo>
                </a:path>
              </a:pathLst>
            </a:custGeom>
            <a:solidFill>
              <a:srgbClr val="162836"/>
            </a:solidFill>
            <a:ln w="12353" cap="flat">
              <a:noFill/>
              <a:prstDash val="solid"/>
              <a:miter/>
            </a:ln>
          </p:spPr>
          <p:txBody>
            <a:bodyPr rtlCol="0" anchor="ctr"/>
            <a:lstStyle/>
            <a:p>
              <a:endParaRPr lang="en-US"/>
            </a:p>
          </p:txBody>
        </p:sp>
        <p:sp>
          <p:nvSpPr>
            <p:cNvPr id="109" name="Freeform: Shape 40">
              <a:extLst>
                <a:ext uri="{FF2B5EF4-FFF2-40B4-BE49-F238E27FC236}">
                  <a16:creationId xmlns:a16="http://schemas.microsoft.com/office/drawing/2014/main" id="{8C7AB339-EAAF-DD43-AA34-AEB6667A6B29}"/>
                </a:ext>
              </a:extLst>
            </p:cNvPr>
            <p:cNvSpPr/>
            <p:nvPr/>
          </p:nvSpPr>
          <p:spPr>
            <a:xfrm>
              <a:off x="8261881" y="2900796"/>
              <a:ext cx="49424" cy="24712"/>
            </a:xfrm>
            <a:custGeom>
              <a:avLst/>
              <a:gdLst>
                <a:gd name="connsiteX0" fmla="*/ 3610 w 49424"/>
                <a:gd name="connsiteY0" fmla="*/ 36080 h 24712"/>
                <a:gd name="connsiteX1" fmla="*/ 3116 w 49424"/>
                <a:gd name="connsiteY1" fmla="*/ 36080 h 24712"/>
                <a:gd name="connsiteX2" fmla="*/ 27 w 49424"/>
                <a:gd name="connsiteY2" fmla="*/ 32126 h 24712"/>
                <a:gd name="connsiteX3" fmla="*/ 45991 w 49424"/>
                <a:gd name="connsiteY3" fmla="*/ 0 h 24712"/>
                <a:gd name="connsiteX4" fmla="*/ 46362 w 49424"/>
                <a:gd name="connsiteY4" fmla="*/ 0 h 24712"/>
                <a:gd name="connsiteX5" fmla="*/ 49822 w 49424"/>
                <a:gd name="connsiteY5" fmla="*/ 3213 h 24712"/>
                <a:gd name="connsiteX6" fmla="*/ 46609 w 49424"/>
                <a:gd name="connsiteY6" fmla="*/ 7043 h 24712"/>
                <a:gd name="connsiteX7" fmla="*/ 6946 w 49424"/>
                <a:gd name="connsiteY7" fmla="*/ 33114 h 24712"/>
                <a:gd name="connsiteX8" fmla="*/ 3610 w 49424"/>
                <a:gd name="connsiteY8" fmla="*/ 36080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24" h="24712">
                  <a:moveTo>
                    <a:pt x="3610" y="36080"/>
                  </a:moveTo>
                  <a:cubicBezTo>
                    <a:pt x="3487" y="36080"/>
                    <a:pt x="3363" y="36080"/>
                    <a:pt x="3116" y="36080"/>
                  </a:cubicBezTo>
                  <a:cubicBezTo>
                    <a:pt x="1263" y="35832"/>
                    <a:pt x="-220" y="34103"/>
                    <a:pt x="27" y="32126"/>
                  </a:cubicBezTo>
                  <a:cubicBezTo>
                    <a:pt x="3363" y="4448"/>
                    <a:pt x="44138" y="123"/>
                    <a:pt x="45991" y="0"/>
                  </a:cubicBezTo>
                  <a:cubicBezTo>
                    <a:pt x="46115" y="0"/>
                    <a:pt x="46239" y="0"/>
                    <a:pt x="46362" y="0"/>
                  </a:cubicBezTo>
                  <a:cubicBezTo>
                    <a:pt x="48092" y="0"/>
                    <a:pt x="49698" y="1359"/>
                    <a:pt x="49822" y="3213"/>
                  </a:cubicBezTo>
                  <a:cubicBezTo>
                    <a:pt x="50069" y="5190"/>
                    <a:pt x="48587" y="6919"/>
                    <a:pt x="46609" y="7043"/>
                  </a:cubicBezTo>
                  <a:cubicBezTo>
                    <a:pt x="46239" y="7043"/>
                    <a:pt x="9665" y="10997"/>
                    <a:pt x="6946" y="33114"/>
                  </a:cubicBezTo>
                  <a:cubicBezTo>
                    <a:pt x="6946" y="34720"/>
                    <a:pt x="5464" y="36080"/>
                    <a:pt x="3610" y="36080"/>
                  </a:cubicBezTo>
                </a:path>
              </a:pathLst>
            </a:custGeom>
            <a:solidFill>
              <a:srgbClr val="162836"/>
            </a:solidFill>
            <a:ln w="12353" cap="flat">
              <a:noFill/>
              <a:prstDash val="solid"/>
              <a:miter/>
            </a:ln>
          </p:spPr>
          <p:txBody>
            <a:bodyPr rtlCol="0" anchor="ctr"/>
            <a:lstStyle/>
            <a:p>
              <a:endParaRPr lang="en-US"/>
            </a:p>
          </p:txBody>
        </p:sp>
        <p:sp>
          <p:nvSpPr>
            <p:cNvPr id="110" name="Freeform: Shape 41">
              <a:extLst>
                <a:ext uri="{FF2B5EF4-FFF2-40B4-BE49-F238E27FC236}">
                  <a16:creationId xmlns:a16="http://schemas.microsoft.com/office/drawing/2014/main" id="{26CC400A-8F23-284A-A064-6C84F47AE2A7}"/>
                </a:ext>
              </a:extLst>
            </p:cNvPr>
            <p:cNvSpPr/>
            <p:nvPr/>
          </p:nvSpPr>
          <p:spPr>
            <a:xfrm>
              <a:off x="4583020" y="1612050"/>
              <a:ext cx="827855" cy="172985"/>
            </a:xfrm>
            <a:custGeom>
              <a:avLst/>
              <a:gdLst>
                <a:gd name="connsiteX0" fmla="*/ 0 w 827854"/>
                <a:gd name="connsiteY0" fmla="*/ 179420 h 172984"/>
                <a:gd name="connsiteX1" fmla="*/ 48189 w 827854"/>
                <a:gd name="connsiteY1" fmla="*/ 129255 h 172984"/>
                <a:gd name="connsiteX2" fmla="*/ 240078 w 827854"/>
                <a:gd name="connsiteY2" fmla="*/ 87738 h 172984"/>
                <a:gd name="connsiteX3" fmla="*/ 267632 w 827854"/>
                <a:gd name="connsiteY3" fmla="*/ 98241 h 172984"/>
                <a:gd name="connsiteX4" fmla="*/ 345228 w 827854"/>
                <a:gd name="connsiteY4" fmla="*/ 76000 h 172984"/>
                <a:gd name="connsiteX5" fmla="*/ 493747 w 827854"/>
                <a:gd name="connsiteY5" fmla="*/ 11 h 172984"/>
                <a:gd name="connsiteX6" fmla="*/ 659689 w 827854"/>
                <a:gd name="connsiteY6" fmla="*/ 133085 h 172984"/>
                <a:gd name="connsiteX7" fmla="*/ 837245 w 827854"/>
                <a:gd name="connsiteY7" fmla="*/ 175590 h 172984"/>
                <a:gd name="connsiteX8" fmla="*/ 0 w 827854"/>
                <a:gd name="connsiteY8" fmla="*/ 179420 h 17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7854" h="172984">
                  <a:moveTo>
                    <a:pt x="0" y="179420"/>
                  </a:moveTo>
                  <a:cubicBezTo>
                    <a:pt x="0" y="179420"/>
                    <a:pt x="29902" y="145071"/>
                    <a:pt x="48189" y="129255"/>
                  </a:cubicBezTo>
                  <a:cubicBezTo>
                    <a:pt x="81179" y="100836"/>
                    <a:pt x="119112" y="50670"/>
                    <a:pt x="240078" y="87738"/>
                  </a:cubicBezTo>
                  <a:cubicBezTo>
                    <a:pt x="249468" y="90580"/>
                    <a:pt x="258612" y="94411"/>
                    <a:pt x="267632" y="98241"/>
                  </a:cubicBezTo>
                  <a:cubicBezTo>
                    <a:pt x="278258" y="102813"/>
                    <a:pt x="311372" y="102936"/>
                    <a:pt x="345228" y="76000"/>
                  </a:cubicBezTo>
                  <a:cubicBezTo>
                    <a:pt x="399100" y="33248"/>
                    <a:pt x="420105" y="999"/>
                    <a:pt x="493747" y="11"/>
                  </a:cubicBezTo>
                  <a:cubicBezTo>
                    <a:pt x="579498" y="-1225"/>
                    <a:pt x="592967" y="105778"/>
                    <a:pt x="659689" y="133085"/>
                  </a:cubicBezTo>
                  <a:cubicBezTo>
                    <a:pt x="702070" y="150507"/>
                    <a:pt x="814016" y="167806"/>
                    <a:pt x="837245" y="175590"/>
                  </a:cubicBezTo>
                  <a:lnTo>
                    <a:pt x="0" y="179420"/>
                  </a:lnTo>
                  <a:close/>
                </a:path>
              </a:pathLst>
            </a:custGeom>
            <a:solidFill>
              <a:schemeClr val="bg1">
                <a:lumMod val="75000"/>
              </a:schemeClr>
            </a:solidFill>
            <a:ln w="12353" cap="flat">
              <a:noFill/>
              <a:prstDash val="solid"/>
              <a:miter/>
            </a:ln>
          </p:spPr>
          <p:txBody>
            <a:bodyPr rtlCol="0" anchor="ctr"/>
            <a:lstStyle/>
            <a:p>
              <a:endParaRPr lang="en-US"/>
            </a:p>
          </p:txBody>
        </p:sp>
        <p:sp>
          <p:nvSpPr>
            <p:cNvPr id="111" name="Freeform: Shape 42">
              <a:extLst>
                <a:ext uri="{FF2B5EF4-FFF2-40B4-BE49-F238E27FC236}">
                  <a16:creationId xmlns:a16="http://schemas.microsoft.com/office/drawing/2014/main" id="{389D063F-C755-C942-ABF3-1ECC1B99F7F0}"/>
                </a:ext>
              </a:extLst>
            </p:cNvPr>
            <p:cNvSpPr/>
            <p:nvPr/>
          </p:nvSpPr>
          <p:spPr>
            <a:xfrm>
              <a:off x="7327668" y="983864"/>
              <a:ext cx="1408589" cy="296545"/>
            </a:xfrm>
            <a:custGeom>
              <a:avLst/>
              <a:gdLst>
                <a:gd name="connsiteX0" fmla="*/ 0 w 1408588"/>
                <a:gd name="connsiteY0" fmla="*/ 302986 h 296544"/>
                <a:gd name="connsiteX1" fmla="*/ 81426 w 1408588"/>
                <a:gd name="connsiteY1" fmla="*/ 218347 h 296544"/>
                <a:gd name="connsiteX2" fmla="*/ 405402 w 1408588"/>
                <a:gd name="connsiteY2" fmla="*/ 148165 h 296544"/>
                <a:gd name="connsiteX3" fmla="*/ 451984 w 1408588"/>
                <a:gd name="connsiteY3" fmla="*/ 165958 h 296544"/>
                <a:gd name="connsiteX4" fmla="*/ 582958 w 1408588"/>
                <a:gd name="connsiteY4" fmla="*/ 128395 h 296544"/>
                <a:gd name="connsiteX5" fmla="*/ 833786 w 1408588"/>
                <a:gd name="connsiteY5" fmla="*/ 16 h 296544"/>
                <a:gd name="connsiteX6" fmla="*/ 1113897 w 1408588"/>
                <a:gd name="connsiteY6" fmla="*/ 224773 h 296544"/>
                <a:gd name="connsiteX7" fmla="*/ 1413531 w 1408588"/>
                <a:gd name="connsiteY7" fmla="*/ 296438 h 296544"/>
                <a:gd name="connsiteX8" fmla="*/ 0 w 1408588"/>
                <a:gd name="connsiteY8" fmla="*/ 302986 h 29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8588" h="296544">
                  <a:moveTo>
                    <a:pt x="0" y="302986"/>
                  </a:moveTo>
                  <a:cubicBezTo>
                    <a:pt x="0" y="302986"/>
                    <a:pt x="50536" y="244913"/>
                    <a:pt x="81426" y="218347"/>
                  </a:cubicBezTo>
                  <a:cubicBezTo>
                    <a:pt x="137152" y="170406"/>
                    <a:pt x="201033" y="85767"/>
                    <a:pt x="405402" y="148165"/>
                  </a:cubicBezTo>
                  <a:cubicBezTo>
                    <a:pt x="421341" y="152984"/>
                    <a:pt x="436662" y="159409"/>
                    <a:pt x="451984" y="165958"/>
                  </a:cubicBezTo>
                  <a:cubicBezTo>
                    <a:pt x="470024" y="173618"/>
                    <a:pt x="525873" y="173742"/>
                    <a:pt x="582958" y="128395"/>
                  </a:cubicBezTo>
                  <a:cubicBezTo>
                    <a:pt x="673899" y="56113"/>
                    <a:pt x="709360" y="1746"/>
                    <a:pt x="833786" y="16"/>
                  </a:cubicBezTo>
                  <a:cubicBezTo>
                    <a:pt x="978599" y="-1961"/>
                    <a:pt x="1001334" y="178561"/>
                    <a:pt x="1113897" y="224773"/>
                  </a:cubicBezTo>
                  <a:cubicBezTo>
                    <a:pt x="1185562" y="254180"/>
                    <a:pt x="1374486" y="283340"/>
                    <a:pt x="1413531" y="296438"/>
                  </a:cubicBezTo>
                  <a:lnTo>
                    <a:pt x="0" y="302986"/>
                  </a:lnTo>
                  <a:close/>
                </a:path>
              </a:pathLst>
            </a:custGeom>
            <a:solidFill>
              <a:schemeClr val="bg1">
                <a:lumMod val="85000"/>
              </a:schemeClr>
            </a:solidFill>
            <a:ln w="12353" cap="flat">
              <a:noFill/>
              <a:prstDash val="solid"/>
              <a:miter/>
            </a:ln>
          </p:spPr>
          <p:txBody>
            <a:bodyPr rtlCol="0" anchor="ctr"/>
            <a:lstStyle/>
            <a:p>
              <a:endParaRPr lang="en-US"/>
            </a:p>
          </p:txBody>
        </p:sp>
        <p:sp>
          <p:nvSpPr>
            <p:cNvPr id="112" name="Freeform: Shape 43">
              <a:extLst>
                <a:ext uri="{FF2B5EF4-FFF2-40B4-BE49-F238E27FC236}">
                  <a16:creationId xmlns:a16="http://schemas.microsoft.com/office/drawing/2014/main" id="{C4FCD34A-384F-8142-8B51-D64A9FE4B498}"/>
                </a:ext>
              </a:extLst>
            </p:cNvPr>
            <p:cNvSpPr/>
            <p:nvPr/>
          </p:nvSpPr>
          <p:spPr>
            <a:xfrm>
              <a:off x="5519858" y="1240268"/>
              <a:ext cx="1173824" cy="1593929"/>
            </a:xfrm>
            <a:custGeom>
              <a:avLst/>
              <a:gdLst>
                <a:gd name="connsiteX0" fmla="*/ 26069 w 1173823"/>
                <a:gd name="connsiteY0" fmla="*/ 1244253 h 1593929"/>
                <a:gd name="connsiteX1" fmla="*/ 619035 w 1173823"/>
                <a:gd name="connsiteY1" fmla="*/ 51278 h 1593929"/>
                <a:gd name="connsiteX2" fmla="*/ 726656 w 1173823"/>
                <a:gd name="connsiteY2" fmla="*/ 0 h 1593929"/>
                <a:gd name="connsiteX3" fmla="*/ 863932 w 1173823"/>
                <a:gd name="connsiteY3" fmla="*/ 364133 h 1593929"/>
                <a:gd name="connsiteX4" fmla="*/ 787201 w 1173823"/>
                <a:gd name="connsiteY4" fmla="*/ 388474 h 1593929"/>
                <a:gd name="connsiteX5" fmla="*/ 787201 w 1173823"/>
                <a:gd name="connsiteY5" fmla="*/ 388597 h 1593929"/>
                <a:gd name="connsiteX6" fmla="*/ 703550 w 1173823"/>
                <a:gd name="connsiteY6" fmla="*/ 401324 h 1593929"/>
                <a:gd name="connsiteX7" fmla="*/ 584191 w 1173823"/>
                <a:gd name="connsiteY7" fmla="*/ 665249 h 1593929"/>
                <a:gd name="connsiteX8" fmla="*/ 848116 w 1173823"/>
                <a:gd name="connsiteY8" fmla="*/ 784609 h 1593929"/>
                <a:gd name="connsiteX9" fmla="*/ 919287 w 1173823"/>
                <a:gd name="connsiteY9" fmla="*/ 739015 h 1593929"/>
                <a:gd name="connsiteX10" fmla="*/ 919287 w 1173823"/>
                <a:gd name="connsiteY10" fmla="*/ 739138 h 1593929"/>
                <a:gd name="connsiteX11" fmla="*/ 992929 w 1173823"/>
                <a:gd name="connsiteY11" fmla="*/ 706766 h 1593929"/>
                <a:gd name="connsiteX12" fmla="*/ 1184200 w 1173823"/>
                <a:gd name="connsiteY12" fmla="*/ 1214228 h 1593929"/>
                <a:gd name="connsiteX13" fmla="*/ 815249 w 1173823"/>
                <a:gd name="connsiteY13" fmla="*/ 1353234 h 1593929"/>
                <a:gd name="connsiteX14" fmla="*/ 774103 w 1173823"/>
                <a:gd name="connsiteY14" fmla="*/ 1267853 h 1593929"/>
                <a:gd name="connsiteX15" fmla="*/ 773980 w 1173823"/>
                <a:gd name="connsiteY15" fmla="*/ 1267853 h 1593929"/>
                <a:gd name="connsiteX16" fmla="*/ 761253 w 1173823"/>
                <a:gd name="connsiteY16" fmla="*/ 1184203 h 1593929"/>
                <a:gd name="connsiteX17" fmla="*/ 497328 w 1173823"/>
                <a:gd name="connsiteY17" fmla="*/ 1064844 h 1593929"/>
                <a:gd name="connsiteX18" fmla="*/ 377969 w 1173823"/>
                <a:gd name="connsiteY18" fmla="*/ 1328769 h 1593929"/>
                <a:gd name="connsiteX19" fmla="*/ 423562 w 1173823"/>
                <a:gd name="connsiteY19" fmla="*/ 1399939 h 1593929"/>
                <a:gd name="connsiteX20" fmla="*/ 423439 w 1173823"/>
                <a:gd name="connsiteY20" fmla="*/ 1399939 h 1593929"/>
                <a:gd name="connsiteX21" fmla="*/ 448892 w 1173823"/>
                <a:gd name="connsiteY21" fmla="*/ 1491251 h 1593929"/>
                <a:gd name="connsiteX22" fmla="*/ 161985 w 1173823"/>
                <a:gd name="connsiteY22" fmla="*/ 1599366 h 1593929"/>
                <a:gd name="connsiteX23" fmla="*/ 26069 w 1173823"/>
                <a:gd name="connsiteY23" fmla="*/ 1244253 h 1593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73823" h="1593929">
                  <a:moveTo>
                    <a:pt x="26069" y="1244253"/>
                  </a:moveTo>
                  <a:cubicBezTo>
                    <a:pt x="-85012" y="701329"/>
                    <a:pt x="167545" y="315079"/>
                    <a:pt x="619035" y="51278"/>
                  </a:cubicBezTo>
                  <a:cubicBezTo>
                    <a:pt x="653508" y="31137"/>
                    <a:pt x="689464" y="14086"/>
                    <a:pt x="726656" y="0"/>
                  </a:cubicBezTo>
                  <a:lnTo>
                    <a:pt x="863932" y="364133"/>
                  </a:lnTo>
                  <a:cubicBezTo>
                    <a:pt x="839590" y="396382"/>
                    <a:pt x="787201" y="388474"/>
                    <a:pt x="787201" y="388474"/>
                  </a:cubicBezTo>
                  <a:lnTo>
                    <a:pt x="787201" y="388597"/>
                  </a:lnTo>
                  <a:cubicBezTo>
                    <a:pt x="759523" y="386991"/>
                    <a:pt x="731228" y="390945"/>
                    <a:pt x="703550" y="401324"/>
                  </a:cubicBezTo>
                  <a:cubicBezTo>
                    <a:pt x="597659" y="441234"/>
                    <a:pt x="544281" y="559358"/>
                    <a:pt x="584191" y="665249"/>
                  </a:cubicBezTo>
                  <a:cubicBezTo>
                    <a:pt x="624101" y="771141"/>
                    <a:pt x="742225" y="824519"/>
                    <a:pt x="848116" y="784609"/>
                  </a:cubicBezTo>
                  <a:cubicBezTo>
                    <a:pt x="875670" y="774230"/>
                    <a:pt x="899641" y="758414"/>
                    <a:pt x="919287" y="739015"/>
                  </a:cubicBezTo>
                  <a:lnTo>
                    <a:pt x="919287" y="739138"/>
                  </a:lnTo>
                  <a:cubicBezTo>
                    <a:pt x="919287" y="739138"/>
                    <a:pt x="953389" y="698734"/>
                    <a:pt x="992929" y="706766"/>
                  </a:cubicBezTo>
                  <a:lnTo>
                    <a:pt x="1184200" y="1214228"/>
                  </a:lnTo>
                  <a:lnTo>
                    <a:pt x="815249" y="1353234"/>
                  </a:lnTo>
                  <a:cubicBezTo>
                    <a:pt x="763724" y="1336553"/>
                    <a:pt x="774103" y="1267853"/>
                    <a:pt x="774103" y="1267853"/>
                  </a:cubicBezTo>
                  <a:lnTo>
                    <a:pt x="773980" y="1267853"/>
                  </a:lnTo>
                  <a:cubicBezTo>
                    <a:pt x="775586" y="1240176"/>
                    <a:pt x="771632" y="1211881"/>
                    <a:pt x="761253" y="1184203"/>
                  </a:cubicBezTo>
                  <a:cubicBezTo>
                    <a:pt x="721343" y="1078312"/>
                    <a:pt x="603219" y="1024934"/>
                    <a:pt x="497328" y="1064844"/>
                  </a:cubicBezTo>
                  <a:cubicBezTo>
                    <a:pt x="391437" y="1104754"/>
                    <a:pt x="338059" y="1222877"/>
                    <a:pt x="377969" y="1328769"/>
                  </a:cubicBezTo>
                  <a:cubicBezTo>
                    <a:pt x="388348" y="1356323"/>
                    <a:pt x="404163" y="1380293"/>
                    <a:pt x="423562" y="1399939"/>
                  </a:cubicBezTo>
                  <a:lnTo>
                    <a:pt x="423439" y="1399939"/>
                  </a:lnTo>
                  <a:cubicBezTo>
                    <a:pt x="423439" y="1399939"/>
                    <a:pt x="476570" y="1444792"/>
                    <a:pt x="448892" y="1491251"/>
                  </a:cubicBezTo>
                  <a:lnTo>
                    <a:pt x="161985" y="1599366"/>
                  </a:lnTo>
                  <a:cubicBezTo>
                    <a:pt x="102800" y="1504224"/>
                    <a:pt x="55599" y="1388325"/>
                    <a:pt x="26069" y="1244253"/>
                  </a:cubicBezTo>
                </a:path>
              </a:pathLst>
            </a:custGeom>
            <a:solidFill>
              <a:schemeClr val="accent5"/>
            </a:solidFill>
            <a:ln w="12353" cap="flat">
              <a:noFill/>
              <a:prstDash val="solid"/>
              <a:miter/>
            </a:ln>
          </p:spPr>
          <p:txBody>
            <a:bodyPr rtlCol="0" anchor="ctr"/>
            <a:lstStyle/>
            <a:p>
              <a:endParaRPr lang="en-US"/>
            </a:p>
          </p:txBody>
        </p:sp>
        <p:sp>
          <p:nvSpPr>
            <p:cNvPr id="113" name="Freeform: Shape 44">
              <a:extLst>
                <a:ext uri="{FF2B5EF4-FFF2-40B4-BE49-F238E27FC236}">
                  <a16:creationId xmlns:a16="http://schemas.microsoft.com/office/drawing/2014/main" id="{0FE388D5-EA55-2F41-961F-01319805005B}"/>
                </a:ext>
              </a:extLst>
            </p:cNvPr>
            <p:cNvSpPr/>
            <p:nvPr/>
          </p:nvSpPr>
          <p:spPr>
            <a:xfrm>
              <a:off x="4589241" y="2301939"/>
              <a:ext cx="679582" cy="2644193"/>
            </a:xfrm>
            <a:custGeom>
              <a:avLst/>
              <a:gdLst>
                <a:gd name="connsiteX0" fmla="*/ 20468 w 679582"/>
                <a:gd name="connsiteY0" fmla="*/ 2656508 h 2644192"/>
                <a:gd name="connsiteX1" fmla="*/ 40361 w 679582"/>
                <a:gd name="connsiteY1" fmla="*/ 2642422 h 2644192"/>
                <a:gd name="connsiteX2" fmla="*/ 688930 w 679582"/>
                <a:gd name="connsiteY2" fmla="*/ 21583 h 2644192"/>
                <a:gd name="connsiteX3" fmla="*/ 673238 w 679582"/>
                <a:gd name="connsiteY3" fmla="*/ 454 h 2644192"/>
                <a:gd name="connsiteX4" fmla="*/ 648897 w 679582"/>
                <a:gd name="connsiteY4" fmla="*/ 14045 h 2644192"/>
                <a:gd name="connsiteX5" fmla="*/ 451 w 679582"/>
                <a:gd name="connsiteY5" fmla="*/ 2634885 h 2644192"/>
                <a:gd name="connsiteX6" fmla="*/ 16144 w 679582"/>
                <a:gd name="connsiteY6" fmla="*/ 2656014 h 2644192"/>
                <a:gd name="connsiteX7" fmla="*/ 20468 w 679582"/>
                <a:gd name="connsiteY7" fmla="*/ 2656508 h 264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582" h="2644192">
                  <a:moveTo>
                    <a:pt x="20468" y="2656508"/>
                  </a:moveTo>
                  <a:cubicBezTo>
                    <a:pt x="29859" y="2656508"/>
                    <a:pt x="38384" y="2650824"/>
                    <a:pt x="40361" y="2642422"/>
                  </a:cubicBezTo>
                  <a:lnTo>
                    <a:pt x="688930" y="21583"/>
                  </a:lnTo>
                  <a:cubicBezTo>
                    <a:pt x="691278" y="11945"/>
                    <a:pt x="684235" y="2554"/>
                    <a:pt x="673238" y="454"/>
                  </a:cubicBezTo>
                  <a:cubicBezTo>
                    <a:pt x="662241" y="-1770"/>
                    <a:pt x="651368" y="4408"/>
                    <a:pt x="648897" y="14045"/>
                  </a:cubicBezTo>
                  <a:lnTo>
                    <a:pt x="451" y="2634885"/>
                  </a:lnTo>
                  <a:cubicBezTo>
                    <a:pt x="-1896" y="2644523"/>
                    <a:pt x="5147" y="2653913"/>
                    <a:pt x="16144" y="2656014"/>
                  </a:cubicBezTo>
                  <a:cubicBezTo>
                    <a:pt x="17626" y="2656385"/>
                    <a:pt x="18985" y="2656508"/>
                    <a:pt x="20468" y="2656508"/>
                  </a:cubicBezTo>
                </a:path>
              </a:pathLst>
            </a:custGeom>
            <a:solidFill>
              <a:srgbClr val="860864"/>
            </a:solidFill>
            <a:ln w="12353" cap="flat">
              <a:noFill/>
              <a:prstDash val="solid"/>
              <a:miter/>
            </a:ln>
          </p:spPr>
          <p:txBody>
            <a:bodyPr rtlCol="0" anchor="ctr"/>
            <a:lstStyle/>
            <a:p>
              <a:endParaRPr lang="en-US"/>
            </a:p>
          </p:txBody>
        </p:sp>
        <p:sp>
          <p:nvSpPr>
            <p:cNvPr id="114" name="Freeform: Shape 45">
              <a:extLst>
                <a:ext uri="{FF2B5EF4-FFF2-40B4-BE49-F238E27FC236}">
                  <a16:creationId xmlns:a16="http://schemas.microsoft.com/office/drawing/2014/main" id="{BDBA36CA-30A9-284E-89A3-0C7E3EB3E5FF}"/>
                </a:ext>
              </a:extLst>
            </p:cNvPr>
            <p:cNvSpPr/>
            <p:nvPr/>
          </p:nvSpPr>
          <p:spPr>
            <a:xfrm>
              <a:off x="5064449" y="2301939"/>
              <a:ext cx="679582" cy="2644193"/>
            </a:xfrm>
            <a:custGeom>
              <a:avLst/>
              <a:gdLst>
                <a:gd name="connsiteX0" fmla="*/ 20474 w 679582"/>
                <a:gd name="connsiteY0" fmla="*/ 2656508 h 2644192"/>
                <a:gd name="connsiteX1" fmla="*/ 40367 w 679582"/>
                <a:gd name="connsiteY1" fmla="*/ 2642422 h 2644192"/>
                <a:gd name="connsiteX2" fmla="*/ 691407 w 679582"/>
                <a:gd name="connsiteY2" fmla="*/ 21583 h 2644192"/>
                <a:gd name="connsiteX3" fmla="*/ 675715 w 679582"/>
                <a:gd name="connsiteY3" fmla="*/ 454 h 2644192"/>
                <a:gd name="connsiteX4" fmla="*/ 651373 w 679582"/>
                <a:gd name="connsiteY4" fmla="*/ 14045 h 2644192"/>
                <a:gd name="connsiteX5" fmla="*/ 457 w 679582"/>
                <a:gd name="connsiteY5" fmla="*/ 2634885 h 2644192"/>
                <a:gd name="connsiteX6" fmla="*/ 16149 w 679582"/>
                <a:gd name="connsiteY6" fmla="*/ 2656014 h 2644192"/>
                <a:gd name="connsiteX7" fmla="*/ 20474 w 679582"/>
                <a:gd name="connsiteY7" fmla="*/ 2656508 h 264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582" h="2644192">
                  <a:moveTo>
                    <a:pt x="20474" y="2656508"/>
                  </a:moveTo>
                  <a:cubicBezTo>
                    <a:pt x="29864" y="2656508"/>
                    <a:pt x="38390" y="2650824"/>
                    <a:pt x="40367" y="2642422"/>
                  </a:cubicBezTo>
                  <a:lnTo>
                    <a:pt x="691407" y="21583"/>
                  </a:lnTo>
                  <a:cubicBezTo>
                    <a:pt x="693754" y="11945"/>
                    <a:pt x="686835" y="2554"/>
                    <a:pt x="675715" y="454"/>
                  </a:cubicBezTo>
                  <a:cubicBezTo>
                    <a:pt x="664718" y="-1770"/>
                    <a:pt x="653844" y="4408"/>
                    <a:pt x="651373" y="14045"/>
                  </a:cubicBezTo>
                  <a:lnTo>
                    <a:pt x="457" y="2634885"/>
                  </a:lnTo>
                  <a:cubicBezTo>
                    <a:pt x="-1891" y="2644523"/>
                    <a:pt x="5029" y="2653913"/>
                    <a:pt x="16149" y="2656014"/>
                  </a:cubicBezTo>
                  <a:cubicBezTo>
                    <a:pt x="17508" y="2656385"/>
                    <a:pt x="18991" y="2656508"/>
                    <a:pt x="20474" y="2656508"/>
                  </a:cubicBezTo>
                </a:path>
              </a:pathLst>
            </a:custGeom>
            <a:solidFill>
              <a:srgbClr val="860864"/>
            </a:solidFill>
            <a:ln w="12353" cap="flat">
              <a:noFill/>
              <a:prstDash val="solid"/>
              <a:miter/>
            </a:ln>
          </p:spPr>
          <p:txBody>
            <a:bodyPr rtlCol="0" anchor="ctr"/>
            <a:lstStyle/>
            <a:p>
              <a:endParaRPr lang="en-US"/>
            </a:p>
          </p:txBody>
        </p:sp>
        <p:sp>
          <p:nvSpPr>
            <p:cNvPr id="115" name="Freeform: Shape 46">
              <a:extLst>
                <a:ext uri="{FF2B5EF4-FFF2-40B4-BE49-F238E27FC236}">
                  <a16:creationId xmlns:a16="http://schemas.microsoft.com/office/drawing/2014/main" id="{335587BC-424B-E240-A803-F23D9E58AEB1}"/>
                </a:ext>
              </a:extLst>
            </p:cNvPr>
            <p:cNvSpPr/>
            <p:nvPr/>
          </p:nvSpPr>
          <p:spPr>
            <a:xfrm>
              <a:off x="5203170" y="2442016"/>
              <a:ext cx="506598" cy="24712"/>
            </a:xfrm>
            <a:custGeom>
              <a:avLst/>
              <a:gdLst>
                <a:gd name="connsiteX0" fmla="*/ 20511 w 506597"/>
                <a:gd name="connsiteY0" fmla="*/ 35585 h 24712"/>
                <a:gd name="connsiteX1" fmla="*/ 497949 w 506597"/>
                <a:gd name="connsiteY1" fmla="*/ 35585 h 24712"/>
                <a:gd name="connsiteX2" fmla="*/ 518336 w 506597"/>
                <a:gd name="connsiteY2" fmla="*/ 17793 h 24712"/>
                <a:gd name="connsiteX3" fmla="*/ 497949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9" y="35585"/>
                  </a:lnTo>
                  <a:cubicBezTo>
                    <a:pt x="509192" y="35585"/>
                    <a:pt x="518336" y="27678"/>
                    <a:pt x="518336" y="17793"/>
                  </a:cubicBezTo>
                  <a:cubicBezTo>
                    <a:pt x="518336" y="8031"/>
                    <a:pt x="509192" y="0"/>
                    <a:pt x="497949" y="0"/>
                  </a:cubicBezTo>
                  <a:lnTo>
                    <a:pt x="20511" y="0"/>
                  </a:lnTo>
                  <a:cubicBezTo>
                    <a:pt x="9267" y="0"/>
                    <a:pt x="0" y="8031"/>
                    <a:pt x="0" y="17793"/>
                  </a:cubicBezTo>
                  <a:cubicBezTo>
                    <a:pt x="0" y="27554"/>
                    <a:pt x="9143" y="35585"/>
                    <a:pt x="20511" y="35585"/>
                  </a:cubicBezTo>
                </a:path>
              </a:pathLst>
            </a:custGeom>
            <a:solidFill>
              <a:srgbClr val="15636B"/>
            </a:solidFill>
            <a:ln w="12353" cap="flat">
              <a:noFill/>
              <a:prstDash val="solid"/>
              <a:miter/>
            </a:ln>
          </p:spPr>
          <p:txBody>
            <a:bodyPr rtlCol="0" anchor="ctr"/>
            <a:lstStyle/>
            <a:p>
              <a:endParaRPr lang="en-US"/>
            </a:p>
          </p:txBody>
        </p:sp>
        <p:sp>
          <p:nvSpPr>
            <p:cNvPr id="116" name="Freeform: Shape 47">
              <a:extLst>
                <a:ext uri="{FF2B5EF4-FFF2-40B4-BE49-F238E27FC236}">
                  <a16:creationId xmlns:a16="http://schemas.microsoft.com/office/drawing/2014/main" id="{8B9D703F-AE93-2D40-BC38-7C59877F3E9F}"/>
                </a:ext>
              </a:extLst>
            </p:cNvPr>
            <p:cNvSpPr/>
            <p:nvPr/>
          </p:nvSpPr>
          <p:spPr>
            <a:xfrm>
              <a:off x="5151151" y="2651575"/>
              <a:ext cx="506598" cy="24712"/>
            </a:xfrm>
            <a:custGeom>
              <a:avLst/>
              <a:gdLst>
                <a:gd name="connsiteX0" fmla="*/ 20511 w 506597"/>
                <a:gd name="connsiteY0" fmla="*/ 35585 h 24712"/>
                <a:gd name="connsiteX1" fmla="*/ 497948 w 506597"/>
                <a:gd name="connsiteY1" fmla="*/ 35585 h 24712"/>
                <a:gd name="connsiteX2" fmla="*/ 518336 w 506597"/>
                <a:gd name="connsiteY2" fmla="*/ 17793 h 24712"/>
                <a:gd name="connsiteX3" fmla="*/ 497948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8" y="35585"/>
                  </a:lnTo>
                  <a:cubicBezTo>
                    <a:pt x="509192" y="35585"/>
                    <a:pt x="518336" y="27678"/>
                    <a:pt x="518336" y="17793"/>
                  </a:cubicBezTo>
                  <a:cubicBezTo>
                    <a:pt x="518336" y="8031"/>
                    <a:pt x="509192" y="0"/>
                    <a:pt x="497948" y="0"/>
                  </a:cubicBezTo>
                  <a:lnTo>
                    <a:pt x="20511" y="0"/>
                  </a:lnTo>
                  <a:cubicBezTo>
                    <a:pt x="9267" y="0"/>
                    <a:pt x="0" y="8031"/>
                    <a:pt x="0" y="17793"/>
                  </a:cubicBezTo>
                  <a:cubicBezTo>
                    <a:pt x="0" y="27554"/>
                    <a:pt x="9143" y="35585"/>
                    <a:pt x="20511" y="35585"/>
                  </a:cubicBezTo>
                </a:path>
              </a:pathLst>
            </a:custGeom>
            <a:solidFill>
              <a:srgbClr val="15636B"/>
            </a:solidFill>
            <a:ln w="12353" cap="flat">
              <a:noFill/>
              <a:prstDash val="solid"/>
              <a:miter/>
            </a:ln>
          </p:spPr>
          <p:txBody>
            <a:bodyPr rtlCol="0" anchor="ctr"/>
            <a:lstStyle/>
            <a:p>
              <a:endParaRPr lang="en-US"/>
            </a:p>
          </p:txBody>
        </p:sp>
        <p:sp>
          <p:nvSpPr>
            <p:cNvPr id="117" name="Freeform: Shape 48">
              <a:extLst>
                <a:ext uri="{FF2B5EF4-FFF2-40B4-BE49-F238E27FC236}">
                  <a16:creationId xmlns:a16="http://schemas.microsoft.com/office/drawing/2014/main" id="{75426461-BE64-4A4D-B4C4-F34200ECFA25}"/>
                </a:ext>
              </a:extLst>
            </p:cNvPr>
            <p:cNvSpPr/>
            <p:nvPr/>
          </p:nvSpPr>
          <p:spPr>
            <a:xfrm>
              <a:off x="5099132" y="2861133"/>
              <a:ext cx="506598" cy="24712"/>
            </a:xfrm>
            <a:custGeom>
              <a:avLst/>
              <a:gdLst>
                <a:gd name="connsiteX0" fmla="*/ 20511 w 506597"/>
                <a:gd name="connsiteY0" fmla="*/ 35585 h 24712"/>
                <a:gd name="connsiteX1" fmla="*/ 497948 w 506597"/>
                <a:gd name="connsiteY1" fmla="*/ 35585 h 24712"/>
                <a:gd name="connsiteX2" fmla="*/ 518336 w 506597"/>
                <a:gd name="connsiteY2" fmla="*/ 17793 h 24712"/>
                <a:gd name="connsiteX3" fmla="*/ 497948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8" y="35585"/>
                  </a:lnTo>
                  <a:cubicBezTo>
                    <a:pt x="509192" y="35585"/>
                    <a:pt x="518336" y="27678"/>
                    <a:pt x="518336" y="17793"/>
                  </a:cubicBezTo>
                  <a:cubicBezTo>
                    <a:pt x="518336" y="8032"/>
                    <a:pt x="509192" y="0"/>
                    <a:pt x="497948" y="0"/>
                  </a:cubicBezTo>
                  <a:lnTo>
                    <a:pt x="20511" y="0"/>
                  </a:lnTo>
                  <a:cubicBezTo>
                    <a:pt x="9267" y="0"/>
                    <a:pt x="0" y="8032"/>
                    <a:pt x="0" y="17793"/>
                  </a:cubicBezTo>
                  <a:cubicBezTo>
                    <a:pt x="0" y="27554"/>
                    <a:pt x="9143" y="35585"/>
                    <a:pt x="20511" y="35585"/>
                  </a:cubicBezTo>
                </a:path>
              </a:pathLst>
            </a:custGeom>
            <a:solidFill>
              <a:srgbClr val="15636B"/>
            </a:solidFill>
            <a:ln w="12353" cap="flat">
              <a:noFill/>
              <a:prstDash val="solid"/>
              <a:miter/>
            </a:ln>
          </p:spPr>
          <p:txBody>
            <a:bodyPr rtlCol="0" anchor="ctr"/>
            <a:lstStyle/>
            <a:p>
              <a:endParaRPr lang="en-US"/>
            </a:p>
          </p:txBody>
        </p:sp>
        <p:sp>
          <p:nvSpPr>
            <p:cNvPr id="118" name="Freeform: Shape 49">
              <a:extLst>
                <a:ext uri="{FF2B5EF4-FFF2-40B4-BE49-F238E27FC236}">
                  <a16:creationId xmlns:a16="http://schemas.microsoft.com/office/drawing/2014/main" id="{2ED96994-A756-9948-91E9-BBEE401EE245}"/>
                </a:ext>
              </a:extLst>
            </p:cNvPr>
            <p:cNvSpPr/>
            <p:nvPr/>
          </p:nvSpPr>
          <p:spPr>
            <a:xfrm>
              <a:off x="5047113" y="3070692"/>
              <a:ext cx="506598" cy="24712"/>
            </a:xfrm>
            <a:custGeom>
              <a:avLst/>
              <a:gdLst>
                <a:gd name="connsiteX0" fmla="*/ 20511 w 506597"/>
                <a:gd name="connsiteY0" fmla="*/ 35585 h 24712"/>
                <a:gd name="connsiteX1" fmla="*/ 497948 w 506597"/>
                <a:gd name="connsiteY1" fmla="*/ 35585 h 24712"/>
                <a:gd name="connsiteX2" fmla="*/ 518336 w 506597"/>
                <a:gd name="connsiteY2" fmla="*/ 17793 h 24712"/>
                <a:gd name="connsiteX3" fmla="*/ 497948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8" y="35585"/>
                  </a:lnTo>
                  <a:cubicBezTo>
                    <a:pt x="509193" y="35585"/>
                    <a:pt x="518336" y="27678"/>
                    <a:pt x="518336" y="17793"/>
                  </a:cubicBezTo>
                  <a:cubicBezTo>
                    <a:pt x="518336" y="8031"/>
                    <a:pt x="509193" y="0"/>
                    <a:pt x="497948" y="0"/>
                  </a:cubicBezTo>
                  <a:lnTo>
                    <a:pt x="20511" y="0"/>
                  </a:lnTo>
                  <a:cubicBezTo>
                    <a:pt x="9267" y="0"/>
                    <a:pt x="0" y="8031"/>
                    <a:pt x="0" y="17793"/>
                  </a:cubicBezTo>
                  <a:cubicBezTo>
                    <a:pt x="0" y="27678"/>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119" name="Freeform: Shape 50">
              <a:extLst>
                <a:ext uri="{FF2B5EF4-FFF2-40B4-BE49-F238E27FC236}">
                  <a16:creationId xmlns:a16="http://schemas.microsoft.com/office/drawing/2014/main" id="{3135655A-00FD-3D41-B2D5-87731768FE9F}"/>
                </a:ext>
              </a:extLst>
            </p:cNvPr>
            <p:cNvSpPr/>
            <p:nvPr/>
          </p:nvSpPr>
          <p:spPr>
            <a:xfrm>
              <a:off x="4995094" y="3280374"/>
              <a:ext cx="506598" cy="24712"/>
            </a:xfrm>
            <a:custGeom>
              <a:avLst/>
              <a:gdLst>
                <a:gd name="connsiteX0" fmla="*/ 20511 w 506597"/>
                <a:gd name="connsiteY0" fmla="*/ 35585 h 24712"/>
                <a:gd name="connsiteX1" fmla="*/ 497948 w 506597"/>
                <a:gd name="connsiteY1" fmla="*/ 35585 h 24712"/>
                <a:gd name="connsiteX2" fmla="*/ 518336 w 506597"/>
                <a:gd name="connsiteY2" fmla="*/ 17793 h 24712"/>
                <a:gd name="connsiteX3" fmla="*/ 497948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8" y="35585"/>
                  </a:lnTo>
                  <a:cubicBezTo>
                    <a:pt x="509193" y="35585"/>
                    <a:pt x="518336" y="27554"/>
                    <a:pt x="518336" y="17793"/>
                  </a:cubicBezTo>
                  <a:cubicBezTo>
                    <a:pt x="518336" y="8031"/>
                    <a:pt x="509193" y="0"/>
                    <a:pt x="497948" y="0"/>
                  </a:cubicBezTo>
                  <a:lnTo>
                    <a:pt x="20511" y="0"/>
                  </a:lnTo>
                  <a:cubicBezTo>
                    <a:pt x="9267" y="0"/>
                    <a:pt x="0" y="8031"/>
                    <a:pt x="0" y="17793"/>
                  </a:cubicBezTo>
                  <a:cubicBezTo>
                    <a:pt x="0" y="27554"/>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120" name="Freeform: Shape 51">
              <a:extLst>
                <a:ext uri="{FF2B5EF4-FFF2-40B4-BE49-F238E27FC236}">
                  <a16:creationId xmlns:a16="http://schemas.microsoft.com/office/drawing/2014/main" id="{28D9C33F-3F97-7F4A-85DE-81EFCE023E98}"/>
                </a:ext>
              </a:extLst>
            </p:cNvPr>
            <p:cNvSpPr/>
            <p:nvPr/>
          </p:nvSpPr>
          <p:spPr>
            <a:xfrm>
              <a:off x="4943075" y="3489932"/>
              <a:ext cx="506598" cy="24712"/>
            </a:xfrm>
            <a:custGeom>
              <a:avLst/>
              <a:gdLst>
                <a:gd name="connsiteX0" fmla="*/ 20511 w 506597"/>
                <a:gd name="connsiteY0" fmla="*/ 35585 h 24712"/>
                <a:gd name="connsiteX1" fmla="*/ 497948 w 506597"/>
                <a:gd name="connsiteY1" fmla="*/ 35585 h 24712"/>
                <a:gd name="connsiteX2" fmla="*/ 518336 w 506597"/>
                <a:gd name="connsiteY2" fmla="*/ 17793 h 24712"/>
                <a:gd name="connsiteX3" fmla="*/ 497948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8" y="35585"/>
                  </a:lnTo>
                  <a:cubicBezTo>
                    <a:pt x="509193" y="35585"/>
                    <a:pt x="518336" y="27554"/>
                    <a:pt x="518336" y="17793"/>
                  </a:cubicBezTo>
                  <a:cubicBezTo>
                    <a:pt x="518336" y="8031"/>
                    <a:pt x="509193" y="0"/>
                    <a:pt x="497948" y="0"/>
                  </a:cubicBezTo>
                  <a:lnTo>
                    <a:pt x="20511" y="0"/>
                  </a:lnTo>
                  <a:cubicBezTo>
                    <a:pt x="9267" y="0"/>
                    <a:pt x="0" y="8031"/>
                    <a:pt x="0" y="17793"/>
                  </a:cubicBezTo>
                  <a:cubicBezTo>
                    <a:pt x="0" y="27554"/>
                    <a:pt x="9143" y="35585"/>
                    <a:pt x="20511" y="35585"/>
                  </a:cubicBezTo>
                </a:path>
              </a:pathLst>
            </a:custGeom>
            <a:solidFill>
              <a:srgbClr val="15636B"/>
            </a:solidFill>
            <a:ln w="12353" cap="flat">
              <a:noFill/>
              <a:prstDash val="solid"/>
              <a:miter/>
            </a:ln>
          </p:spPr>
          <p:txBody>
            <a:bodyPr rtlCol="0" anchor="ctr"/>
            <a:lstStyle/>
            <a:p>
              <a:endParaRPr lang="en-US"/>
            </a:p>
          </p:txBody>
        </p:sp>
        <p:sp>
          <p:nvSpPr>
            <p:cNvPr id="121" name="Freeform: Shape 52">
              <a:extLst>
                <a:ext uri="{FF2B5EF4-FFF2-40B4-BE49-F238E27FC236}">
                  <a16:creationId xmlns:a16="http://schemas.microsoft.com/office/drawing/2014/main" id="{8CA0369F-1A86-0E4D-82DF-26691CEFF6FD}"/>
                </a:ext>
              </a:extLst>
            </p:cNvPr>
            <p:cNvSpPr/>
            <p:nvPr/>
          </p:nvSpPr>
          <p:spPr>
            <a:xfrm>
              <a:off x="4891057" y="3699491"/>
              <a:ext cx="506598" cy="24712"/>
            </a:xfrm>
            <a:custGeom>
              <a:avLst/>
              <a:gdLst>
                <a:gd name="connsiteX0" fmla="*/ 20511 w 506597"/>
                <a:gd name="connsiteY0" fmla="*/ 35585 h 24712"/>
                <a:gd name="connsiteX1" fmla="*/ 498072 w 506597"/>
                <a:gd name="connsiteY1" fmla="*/ 35585 h 24712"/>
                <a:gd name="connsiteX2" fmla="*/ 518459 w 506597"/>
                <a:gd name="connsiteY2" fmla="*/ 17793 h 24712"/>
                <a:gd name="connsiteX3" fmla="*/ 498072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8072" y="35585"/>
                  </a:lnTo>
                  <a:cubicBezTo>
                    <a:pt x="509316" y="35585"/>
                    <a:pt x="518459" y="27554"/>
                    <a:pt x="518459" y="17793"/>
                  </a:cubicBezTo>
                  <a:cubicBezTo>
                    <a:pt x="518459" y="8031"/>
                    <a:pt x="509316" y="0"/>
                    <a:pt x="498072" y="0"/>
                  </a:cubicBezTo>
                  <a:lnTo>
                    <a:pt x="20511" y="0"/>
                  </a:lnTo>
                  <a:cubicBezTo>
                    <a:pt x="9267" y="0"/>
                    <a:pt x="0" y="8031"/>
                    <a:pt x="0" y="17793"/>
                  </a:cubicBezTo>
                  <a:cubicBezTo>
                    <a:pt x="124" y="27678"/>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122" name="Freeform: Shape 53">
              <a:extLst>
                <a:ext uri="{FF2B5EF4-FFF2-40B4-BE49-F238E27FC236}">
                  <a16:creationId xmlns:a16="http://schemas.microsoft.com/office/drawing/2014/main" id="{0D125EF3-52D9-8442-B3E0-9AEC0D644968}"/>
                </a:ext>
              </a:extLst>
            </p:cNvPr>
            <p:cNvSpPr/>
            <p:nvPr/>
          </p:nvSpPr>
          <p:spPr>
            <a:xfrm>
              <a:off x="4839038" y="3909049"/>
              <a:ext cx="506598" cy="24712"/>
            </a:xfrm>
            <a:custGeom>
              <a:avLst/>
              <a:gdLst>
                <a:gd name="connsiteX0" fmla="*/ 20511 w 506597"/>
                <a:gd name="connsiteY0" fmla="*/ 35585 h 24712"/>
                <a:gd name="connsiteX1" fmla="*/ 497949 w 506597"/>
                <a:gd name="connsiteY1" fmla="*/ 35585 h 24712"/>
                <a:gd name="connsiteX2" fmla="*/ 518460 w 506597"/>
                <a:gd name="connsiteY2" fmla="*/ 17793 h 24712"/>
                <a:gd name="connsiteX3" fmla="*/ 497949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9" y="35585"/>
                  </a:lnTo>
                  <a:cubicBezTo>
                    <a:pt x="509192" y="35585"/>
                    <a:pt x="518460" y="27677"/>
                    <a:pt x="518460" y="17793"/>
                  </a:cubicBezTo>
                  <a:cubicBezTo>
                    <a:pt x="518460" y="8031"/>
                    <a:pt x="509316" y="0"/>
                    <a:pt x="497949" y="0"/>
                  </a:cubicBezTo>
                  <a:lnTo>
                    <a:pt x="20511" y="0"/>
                  </a:lnTo>
                  <a:cubicBezTo>
                    <a:pt x="9267" y="0"/>
                    <a:pt x="0" y="8031"/>
                    <a:pt x="0" y="17793"/>
                  </a:cubicBezTo>
                  <a:cubicBezTo>
                    <a:pt x="0" y="27677"/>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123" name="Freeform: Shape 54">
              <a:extLst>
                <a:ext uri="{FF2B5EF4-FFF2-40B4-BE49-F238E27FC236}">
                  <a16:creationId xmlns:a16="http://schemas.microsoft.com/office/drawing/2014/main" id="{16767883-7119-774C-81B9-DF06B9058973}"/>
                </a:ext>
              </a:extLst>
            </p:cNvPr>
            <p:cNvSpPr/>
            <p:nvPr/>
          </p:nvSpPr>
          <p:spPr>
            <a:xfrm>
              <a:off x="4787019" y="4118607"/>
              <a:ext cx="506598" cy="24712"/>
            </a:xfrm>
            <a:custGeom>
              <a:avLst/>
              <a:gdLst>
                <a:gd name="connsiteX0" fmla="*/ 20511 w 506597"/>
                <a:gd name="connsiteY0" fmla="*/ 35585 h 24712"/>
                <a:gd name="connsiteX1" fmla="*/ 497949 w 506597"/>
                <a:gd name="connsiteY1" fmla="*/ 35585 h 24712"/>
                <a:gd name="connsiteX2" fmla="*/ 518336 w 506597"/>
                <a:gd name="connsiteY2" fmla="*/ 17793 h 24712"/>
                <a:gd name="connsiteX3" fmla="*/ 497949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9" y="35585"/>
                  </a:lnTo>
                  <a:cubicBezTo>
                    <a:pt x="509192" y="35585"/>
                    <a:pt x="518336" y="27678"/>
                    <a:pt x="518336" y="17793"/>
                  </a:cubicBezTo>
                  <a:cubicBezTo>
                    <a:pt x="518336" y="8032"/>
                    <a:pt x="509192" y="0"/>
                    <a:pt x="497949" y="0"/>
                  </a:cubicBezTo>
                  <a:lnTo>
                    <a:pt x="20511" y="0"/>
                  </a:lnTo>
                  <a:cubicBezTo>
                    <a:pt x="9267" y="0"/>
                    <a:pt x="0" y="8032"/>
                    <a:pt x="0" y="17793"/>
                  </a:cubicBezTo>
                  <a:cubicBezTo>
                    <a:pt x="124" y="27678"/>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124" name="Freeform: Shape 55">
              <a:extLst>
                <a:ext uri="{FF2B5EF4-FFF2-40B4-BE49-F238E27FC236}">
                  <a16:creationId xmlns:a16="http://schemas.microsoft.com/office/drawing/2014/main" id="{FA401300-C39B-6F4D-8DC0-55B5FB9B1C7D}"/>
                </a:ext>
              </a:extLst>
            </p:cNvPr>
            <p:cNvSpPr/>
            <p:nvPr/>
          </p:nvSpPr>
          <p:spPr>
            <a:xfrm>
              <a:off x="4735000" y="4328290"/>
              <a:ext cx="506598" cy="24712"/>
            </a:xfrm>
            <a:custGeom>
              <a:avLst/>
              <a:gdLst>
                <a:gd name="connsiteX0" fmla="*/ 20511 w 506597"/>
                <a:gd name="connsiteY0" fmla="*/ 35585 h 24712"/>
                <a:gd name="connsiteX1" fmla="*/ 497949 w 506597"/>
                <a:gd name="connsiteY1" fmla="*/ 35585 h 24712"/>
                <a:gd name="connsiteX2" fmla="*/ 518336 w 506597"/>
                <a:gd name="connsiteY2" fmla="*/ 17792 h 24712"/>
                <a:gd name="connsiteX3" fmla="*/ 497949 w 506597"/>
                <a:gd name="connsiteY3" fmla="*/ 0 h 24712"/>
                <a:gd name="connsiteX4" fmla="*/ 20511 w 506597"/>
                <a:gd name="connsiteY4" fmla="*/ 0 h 24712"/>
                <a:gd name="connsiteX5" fmla="*/ 0 w 506597"/>
                <a:gd name="connsiteY5" fmla="*/ 17792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9" y="35585"/>
                  </a:lnTo>
                  <a:cubicBezTo>
                    <a:pt x="509192" y="35585"/>
                    <a:pt x="518336" y="27677"/>
                    <a:pt x="518336" y="17792"/>
                  </a:cubicBezTo>
                  <a:cubicBezTo>
                    <a:pt x="518336" y="8031"/>
                    <a:pt x="509192" y="0"/>
                    <a:pt x="497949" y="0"/>
                  </a:cubicBezTo>
                  <a:lnTo>
                    <a:pt x="20511" y="0"/>
                  </a:lnTo>
                  <a:cubicBezTo>
                    <a:pt x="9267" y="0"/>
                    <a:pt x="0" y="8031"/>
                    <a:pt x="0" y="17792"/>
                  </a:cubicBezTo>
                  <a:cubicBezTo>
                    <a:pt x="124" y="27554"/>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125" name="Freeform: Shape 56">
              <a:extLst>
                <a:ext uri="{FF2B5EF4-FFF2-40B4-BE49-F238E27FC236}">
                  <a16:creationId xmlns:a16="http://schemas.microsoft.com/office/drawing/2014/main" id="{C88C6E60-8338-F848-9ACD-3797F0936A7C}"/>
                </a:ext>
              </a:extLst>
            </p:cNvPr>
            <p:cNvSpPr/>
            <p:nvPr/>
          </p:nvSpPr>
          <p:spPr>
            <a:xfrm>
              <a:off x="5070590" y="2437939"/>
              <a:ext cx="111204" cy="222409"/>
            </a:xfrm>
            <a:custGeom>
              <a:avLst/>
              <a:gdLst>
                <a:gd name="connsiteX0" fmla="*/ 0 w 111204"/>
                <a:gd name="connsiteY0" fmla="*/ 219073 h 222408"/>
                <a:gd name="connsiteX1" fmla="*/ 108610 w 111204"/>
                <a:gd name="connsiteY1" fmla="*/ 223274 h 222408"/>
                <a:gd name="connsiteX2" fmla="*/ 119730 w 111204"/>
                <a:gd name="connsiteY2" fmla="*/ 4325 h 222408"/>
                <a:gd name="connsiteX3" fmla="*/ 11120 w 111204"/>
                <a:gd name="connsiteY3" fmla="*/ 0 h 222408"/>
              </a:gdLst>
              <a:ahLst/>
              <a:cxnLst>
                <a:cxn ang="0">
                  <a:pos x="connsiteX0" y="connsiteY0"/>
                </a:cxn>
                <a:cxn ang="0">
                  <a:pos x="connsiteX1" y="connsiteY1"/>
                </a:cxn>
                <a:cxn ang="0">
                  <a:pos x="connsiteX2" y="connsiteY2"/>
                </a:cxn>
                <a:cxn ang="0">
                  <a:pos x="connsiteX3" y="connsiteY3"/>
                </a:cxn>
              </a:cxnLst>
              <a:rect l="l" t="t" r="r" b="b"/>
              <a:pathLst>
                <a:path w="111204" h="222408">
                  <a:moveTo>
                    <a:pt x="0" y="219073"/>
                  </a:moveTo>
                  <a:lnTo>
                    <a:pt x="108610" y="223274"/>
                  </a:lnTo>
                  <a:lnTo>
                    <a:pt x="119730" y="4325"/>
                  </a:lnTo>
                  <a:lnTo>
                    <a:pt x="11120" y="0"/>
                  </a:lnTo>
                  <a:close/>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126" name="Freeform: Shape 57">
              <a:extLst>
                <a:ext uri="{FF2B5EF4-FFF2-40B4-BE49-F238E27FC236}">
                  <a16:creationId xmlns:a16="http://schemas.microsoft.com/office/drawing/2014/main" id="{4E71FD55-0834-E948-8E80-E8BB22A19AEB}"/>
                </a:ext>
              </a:extLst>
            </p:cNvPr>
            <p:cNvSpPr/>
            <p:nvPr/>
          </p:nvSpPr>
          <p:spPr>
            <a:xfrm>
              <a:off x="5088910" y="2486622"/>
              <a:ext cx="86492" cy="135916"/>
            </a:xfrm>
            <a:custGeom>
              <a:avLst/>
              <a:gdLst>
                <a:gd name="connsiteX0" fmla="*/ 90 w 86492"/>
                <a:gd name="connsiteY0" fmla="*/ 0 h 135916"/>
                <a:gd name="connsiteX1" fmla="*/ 92019 w 86492"/>
                <a:gd name="connsiteY1" fmla="*/ 139253 h 135916"/>
                <a:gd name="connsiteX2" fmla="*/ 95850 w 86492"/>
                <a:gd name="connsiteY2" fmla="*/ 81797 h 135916"/>
                <a:gd name="connsiteX3" fmla="*/ 90 w 86492"/>
                <a:gd name="connsiteY3" fmla="*/ 0 h 135916"/>
              </a:gdLst>
              <a:ahLst/>
              <a:cxnLst>
                <a:cxn ang="0">
                  <a:pos x="connsiteX0" y="connsiteY0"/>
                </a:cxn>
                <a:cxn ang="0">
                  <a:pos x="connsiteX1" y="connsiteY1"/>
                </a:cxn>
                <a:cxn ang="0">
                  <a:pos x="connsiteX2" y="connsiteY2"/>
                </a:cxn>
                <a:cxn ang="0">
                  <a:pos x="connsiteX3" y="connsiteY3"/>
                </a:cxn>
              </a:cxnLst>
              <a:rect l="l" t="t" r="r" b="b"/>
              <a:pathLst>
                <a:path w="86492" h="135916">
                  <a:moveTo>
                    <a:pt x="90" y="0"/>
                  </a:moveTo>
                  <a:cubicBezTo>
                    <a:pt x="90" y="0"/>
                    <a:pt x="-6458" y="120842"/>
                    <a:pt x="92019" y="139253"/>
                  </a:cubicBezTo>
                  <a:lnTo>
                    <a:pt x="95850" y="81797"/>
                  </a:lnTo>
                  <a:lnTo>
                    <a:pt x="90" y="0"/>
                  </a:lnTo>
                  <a:close/>
                </a:path>
              </a:pathLst>
            </a:custGeom>
            <a:solidFill>
              <a:schemeClr val="accent4">
                <a:lumMod val="40000"/>
                <a:lumOff val="60000"/>
              </a:schemeClr>
            </a:solidFill>
            <a:ln w="12353" cap="flat">
              <a:noFill/>
              <a:prstDash val="solid"/>
              <a:miter/>
            </a:ln>
          </p:spPr>
          <p:txBody>
            <a:bodyPr rtlCol="0" anchor="ctr"/>
            <a:lstStyle/>
            <a:p>
              <a:endParaRPr lang="en-US"/>
            </a:p>
          </p:txBody>
        </p:sp>
        <p:sp>
          <p:nvSpPr>
            <p:cNvPr id="127" name="Freeform: Shape 58">
              <a:extLst>
                <a:ext uri="{FF2B5EF4-FFF2-40B4-BE49-F238E27FC236}">
                  <a16:creationId xmlns:a16="http://schemas.microsoft.com/office/drawing/2014/main" id="{DC544D61-6F79-7543-9938-3B47B59186E8}"/>
                </a:ext>
              </a:extLst>
            </p:cNvPr>
            <p:cNvSpPr/>
            <p:nvPr/>
          </p:nvSpPr>
          <p:spPr>
            <a:xfrm>
              <a:off x="5024547" y="2330194"/>
              <a:ext cx="61780" cy="111204"/>
            </a:xfrm>
            <a:custGeom>
              <a:avLst/>
              <a:gdLst>
                <a:gd name="connsiteX0" fmla="*/ 71249 w 61780"/>
                <a:gd name="connsiteY0" fmla="*/ 0 h 111204"/>
                <a:gd name="connsiteX1" fmla="*/ 49874 w 61780"/>
                <a:gd name="connsiteY1" fmla="*/ 122819 h 111204"/>
                <a:gd name="connsiteX2" fmla="*/ 71249 w 61780"/>
                <a:gd name="connsiteY2" fmla="*/ 0 h 111204"/>
              </a:gdLst>
              <a:ahLst/>
              <a:cxnLst>
                <a:cxn ang="0">
                  <a:pos x="connsiteX0" y="connsiteY0"/>
                </a:cxn>
                <a:cxn ang="0">
                  <a:pos x="connsiteX1" y="connsiteY1"/>
                </a:cxn>
                <a:cxn ang="0">
                  <a:pos x="connsiteX2" y="connsiteY2"/>
                </a:cxn>
              </a:cxnLst>
              <a:rect l="l" t="t" r="r" b="b"/>
              <a:pathLst>
                <a:path w="61780" h="111204">
                  <a:moveTo>
                    <a:pt x="71249" y="0"/>
                  </a:moveTo>
                  <a:cubicBezTo>
                    <a:pt x="71249" y="0"/>
                    <a:pt x="-73687" y="19399"/>
                    <a:pt x="49874" y="122819"/>
                  </a:cubicBezTo>
                  <a:lnTo>
                    <a:pt x="71249" y="0"/>
                  </a:lnTo>
                  <a:close/>
                </a:path>
              </a:pathLst>
            </a:custGeom>
            <a:solidFill>
              <a:srgbClr val="4701A7"/>
            </a:solidFill>
            <a:ln w="12353" cap="flat">
              <a:noFill/>
              <a:prstDash val="solid"/>
              <a:miter/>
            </a:ln>
          </p:spPr>
          <p:txBody>
            <a:bodyPr rtlCol="0" anchor="ctr"/>
            <a:lstStyle/>
            <a:p>
              <a:endParaRPr lang="en-US"/>
            </a:p>
          </p:txBody>
        </p:sp>
        <p:sp>
          <p:nvSpPr>
            <p:cNvPr id="128" name="Freeform: Shape 59">
              <a:extLst>
                <a:ext uri="{FF2B5EF4-FFF2-40B4-BE49-F238E27FC236}">
                  <a16:creationId xmlns:a16="http://schemas.microsoft.com/office/drawing/2014/main" id="{912794BA-9C45-4545-83C1-E462ADF8E932}"/>
                </a:ext>
              </a:extLst>
            </p:cNvPr>
            <p:cNvSpPr/>
            <p:nvPr/>
          </p:nvSpPr>
          <p:spPr>
            <a:xfrm>
              <a:off x="5088322" y="2314378"/>
              <a:ext cx="247121" cy="284189"/>
            </a:xfrm>
            <a:custGeom>
              <a:avLst/>
              <a:gdLst>
                <a:gd name="connsiteX0" fmla="*/ 117690 w 247120"/>
                <a:gd name="connsiteY0" fmla="*/ 285054 h 284188"/>
                <a:gd name="connsiteX1" fmla="*/ 117690 w 247120"/>
                <a:gd name="connsiteY1" fmla="*/ 285054 h 284188"/>
                <a:gd name="connsiteX2" fmla="*/ 248417 w 247120"/>
                <a:gd name="connsiteY2" fmla="*/ 167424 h 284188"/>
                <a:gd name="connsiteX3" fmla="*/ 256572 w 247120"/>
                <a:gd name="connsiteY3" fmla="*/ 13097 h 284188"/>
                <a:gd name="connsiteX4" fmla="*/ 8339 w 247120"/>
                <a:gd name="connsiteY4" fmla="*/ 0 h 284188"/>
                <a:gd name="connsiteX5" fmla="*/ 184 w 247120"/>
                <a:gd name="connsiteY5" fmla="*/ 154327 h 284188"/>
                <a:gd name="connsiteX6" fmla="*/ 117690 w 247120"/>
                <a:gd name="connsiteY6" fmla="*/ 285054 h 28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120" h="284188">
                  <a:moveTo>
                    <a:pt x="117690" y="285054"/>
                  </a:moveTo>
                  <a:lnTo>
                    <a:pt x="117690" y="285054"/>
                  </a:lnTo>
                  <a:cubicBezTo>
                    <a:pt x="186266" y="288637"/>
                    <a:pt x="244710" y="236000"/>
                    <a:pt x="248417" y="167424"/>
                  </a:cubicBezTo>
                  <a:lnTo>
                    <a:pt x="256572" y="13097"/>
                  </a:lnTo>
                  <a:lnTo>
                    <a:pt x="8339" y="0"/>
                  </a:lnTo>
                  <a:lnTo>
                    <a:pt x="184" y="154327"/>
                  </a:lnTo>
                  <a:cubicBezTo>
                    <a:pt x="-3522" y="222903"/>
                    <a:pt x="49114" y="281471"/>
                    <a:pt x="117690" y="285054"/>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129" name="Freeform: Shape 60">
              <a:extLst>
                <a:ext uri="{FF2B5EF4-FFF2-40B4-BE49-F238E27FC236}">
                  <a16:creationId xmlns:a16="http://schemas.microsoft.com/office/drawing/2014/main" id="{47F4AA69-6FD8-2840-8ECF-0FB38FF673E4}"/>
                </a:ext>
              </a:extLst>
            </p:cNvPr>
            <p:cNvSpPr/>
            <p:nvPr/>
          </p:nvSpPr>
          <p:spPr>
            <a:xfrm>
              <a:off x="5228464" y="2302247"/>
              <a:ext cx="135916" cy="98848"/>
            </a:xfrm>
            <a:custGeom>
              <a:avLst/>
              <a:gdLst>
                <a:gd name="connsiteX0" fmla="*/ 86158 w 135916"/>
                <a:gd name="connsiteY0" fmla="*/ 41415 h 98848"/>
                <a:gd name="connsiteX1" fmla="*/ 112106 w 135916"/>
                <a:gd name="connsiteY1" fmla="*/ 107026 h 98848"/>
                <a:gd name="connsiteX2" fmla="*/ 132493 w 135916"/>
                <a:gd name="connsiteY2" fmla="*/ 12749 h 98848"/>
                <a:gd name="connsiteX3" fmla="*/ 101356 w 135916"/>
                <a:gd name="connsiteY3" fmla="*/ 23 h 98848"/>
                <a:gd name="connsiteX4" fmla="*/ 15605 w 135916"/>
                <a:gd name="connsiteY4" fmla="*/ 33507 h 98848"/>
                <a:gd name="connsiteX5" fmla="*/ 86158 w 135916"/>
                <a:gd name="connsiteY5" fmla="*/ 41415 h 9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916" h="98848">
                  <a:moveTo>
                    <a:pt x="86158" y="41415"/>
                  </a:moveTo>
                  <a:cubicBezTo>
                    <a:pt x="86158" y="41415"/>
                    <a:pt x="114701" y="59455"/>
                    <a:pt x="112106" y="107026"/>
                  </a:cubicBezTo>
                  <a:cubicBezTo>
                    <a:pt x="112106" y="107026"/>
                    <a:pt x="162766" y="47840"/>
                    <a:pt x="132493" y="12749"/>
                  </a:cubicBezTo>
                  <a:cubicBezTo>
                    <a:pt x="124833" y="3853"/>
                    <a:pt x="113094" y="-348"/>
                    <a:pt x="101356" y="23"/>
                  </a:cubicBezTo>
                  <a:cubicBezTo>
                    <a:pt x="83687" y="517"/>
                    <a:pt x="53044" y="6201"/>
                    <a:pt x="15605" y="33507"/>
                  </a:cubicBezTo>
                  <a:cubicBezTo>
                    <a:pt x="-43951" y="77124"/>
                    <a:pt x="86158" y="41415"/>
                    <a:pt x="86158" y="41415"/>
                  </a:cubicBezTo>
                </a:path>
              </a:pathLst>
            </a:custGeom>
            <a:solidFill>
              <a:srgbClr val="4701A7"/>
            </a:solidFill>
            <a:ln w="12353" cap="flat">
              <a:noFill/>
              <a:prstDash val="solid"/>
              <a:miter/>
            </a:ln>
          </p:spPr>
          <p:txBody>
            <a:bodyPr rtlCol="0" anchor="ctr"/>
            <a:lstStyle/>
            <a:p>
              <a:endParaRPr lang="en-US"/>
            </a:p>
          </p:txBody>
        </p:sp>
        <p:sp>
          <p:nvSpPr>
            <p:cNvPr id="130" name="Freeform: Shape 61">
              <a:extLst>
                <a:ext uri="{FF2B5EF4-FFF2-40B4-BE49-F238E27FC236}">
                  <a16:creationId xmlns:a16="http://schemas.microsoft.com/office/drawing/2014/main" id="{0E45F0E5-71E8-0E4D-A9F8-279427D29807}"/>
                </a:ext>
              </a:extLst>
            </p:cNvPr>
            <p:cNvSpPr/>
            <p:nvPr/>
          </p:nvSpPr>
          <p:spPr>
            <a:xfrm>
              <a:off x="5057669" y="2223751"/>
              <a:ext cx="259477" cy="210053"/>
            </a:xfrm>
            <a:custGeom>
              <a:avLst/>
              <a:gdLst>
                <a:gd name="connsiteX0" fmla="*/ 265107 w 259476"/>
                <a:gd name="connsiteY0" fmla="*/ 96558 h 210052"/>
                <a:gd name="connsiteX1" fmla="*/ 119800 w 259476"/>
                <a:gd name="connsiteY1" fmla="*/ 1416 h 210052"/>
                <a:gd name="connsiteX2" fmla="*/ 38745 w 259476"/>
                <a:gd name="connsiteY2" fmla="*/ 213446 h 210052"/>
                <a:gd name="connsiteX3" fmla="*/ 68770 w 259476"/>
                <a:gd name="connsiteY3" fmla="*/ 193429 h 210052"/>
                <a:gd name="connsiteX4" fmla="*/ 265107 w 259476"/>
                <a:gd name="connsiteY4" fmla="*/ 96558 h 210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476" h="210052">
                  <a:moveTo>
                    <a:pt x="265107" y="96558"/>
                  </a:moveTo>
                  <a:cubicBezTo>
                    <a:pt x="265107" y="96558"/>
                    <a:pt x="268073" y="-13658"/>
                    <a:pt x="119800" y="1416"/>
                  </a:cubicBezTo>
                  <a:cubicBezTo>
                    <a:pt x="-33168" y="16985"/>
                    <a:pt x="-14757" y="158709"/>
                    <a:pt x="38745" y="213446"/>
                  </a:cubicBezTo>
                  <a:lnTo>
                    <a:pt x="68770" y="193429"/>
                  </a:lnTo>
                  <a:lnTo>
                    <a:pt x="265107" y="96558"/>
                  </a:lnTo>
                  <a:close/>
                </a:path>
              </a:pathLst>
            </a:custGeom>
            <a:solidFill>
              <a:srgbClr val="4701A7"/>
            </a:solidFill>
            <a:ln w="12353" cap="flat">
              <a:noFill/>
              <a:prstDash val="solid"/>
              <a:miter/>
            </a:ln>
          </p:spPr>
          <p:txBody>
            <a:bodyPr rtlCol="0" anchor="ctr"/>
            <a:lstStyle/>
            <a:p>
              <a:endParaRPr lang="en-US"/>
            </a:p>
          </p:txBody>
        </p:sp>
        <p:sp>
          <p:nvSpPr>
            <p:cNvPr id="131" name="Freeform: Shape 62">
              <a:extLst>
                <a:ext uri="{FF2B5EF4-FFF2-40B4-BE49-F238E27FC236}">
                  <a16:creationId xmlns:a16="http://schemas.microsoft.com/office/drawing/2014/main" id="{A77D379F-8436-D94A-94B2-5E591D66D8FB}"/>
                </a:ext>
              </a:extLst>
            </p:cNvPr>
            <p:cNvSpPr/>
            <p:nvPr/>
          </p:nvSpPr>
          <p:spPr>
            <a:xfrm>
              <a:off x="5046937" y="2410950"/>
              <a:ext cx="74136" cy="74136"/>
            </a:xfrm>
            <a:custGeom>
              <a:avLst/>
              <a:gdLst>
                <a:gd name="connsiteX0" fmla="*/ 53 w 74136"/>
                <a:gd name="connsiteY0" fmla="*/ 36997 h 74136"/>
                <a:gd name="connsiteX1" fmla="*/ 36997 w 74136"/>
                <a:gd name="connsiteY1" fmla="*/ 78019 h 74136"/>
                <a:gd name="connsiteX2" fmla="*/ 78019 w 74136"/>
                <a:gd name="connsiteY2" fmla="*/ 41075 h 74136"/>
                <a:gd name="connsiteX3" fmla="*/ 41075 w 74136"/>
                <a:gd name="connsiteY3" fmla="*/ 53 h 74136"/>
                <a:gd name="connsiteX4" fmla="*/ 53 w 74136"/>
                <a:gd name="connsiteY4" fmla="*/ 36997 h 74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36" h="74136">
                  <a:moveTo>
                    <a:pt x="53" y="36997"/>
                  </a:moveTo>
                  <a:cubicBezTo>
                    <a:pt x="-1059" y="58497"/>
                    <a:pt x="15498" y="76907"/>
                    <a:pt x="36997" y="78019"/>
                  </a:cubicBezTo>
                  <a:cubicBezTo>
                    <a:pt x="58497" y="79132"/>
                    <a:pt x="76907" y="62574"/>
                    <a:pt x="78019" y="41075"/>
                  </a:cubicBezTo>
                  <a:cubicBezTo>
                    <a:pt x="79132" y="19575"/>
                    <a:pt x="62574" y="1165"/>
                    <a:pt x="41075" y="53"/>
                  </a:cubicBezTo>
                  <a:cubicBezTo>
                    <a:pt x="19575" y="-1059"/>
                    <a:pt x="1165" y="15498"/>
                    <a:pt x="53" y="36997"/>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132" name="Freeform: Shape 63">
              <a:extLst>
                <a:ext uri="{FF2B5EF4-FFF2-40B4-BE49-F238E27FC236}">
                  <a16:creationId xmlns:a16="http://schemas.microsoft.com/office/drawing/2014/main" id="{38668882-2FD7-C649-9F29-96ED0ACE7FA4}"/>
                </a:ext>
              </a:extLst>
            </p:cNvPr>
            <p:cNvSpPr/>
            <p:nvPr/>
          </p:nvSpPr>
          <p:spPr>
            <a:xfrm>
              <a:off x="5084266" y="2293685"/>
              <a:ext cx="234765" cy="172985"/>
            </a:xfrm>
            <a:custGeom>
              <a:avLst/>
              <a:gdLst>
                <a:gd name="connsiteX0" fmla="*/ 31176 w 234764"/>
                <a:gd name="connsiteY0" fmla="*/ 112375 h 172984"/>
                <a:gd name="connsiteX1" fmla="*/ 34389 w 234764"/>
                <a:gd name="connsiteY1" fmla="*/ 173167 h 172984"/>
                <a:gd name="connsiteX2" fmla="*/ 66762 w 234764"/>
                <a:gd name="connsiteY2" fmla="*/ 174526 h 172984"/>
                <a:gd name="connsiteX3" fmla="*/ 69480 w 234764"/>
                <a:gd name="connsiteY3" fmla="*/ 112746 h 172984"/>
                <a:gd name="connsiteX4" fmla="*/ 244936 w 234764"/>
                <a:gd name="connsiteY4" fmla="*/ 32926 h 172984"/>
                <a:gd name="connsiteX5" fmla="*/ 31176 w 234764"/>
                <a:gd name="connsiteY5" fmla="*/ 2654 h 172984"/>
                <a:gd name="connsiteX6" fmla="*/ 3870 w 234764"/>
                <a:gd name="connsiteY6" fmla="*/ 117194 h 172984"/>
                <a:gd name="connsiteX7" fmla="*/ 29570 w 234764"/>
                <a:gd name="connsiteY7" fmla="*/ 91988 h 172984"/>
                <a:gd name="connsiteX8" fmla="*/ 31176 w 234764"/>
                <a:gd name="connsiteY8" fmla="*/ 112375 h 17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764" h="172984">
                  <a:moveTo>
                    <a:pt x="31176" y="112375"/>
                  </a:moveTo>
                  <a:lnTo>
                    <a:pt x="34389" y="173167"/>
                  </a:lnTo>
                  <a:lnTo>
                    <a:pt x="66762" y="174526"/>
                  </a:lnTo>
                  <a:lnTo>
                    <a:pt x="69480" y="112746"/>
                  </a:lnTo>
                  <a:cubicBezTo>
                    <a:pt x="196006" y="125596"/>
                    <a:pt x="244936" y="32926"/>
                    <a:pt x="244936" y="32926"/>
                  </a:cubicBezTo>
                  <a:cubicBezTo>
                    <a:pt x="229244" y="32061"/>
                    <a:pt x="77388" y="-10938"/>
                    <a:pt x="31176" y="2654"/>
                  </a:cubicBezTo>
                  <a:cubicBezTo>
                    <a:pt x="-15159" y="16369"/>
                    <a:pt x="3870" y="117194"/>
                    <a:pt x="3870" y="117194"/>
                  </a:cubicBezTo>
                  <a:lnTo>
                    <a:pt x="29570" y="91988"/>
                  </a:lnTo>
                  <a:lnTo>
                    <a:pt x="31176" y="112375"/>
                  </a:lnTo>
                  <a:close/>
                </a:path>
              </a:pathLst>
            </a:custGeom>
            <a:solidFill>
              <a:srgbClr val="4701A7"/>
            </a:solidFill>
            <a:ln w="12353" cap="flat">
              <a:noFill/>
              <a:prstDash val="solid"/>
              <a:miter/>
            </a:ln>
          </p:spPr>
          <p:txBody>
            <a:bodyPr rtlCol="0" anchor="ctr"/>
            <a:lstStyle/>
            <a:p>
              <a:endParaRPr lang="en-US"/>
            </a:p>
          </p:txBody>
        </p:sp>
        <p:sp>
          <p:nvSpPr>
            <p:cNvPr id="133" name="Freeform: Shape 64">
              <a:extLst>
                <a:ext uri="{FF2B5EF4-FFF2-40B4-BE49-F238E27FC236}">
                  <a16:creationId xmlns:a16="http://schemas.microsoft.com/office/drawing/2014/main" id="{CCB308F5-53E1-AD43-9A4B-6A2F2C6337B5}"/>
                </a:ext>
              </a:extLst>
            </p:cNvPr>
            <p:cNvSpPr/>
            <p:nvPr/>
          </p:nvSpPr>
          <p:spPr>
            <a:xfrm>
              <a:off x="5246293" y="3745826"/>
              <a:ext cx="222409" cy="135916"/>
            </a:xfrm>
            <a:custGeom>
              <a:avLst/>
              <a:gdLst>
                <a:gd name="connsiteX0" fmla="*/ 116023 w 222408"/>
                <a:gd name="connsiteY0" fmla="*/ 14580 h 135916"/>
                <a:gd name="connsiteX1" fmla="*/ 35709 w 222408"/>
                <a:gd name="connsiteY1" fmla="*/ 0 h 135916"/>
                <a:gd name="connsiteX2" fmla="*/ 0 w 222408"/>
                <a:gd name="connsiteY2" fmla="*/ 131715 h 135916"/>
                <a:gd name="connsiteX3" fmla="*/ 228463 w 222408"/>
                <a:gd name="connsiteY3" fmla="*/ 145925 h 135916"/>
                <a:gd name="connsiteX4" fmla="*/ 231799 w 222408"/>
                <a:gd name="connsiteY4" fmla="*/ 128132 h 135916"/>
                <a:gd name="connsiteX5" fmla="*/ 206840 w 222408"/>
                <a:gd name="connsiteY5" fmla="*/ 85998 h 135916"/>
                <a:gd name="connsiteX6" fmla="*/ 98601 w 222408"/>
                <a:gd name="connsiteY6" fmla="*/ 66723 h 135916"/>
                <a:gd name="connsiteX7" fmla="*/ 116023 w 222408"/>
                <a:gd name="connsiteY7" fmla="*/ 14580 h 13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408" h="135916">
                  <a:moveTo>
                    <a:pt x="116023" y="14580"/>
                  </a:moveTo>
                  <a:lnTo>
                    <a:pt x="35709" y="0"/>
                  </a:lnTo>
                  <a:lnTo>
                    <a:pt x="0" y="131715"/>
                  </a:lnTo>
                  <a:lnTo>
                    <a:pt x="228463" y="145925"/>
                  </a:lnTo>
                  <a:lnTo>
                    <a:pt x="231799" y="128132"/>
                  </a:lnTo>
                  <a:cubicBezTo>
                    <a:pt x="233406" y="109722"/>
                    <a:pt x="223644" y="93412"/>
                    <a:pt x="206840" y="85998"/>
                  </a:cubicBezTo>
                  <a:lnTo>
                    <a:pt x="98601" y="66723"/>
                  </a:lnTo>
                  <a:lnTo>
                    <a:pt x="116023" y="14580"/>
                  </a:lnTo>
                  <a:close/>
                </a:path>
              </a:pathLst>
            </a:custGeom>
            <a:solidFill>
              <a:schemeClr val="accent4"/>
            </a:solidFill>
            <a:ln w="12353" cap="flat">
              <a:noFill/>
              <a:prstDash val="solid"/>
              <a:miter/>
            </a:ln>
          </p:spPr>
          <p:txBody>
            <a:bodyPr rtlCol="0" anchor="ctr"/>
            <a:lstStyle/>
            <a:p>
              <a:endParaRPr lang="en-US"/>
            </a:p>
          </p:txBody>
        </p:sp>
        <p:sp>
          <p:nvSpPr>
            <p:cNvPr id="134" name="Freeform: Shape 65">
              <a:extLst>
                <a:ext uri="{FF2B5EF4-FFF2-40B4-BE49-F238E27FC236}">
                  <a16:creationId xmlns:a16="http://schemas.microsoft.com/office/drawing/2014/main" id="{51E9F14D-9764-B74D-8A85-A18F56C9ECD5}"/>
                </a:ext>
              </a:extLst>
            </p:cNvPr>
            <p:cNvSpPr/>
            <p:nvPr/>
          </p:nvSpPr>
          <p:spPr>
            <a:xfrm>
              <a:off x="4768237" y="3979231"/>
              <a:ext cx="222409" cy="135916"/>
            </a:xfrm>
            <a:custGeom>
              <a:avLst/>
              <a:gdLst>
                <a:gd name="connsiteX0" fmla="*/ 121089 w 222408"/>
                <a:gd name="connsiteY0" fmla="*/ 11244 h 135916"/>
                <a:gd name="connsiteX1" fmla="*/ 40281 w 222408"/>
                <a:gd name="connsiteY1" fmla="*/ 0 h 135916"/>
                <a:gd name="connsiteX2" fmla="*/ 0 w 222408"/>
                <a:gd name="connsiteY2" fmla="*/ 138882 h 135916"/>
                <a:gd name="connsiteX3" fmla="*/ 228957 w 222408"/>
                <a:gd name="connsiteY3" fmla="*/ 143701 h 135916"/>
                <a:gd name="connsiteX4" fmla="*/ 231429 w 222408"/>
                <a:gd name="connsiteY4" fmla="*/ 125785 h 135916"/>
                <a:gd name="connsiteX5" fmla="*/ 204740 w 222408"/>
                <a:gd name="connsiteY5" fmla="*/ 84762 h 135916"/>
                <a:gd name="connsiteX6" fmla="*/ 102061 w 222408"/>
                <a:gd name="connsiteY6" fmla="*/ 70800 h 135916"/>
                <a:gd name="connsiteX7" fmla="*/ 121089 w 222408"/>
                <a:gd name="connsiteY7" fmla="*/ 11244 h 13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408" h="135916">
                  <a:moveTo>
                    <a:pt x="121089" y="11244"/>
                  </a:moveTo>
                  <a:lnTo>
                    <a:pt x="40281" y="0"/>
                  </a:lnTo>
                  <a:lnTo>
                    <a:pt x="0" y="138882"/>
                  </a:lnTo>
                  <a:lnTo>
                    <a:pt x="228957" y="143701"/>
                  </a:lnTo>
                  <a:lnTo>
                    <a:pt x="231429" y="125785"/>
                  </a:lnTo>
                  <a:cubicBezTo>
                    <a:pt x="232170" y="107374"/>
                    <a:pt x="221915" y="91435"/>
                    <a:pt x="204740" y="84762"/>
                  </a:cubicBezTo>
                  <a:lnTo>
                    <a:pt x="102061" y="70800"/>
                  </a:lnTo>
                  <a:lnTo>
                    <a:pt x="121089" y="11244"/>
                  </a:lnTo>
                  <a:close/>
                </a:path>
              </a:pathLst>
            </a:custGeom>
            <a:solidFill>
              <a:schemeClr val="accent4"/>
            </a:solidFill>
            <a:ln w="12353" cap="flat">
              <a:noFill/>
              <a:prstDash val="solid"/>
              <a:miter/>
            </a:ln>
          </p:spPr>
          <p:txBody>
            <a:bodyPr rtlCol="0" anchor="ctr"/>
            <a:lstStyle/>
            <a:p>
              <a:endParaRPr lang="en-US"/>
            </a:p>
          </p:txBody>
        </p:sp>
        <p:sp>
          <p:nvSpPr>
            <p:cNvPr id="135" name="Freeform: Shape 66">
              <a:extLst>
                <a:ext uri="{FF2B5EF4-FFF2-40B4-BE49-F238E27FC236}">
                  <a16:creationId xmlns:a16="http://schemas.microsoft.com/office/drawing/2014/main" id="{AE87A1E4-3AB2-5A42-8745-D69086EFE005}"/>
                </a:ext>
              </a:extLst>
            </p:cNvPr>
            <p:cNvSpPr/>
            <p:nvPr/>
          </p:nvSpPr>
          <p:spPr>
            <a:xfrm>
              <a:off x="4763666" y="3191163"/>
              <a:ext cx="407749" cy="815499"/>
            </a:xfrm>
            <a:custGeom>
              <a:avLst/>
              <a:gdLst>
                <a:gd name="connsiteX0" fmla="*/ 220679 w 407749"/>
                <a:gd name="connsiteY0" fmla="*/ 0 h 815498"/>
                <a:gd name="connsiteX1" fmla="*/ 153956 w 407749"/>
                <a:gd name="connsiteY1" fmla="*/ 340285 h 815498"/>
                <a:gd name="connsiteX2" fmla="*/ 0 w 407749"/>
                <a:gd name="connsiteY2" fmla="*/ 816240 h 815498"/>
                <a:gd name="connsiteX3" fmla="*/ 145554 w 407749"/>
                <a:gd name="connsiteY3" fmla="*/ 824642 h 815498"/>
                <a:gd name="connsiteX4" fmla="*/ 315450 w 407749"/>
                <a:gd name="connsiteY4" fmla="*/ 353754 h 815498"/>
                <a:gd name="connsiteX5" fmla="*/ 417016 w 407749"/>
                <a:gd name="connsiteY5" fmla="*/ 0 h 81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749" h="815498">
                  <a:moveTo>
                    <a:pt x="220679" y="0"/>
                  </a:moveTo>
                  <a:lnTo>
                    <a:pt x="153956" y="340285"/>
                  </a:lnTo>
                  <a:lnTo>
                    <a:pt x="0" y="816240"/>
                  </a:lnTo>
                  <a:lnTo>
                    <a:pt x="145554" y="824642"/>
                  </a:lnTo>
                  <a:lnTo>
                    <a:pt x="315450" y="353754"/>
                  </a:lnTo>
                  <a:lnTo>
                    <a:pt x="417016" y="0"/>
                  </a:lnTo>
                  <a:close/>
                </a:path>
              </a:pathLst>
            </a:custGeom>
            <a:solidFill>
              <a:schemeClr val="accent5"/>
            </a:solidFill>
            <a:ln w="12353" cap="flat">
              <a:noFill/>
              <a:prstDash val="solid"/>
              <a:miter/>
            </a:ln>
          </p:spPr>
          <p:txBody>
            <a:bodyPr rtlCol="0" anchor="ctr"/>
            <a:lstStyle/>
            <a:p>
              <a:endParaRPr lang="en-US"/>
            </a:p>
          </p:txBody>
        </p:sp>
        <p:sp>
          <p:nvSpPr>
            <p:cNvPr id="136" name="Freeform: Shape 67">
              <a:extLst>
                <a:ext uri="{FF2B5EF4-FFF2-40B4-BE49-F238E27FC236}">
                  <a16:creationId xmlns:a16="http://schemas.microsoft.com/office/drawing/2014/main" id="{F92A2E7B-03B7-6749-9B4A-94C8FF395FFF}"/>
                </a:ext>
              </a:extLst>
            </p:cNvPr>
            <p:cNvSpPr/>
            <p:nvPr/>
          </p:nvSpPr>
          <p:spPr>
            <a:xfrm>
              <a:off x="4973471" y="3222300"/>
              <a:ext cx="172985" cy="111204"/>
            </a:xfrm>
            <a:custGeom>
              <a:avLst/>
              <a:gdLst>
                <a:gd name="connsiteX0" fmla="*/ 4695 w 172984"/>
                <a:gd name="connsiteY0" fmla="*/ 0 h 111204"/>
                <a:gd name="connsiteX1" fmla="*/ 183982 w 172984"/>
                <a:gd name="connsiteY1" fmla="*/ 49671 h 111204"/>
                <a:gd name="connsiteX2" fmla="*/ 163470 w 172984"/>
                <a:gd name="connsiteY2" fmla="*/ 121336 h 111204"/>
                <a:gd name="connsiteX3" fmla="*/ 0 w 172984"/>
                <a:gd name="connsiteY3" fmla="*/ 23971 h 111204"/>
              </a:gdLst>
              <a:ahLst/>
              <a:cxnLst>
                <a:cxn ang="0">
                  <a:pos x="connsiteX0" y="connsiteY0"/>
                </a:cxn>
                <a:cxn ang="0">
                  <a:pos x="connsiteX1" y="connsiteY1"/>
                </a:cxn>
                <a:cxn ang="0">
                  <a:pos x="connsiteX2" y="connsiteY2"/>
                </a:cxn>
                <a:cxn ang="0">
                  <a:pos x="connsiteX3" y="connsiteY3"/>
                </a:cxn>
              </a:cxnLst>
              <a:rect l="l" t="t" r="r" b="b"/>
              <a:pathLst>
                <a:path w="172984" h="111204">
                  <a:moveTo>
                    <a:pt x="4695" y="0"/>
                  </a:moveTo>
                  <a:lnTo>
                    <a:pt x="183982" y="49671"/>
                  </a:lnTo>
                  <a:lnTo>
                    <a:pt x="163470" y="121336"/>
                  </a:lnTo>
                  <a:lnTo>
                    <a:pt x="0" y="23971"/>
                  </a:lnTo>
                  <a:close/>
                </a:path>
              </a:pathLst>
            </a:custGeom>
            <a:solidFill>
              <a:schemeClr val="accent5">
                <a:lumMod val="75000"/>
              </a:schemeClr>
            </a:solidFill>
            <a:ln w="12353" cap="flat">
              <a:noFill/>
              <a:prstDash val="solid"/>
              <a:miter/>
            </a:ln>
          </p:spPr>
          <p:txBody>
            <a:bodyPr rtlCol="0" anchor="ctr"/>
            <a:lstStyle/>
            <a:p>
              <a:endParaRPr lang="en-US"/>
            </a:p>
          </p:txBody>
        </p:sp>
        <p:sp>
          <p:nvSpPr>
            <p:cNvPr id="137" name="Freeform: Shape 68">
              <a:extLst>
                <a:ext uri="{FF2B5EF4-FFF2-40B4-BE49-F238E27FC236}">
                  <a16:creationId xmlns:a16="http://schemas.microsoft.com/office/drawing/2014/main" id="{CCCC6547-5656-9F4B-8E2D-35279BFCBB69}"/>
                </a:ext>
              </a:extLst>
            </p:cNvPr>
            <p:cNvSpPr/>
            <p:nvPr/>
          </p:nvSpPr>
          <p:spPr>
            <a:xfrm>
              <a:off x="4943570" y="3132348"/>
              <a:ext cx="580734" cy="642514"/>
            </a:xfrm>
            <a:custGeom>
              <a:avLst/>
              <a:gdLst>
                <a:gd name="connsiteX0" fmla="*/ 301364 w 580733"/>
                <a:gd name="connsiteY0" fmla="*/ 123 h 642514"/>
                <a:gd name="connsiteX1" fmla="*/ 531928 w 580733"/>
                <a:gd name="connsiteY1" fmla="*/ 71665 h 642514"/>
                <a:gd name="connsiteX2" fmla="*/ 586171 w 580733"/>
                <a:gd name="connsiteY2" fmla="*/ 158899 h 642514"/>
                <a:gd name="connsiteX3" fmla="*/ 441852 w 580733"/>
                <a:gd name="connsiteY3" fmla="*/ 646097 h 642514"/>
                <a:gd name="connsiteX4" fmla="*/ 290985 w 580733"/>
                <a:gd name="connsiteY4" fmla="*/ 644985 h 642514"/>
                <a:gd name="connsiteX5" fmla="*/ 427519 w 580733"/>
                <a:gd name="connsiteY5" fmla="*/ 186082 h 642514"/>
                <a:gd name="connsiteX6" fmla="*/ 88099 w 580733"/>
                <a:gd name="connsiteY6" fmla="*/ 112193 h 642514"/>
                <a:gd name="connsiteX7" fmla="*/ 0 w 580733"/>
                <a:gd name="connsiteY7" fmla="*/ 15816 h 642514"/>
                <a:gd name="connsiteX8" fmla="*/ 0 w 580733"/>
                <a:gd name="connsiteY8" fmla="*/ 0 h 642514"/>
                <a:gd name="connsiteX9" fmla="*/ 301364 w 580733"/>
                <a:gd name="connsiteY9" fmla="*/ 0 h 64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0733" h="642514">
                  <a:moveTo>
                    <a:pt x="301364" y="123"/>
                  </a:moveTo>
                  <a:lnTo>
                    <a:pt x="531928" y="71665"/>
                  </a:lnTo>
                  <a:cubicBezTo>
                    <a:pt x="572579" y="78461"/>
                    <a:pt x="598156" y="119359"/>
                    <a:pt x="586171" y="158899"/>
                  </a:cubicBezTo>
                  <a:lnTo>
                    <a:pt x="441852" y="646097"/>
                  </a:lnTo>
                  <a:lnTo>
                    <a:pt x="290985" y="644985"/>
                  </a:lnTo>
                  <a:lnTo>
                    <a:pt x="427519" y="186082"/>
                  </a:lnTo>
                  <a:lnTo>
                    <a:pt x="88099" y="112193"/>
                  </a:lnTo>
                  <a:cubicBezTo>
                    <a:pt x="38180" y="107745"/>
                    <a:pt x="0" y="65858"/>
                    <a:pt x="0" y="15816"/>
                  </a:cubicBezTo>
                  <a:lnTo>
                    <a:pt x="0" y="0"/>
                  </a:lnTo>
                  <a:lnTo>
                    <a:pt x="301364" y="0"/>
                  </a:lnTo>
                  <a:close/>
                </a:path>
              </a:pathLst>
            </a:custGeom>
            <a:solidFill>
              <a:schemeClr val="accent5"/>
            </a:solidFill>
            <a:ln w="12353" cap="flat">
              <a:noFill/>
              <a:prstDash val="solid"/>
              <a:miter/>
            </a:ln>
          </p:spPr>
          <p:txBody>
            <a:bodyPr rtlCol="0" anchor="ctr"/>
            <a:lstStyle/>
            <a:p>
              <a:endParaRPr lang="en-US"/>
            </a:p>
          </p:txBody>
        </p:sp>
        <p:sp>
          <p:nvSpPr>
            <p:cNvPr id="138" name="Freeform: Shape 69">
              <a:extLst>
                <a:ext uri="{FF2B5EF4-FFF2-40B4-BE49-F238E27FC236}">
                  <a16:creationId xmlns:a16="http://schemas.microsoft.com/office/drawing/2014/main" id="{260166DB-3771-DB4C-8600-392E9D59CA7B}"/>
                </a:ext>
              </a:extLst>
            </p:cNvPr>
            <p:cNvSpPr/>
            <p:nvPr/>
          </p:nvSpPr>
          <p:spPr>
            <a:xfrm>
              <a:off x="4915522" y="2639837"/>
              <a:ext cx="345969" cy="506598"/>
            </a:xfrm>
            <a:custGeom>
              <a:avLst/>
              <a:gdLst>
                <a:gd name="connsiteX0" fmla="*/ 238348 w 345969"/>
                <a:gd name="connsiteY0" fmla="*/ 0 h 506597"/>
                <a:gd name="connsiteX1" fmla="*/ 238348 w 345969"/>
                <a:gd name="connsiteY1" fmla="*/ 0 h 506597"/>
                <a:gd name="connsiteX2" fmla="*/ 354989 w 345969"/>
                <a:gd name="connsiteY2" fmla="*/ 168042 h 506597"/>
                <a:gd name="connsiteX3" fmla="*/ 329536 w 345969"/>
                <a:gd name="connsiteY3" fmla="*/ 492635 h 506597"/>
                <a:gd name="connsiteX4" fmla="*/ 0 w 345969"/>
                <a:gd name="connsiteY4" fmla="*/ 506721 h 506597"/>
                <a:gd name="connsiteX5" fmla="*/ 52760 w 345969"/>
                <a:gd name="connsiteY5" fmla="*/ 120348 h 506597"/>
                <a:gd name="connsiteX6" fmla="*/ 157910 w 345969"/>
                <a:gd name="connsiteY6" fmla="*/ 247 h 506597"/>
                <a:gd name="connsiteX7" fmla="*/ 238348 w 345969"/>
                <a:gd name="connsiteY7" fmla="*/ 0 h 506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969" h="506597">
                  <a:moveTo>
                    <a:pt x="238348" y="0"/>
                  </a:moveTo>
                  <a:lnTo>
                    <a:pt x="238348" y="0"/>
                  </a:lnTo>
                  <a:cubicBezTo>
                    <a:pt x="304329" y="247"/>
                    <a:pt x="354989" y="94153"/>
                    <a:pt x="354989" y="168042"/>
                  </a:cubicBezTo>
                  <a:lnTo>
                    <a:pt x="329536" y="492635"/>
                  </a:lnTo>
                  <a:lnTo>
                    <a:pt x="0" y="506721"/>
                  </a:lnTo>
                  <a:lnTo>
                    <a:pt x="52760" y="120348"/>
                  </a:lnTo>
                  <a:cubicBezTo>
                    <a:pt x="60545" y="49671"/>
                    <a:pt x="104903" y="0"/>
                    <a:pt x="157910" y="247"/>
                  </a:cubicBezTo>
                  <a:lnTo>
                    <a:pt x="238348" y="0"/>
                  </a:lnTo>
                  <a:close/>
                </a:path>
              </a:pathLst>
            </a:custGeom>
            <a:solidFill>
              <a:srgbClr val="CB2980"/>
            </a:solidFill>
            <a:ln w="12353" cap="flat">
              <a:noFill/>
              <a:prstDash val="solid"/>
              <a:miter/>
            </a:ln>
          </p:spPr>
          <p:txBody>
            <a:bodyPr rtlCol="0" anchor="ctr"/>
            <a:lstStyle/>
            <a:p>
              <a:endParaRPr lang="en-US"/>
            </a:p>
          </p:txBody>
        </p:sp>
        <p:sp>
          <p:nvSpPr>
            <p:cNvPr id="139" name="Freeform: Shape 70">
              <a:extLst>
                <a:ext uri="{FF2B5EF4-FFF2-40B4-BE49-F238E27FC236}">
                  <a16:creationId xmlns:a16="http://schemas.microsoft.com/office/drawing/2014/main" id="{A3EE7EA3-6DAE-6343-B454-4F7265C08038}"/>
                </a:ext>
              </a:extLst>
            </p:cNvPr>
            <p:cNvSpPr/>
            <p:nvPr/>
          </p:nvSpPr>
          <p:spPr>
            <a:xfrm>
              <a:off x="5732390" y="2617730"/>
              <a:ext cx="135916" cy="135916"/>
            </a:xfrm>
            <a:custGeom>
              <a:avLst/>
              <a:gdLst>
                <a:gd name="connsiteX0" fmla="*/ 22107 w 135916"/>
                <a:gd name="connsiteY0" fmla="*/ 119596 h 135916"/>
                <a:gd name="connsiteX1" fmla="*/ 119596 w 135916"/>
                <a:gd name="connsiteY1" fmla="*/ 115889 h 135916"/>
                <a:gd name="connsiteX2" fmla="*/ 115889 w 135916"/>
                <a:gd name="connsiteY2" fmla="*/ 18400 h 135916"/>
                <a:gd name="connsiteX3" fmla="*/ 18400 w 135916"/>
                <a:gd name="connsiteY3" fmla="*/ 22107 h 135916"/>
                <a:gd name="connsiteX4" fmla="*/ 22107 w 135916"/>
                <a:gd name="connsiteY4" fmla="*/ 119596 h 135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916" h="135916">
                  <a:moveTo>
                    <a:pt x="22107" y="119596"/>
                  </a:moveTo>
                  <a:cubicBezTo>
                    <a:pt x="50032" y="145544"/>
                    <a:pt x="93648" y="143814"/>
                    <a:pt x="119596" y="115889"/>
                  </a:cubicBezTo>
                  <a:cubicBezTo>
                    <a:pt x="145544" y="87965"/>
                    <a:pt x="143814" y="44224"/>
                    <a:pt x="115889" y="18400"/>
                  </a:cubicBezTo>
                  <a:cubicBezTo>
                    <a:pt x="87965" y="-7548"/>
                    <a:pt x="44348" y="-5818"/>
                    <a:pt x="18400" y="22107"/>
                  </a:cubicBezTo>
                  <a:cubicBezTo>
                    <a:pt x="-7548" y="50032"/>
                    <a:pt x="-5818" y="93648"/>
                    <a:pt x="22107" y="119596"/>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140" name="Freeform: Shape 71">
              <a:extLst>
                <a:ext uri="{FF2B5EF4-FFF2-40B4-BE49-F238E27FC236}">
                  <a16:creationId xmlns:a16="http://schemas.microsoft.com/office/drawing/2014/main" id="{E0E6787F-7124-1040-B27F-CF8CC7DD8DD5}"/>
                </a:ext>
              </a:extLst>
            </p:cNvPr>
            <p:cNvSpPr/>
            <p:nvPr/>
          </p:nvSpPr>
          <p:spPr>
            <a:xfrm>
              <a:off x="5107411" y="2646385"/>
              <a:ext cx="716650" cy="284189"/>
            </a:xfrm>
            <a:custGeom>
              <a:avLst/>
              <a:gdLst>
                <a:gd name="connsiteX0" fmla="*/ 341027 w 716650"/>
                <a:gd name="connsiteY0" fmla="*/ 286413 h 284188"/>
                <a:gd name="connsiteX1" fmla="*/ 320639 w 716650"/>
                <a:gd name="connsiteY1" fmla="*/ 282212 h 284188"/>
                <a:gd name="connsiteX2" fmla="*/ 0 w 716650"/>
                <a:gd name="connsiteY2" fmla="*/ 141971 h 284188"/>
                <a:gd name="connsiteX3" fmla="*/ 40651 w 716650"/>
                <a:gd name="connsiteY3" fmla="*/ 48930 h 284188"/>
                <a:gd name="connsiteX4" fmla="*/ 344610 w 716650"/>
                <a:gd name="connsiteY4" fmla="*/ 181881 h 284188"/>
                <a:gd name="connsiteX5" fmla="*/ 689838 w 716650"/>
                <a:gd name="connsiteY5" fmla="*/ 0 h 284188"/>
                <a:gd name="connsiteX6" fmla="*/ 717392 w 716650"/>
                <a:gd name="connsiteY6" fmla="*/ 71789 h 284188"/>
                <a:gd name="connsiteX7" fmla="*/ 354618 w 716650"/>
                <a:gd name="connsiteY7" fmla="*/ 284436 h 284188"/>
                <a:gd name="connsiteX8" fmla="*/ 341027 w 716650"/>
                <a:gd name="connsiteY8" fmla="*/ 286413 h 28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650" h="284188">
                  <a:moveTo>
                    <a:pt x="341027" y="286413"/>
                  </a:moveTo>
                  <a:cubicBezTo>
                    <a:pt x="334107" y="286413"/>
                    <a:pt x="327188" y="284930"/>
                    <a:pt x="320639" y="282212"/>
                  </a:cubicBezTo>
                  <a:lnTo>
                    <a:pt x="0" y="141971"/>
                  </a:lnTo>
                  <a:lnTo>
                    <a:pt x="40651" y="48930"/>
                  </a:lnTo>
                  <a:lnTo>
                    <a:pt x="344610" y="181881"/>
                  </a:lnTo>
                  <a:lnTo>
                    <a:pt x="689838" y="0"/>
                  </a:lnTo>
                  <a:lnTo>
                    <a:pt x="717392" y="71789"/>
                  </a:lnTo>
                  <a:lnTo>
                    <a:pt x="354618" y="284436"/>
                  </a:lnTo>
                  <a:cubicBezTo>
                    <a:pt x="350170" y="285795"/>
                    <a:pt x="345599" y="286413"/>
                    <a:pt x="341027" y="286413"/>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141" name="Freeform: Shape 72">
              <a:extLst>
                <a:ext uri="{FF2B5EF4-FFF2-40B4-BE49-F238E27FC236}">
                  <a16:creationId xmlns:a16="http://schemas.microsoft.com/office/drawing/2014/main" id="{0E62568E-D29F-5C40-B7C8-F9547FFFE437}"/>
                </a:ext>
              </a:extLst>
            </p:cNvPr>
            <p:cNvSpPr/>
            <p:nvPr/>
          </p:nvSpPr>
          <p:spPr>
            <a:xfrm>
              <a:off x="5073212" y="2672341"/>
              <a:ext cx="234765" cy="222409"/>
            </a:xfrm>
            <a:custGeom>
              <a:avLst/>
              <a:gdLst>
                <a:gd name="connsiteX0" fmla="*/ 246723 w 234764"/>
                <a:gd name="connsiteY0" fmla="*/ 83395 h 222408"/>
                <a:gd name="connsiteX1" fmla="*/ 180741 w 234764"/>
                <a:gd name="connsiteY1" fmla="*/ 222524 h 222408"/>
                <a:gd name="connsiteX2" fmla="*/ 39512 w 234764"/>
                <a:gd name="connsiteY2" fmla="*/ 143940 h 222408"/>
                <a:gd name="connsiteX3" fmla="*/ 10969 w 234764"/>
                <a:gd name="connsiteY3" fmla="*/ 37307 h 222408"/>
                <a:gd name="connsiteX4" fmla="*/ 102528 w 234764"/>
                <a:gd name="connsiteY4" fmla="*/ 4440 h 222408"/>
                <a:gd name="connsiteX5" fmla="*/ 246723 w 234764"/>
                <a:gd name="connsiteY5" fmla="*/ 83395 h 2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764" h="222408">
                  <a:moveTo>
                    <a:pt x="246723" y="83395"/>
                  </a:moveTo>
                  <a:lnTo>
                    <a:pt x="180741" y="222524"/>
                  </a:lnTo>
                  <a:lnTo>
                    <a:pt x="39512" y="143940"/>
                  </a:lnTo>
                  <a:cubicBezTo>
                    <a:pt x="1579" y="122811"/>
                    <a:pt x="-11395" y="74499"/>
                    <a:pt x="10969" y="37307"/>
                  </a:cubicBezTo>
                  <a:cubicBezTo>
                    <a:pt x="29751" y="5923"/>
                    <a:pt x="68054" y="-7792"/>
                    <a:pt x="102528" y="4440"/>
                  </a:cubicBezTo>
                  <a:lnTo>
                    <a:pt x="246723" y="83395"/>
                  </a:lnTo>
                  <a:close/>
                </a:path>
              </a:pathLst>
            </a:custGeom>
            <a:solidFill>
              <a:srgbClr val="860864"/>
            </a:solidFill>
            <a:ln w="12353" cap="flat">
              <a:noFill/>
              <a:prstDash val="solid"/>
              <a:miter/>
            </a:ln>
          </p:spPr>
          <p:txBody>
            <a:bodyPr rtlCol="0" anchor="ctr"/>
            <a:lstStyle/>
            <a:p>
              <a:endParaRPr lang="en-US"/>
            </a:p>
          </p:txBody>
        </p:sp>
        <p:sp>
          <p:nvSpPr>
            <p:cNvPr id="142" name="Freeform: Shape 73">
              <a:extLst>
                <a:ext uri="{FF2B5EF4-FFF2-40B4-BE49-F238E27FC236}">
                  <a16:creationId xmlns:a16="http://schemas.microsoft.com/office/drawing/2014/main" id="{EB451E7B-44C0-C645-9817-028646DEF085}"/>
                </a:ext>
              </a:extLst>
            </p:cNvPr>
            <p:cNvSpPr/>
            <p:nvPr/>
          </p:nvSpPr>
          <p:spPr>
            <a:xfrm>
              <a:off x="5100615" y="2807755"/>
              <a:ext cx="160629" cy="135916"/>
            </a:xfrm>
            <a:custGeom>
              <a:avLst/>
              <a:gdLst>
                <a:gd name="connsiteX0" fmla="*/ 164953 w 160628"/>
                <a:gd name="connsiteY0" fmla="*/ 62645 h 135916"/>
                <a:gd name="connsiteX1" fmla="*/ 158775 w 160628"/>
                <a:gd name="connsiteY1" fmla="*/ 141229 h 135916"/>
                <a:gd name="connsiteX2" fmla="*/ 0 w 160628"/>
                <a:gd name="connsiteY2" fmla="*/ 0 h 135916"/>
                <a:gd name="connsiteX3" fmla="*/ 153339 w 160628"/>
                <a:gd name="connsiteY3" fmla="*/ 86986 h 135916"/>
              </a:gdLst>
              <a:ahLst/>
              <a:cxnLst>
                <a:cxn ang="0">
                  <a:pos x="connsiteX0" y="connsiteY0"/>
                </a:cxn>
                <a:cxn ang="0">
                  <a:pos x="connsiteX1" y="connsiteY1"/>
                </a:cxn>
                <a:cxn ang="0">
                  <a:pos x="connsiteX2" y="connsiteY2"/>
                </a:cxn>
                <a:cxn ang="0">
                  <a:pos x="connsiteX3" y="connsiteY3"/>
                </a:cxn>
              </a:cxnLst>
              <a:rect l="l" t="t" r="r" b="b"/>
              <a:pathLst>
                <a:path w="160628" h="135916">
                  <a:moveTo>
                    <a:pt x="164953" y="62645"/>
                  </a:moveTo>
                  <a:lnTo>
                    <a:pt x="158775" y="141229"/>
                  </a:lnTo>
                  <a:lnTo>
                    <a:pt x="0" y="0"/>
                  </a:lnTo>
                  <a:lnTo>
                    <a:pt x="153339" y="86986"/>
                  </a:lnTo>
                  <a:close/>
                </a:path>
              </a:pathLst>
            </a:custGeom>
            <a:solidFill>
              <a:srgbClr val="4701A7"/>
            </a:solidFill>
            <a:ln w="12353" cap="flat">
              <a:noFill/>
              <a:prstDash val="solid"/>
              <a:miter/>
            </a:ln>
          </p:spPr>
          <p:txBody>
            <a:bodyPr rtlCol="0" anchor="ctr"/>
            <a:lstStyle/>
            <a:p>
              <a:endParaRPr lang="en-US"/>
            </a:p>
          </p:txBody>
        </p:sp>
        <p:sp>
          <p:nvSpPr>
            <p:cNvPr id="143" name="Freeform: Shape 74">
              <a:extLst>
                <a:ext uri="{FF2B5EF4-FFF2-40B4-BE49-F238E27FC236}">
                  <a16:creationId xmlns:a16="http://schemas.microsoft.com/office/drawing/2014/main" id="{4276F26A-A757-DA45-87D9-9DB4324F715A}"/>
                </a:ext>
              </a:extLst>
            </p:cNvPr>
            <p:cNvSpPr/>
            <p:nvPr/>
          </p:nvSpPr>
          <p:spPr>
            <a:xfrm>
              <a:off x="7811475" y="4835352"/>
              <a:ext cx="261816" cy="124674"/>
            </a:xfrm>
            <a:custGeom>
              <a:avLst/>
              <a:gdLst>
                <a:gd name="connsiteX0" fmla="*/ 172923 w 261816"/>
                <a:gd name="connsiteY0" fmla="*/ 0 h 124674"/>
                <a:gd name="connsiteX1" fmla="*/ 265432 w 261816"/>
                <a:gd name="connsiteY1" fmla="*/ 2618 h 124674"/>
                <a:gd name="connsiteX2" fmla="*/ 263063 w 261816"/>
                <a:gd name="connsiteY2" fmla="*/ 135272 h 124674"/>
                <a:gd name="connsiteX3" fmla="*/ 0 w 261816"/>
                <a:gd name="connsiteY3" fmla="*/ 127667 h 124674"/>
                <a:gd name="connsiteX4" fmla="*/ 37652 w 261816"/>
                <a:gd name="connsiteY4" fmla="*/ 86773 h 124674"/>
                <a:gd name="connsiteX5" fmla="*/ 169059 w 261816"/>
                <a:gd name="connsiteY5" fmla="*/ 59470 h 124674"/>
                <a:gd name="connsiteX6" fmla="*/ 172923 w 261816"/>
                <a:gd name="connsiteY6" fmla="*/ 0 h 12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816" h="124674">
                  <a:moveTo>
                    <a:pt x="172923" y="0"/>
                  </a:moveTo>
                  <a:lnTo>
                    <a:pt x="265432" y="2618"/>
                  </a:lnTo>
                  <a:lnTo>
                    <a:pt x="263063" y="135272"/>
                  </a:lnTo>
                  <a:lnTo>
                    <a:pt x="0" y="127667"/>
                  </a:lnTo>
                  <a:cubicBezTo>
                    <a:pt x="2618" y="106971"/>
                    <a:pt x="17205" y="91012"/>
                    <a:pt x="37652" y="86773"/>
                  </a:cubicBezTo>
                  <a:lnTo>
                    <a:pt x="169059" y="59470"/>
                  </a:lnTo>
                  <a:lnTo>
                    <a:pt x="172923" y="0"/>
                  </a:lnTo>
                  <a:close/>
                </a:path>
              </a:pathLst>
            </a:custGeom>
            <a:solidFill>
              <a:schemeClr val="accent5"/>
            </a:solidFill>
            <a:ln w="12431" cap="flat">
              <a:noFill/>
              <a:prstDash val="solid"/>
              <a:miter/>
            </a:ln>
          </p:spPr>
          <p:txBody>
            <a:bodyPr rtlCol="0" anchor="ctr"/>
            <a:lstStyle/>
            <a:p>
              <a:endParaRPr lang="en-US"/>
            </a:p>
          </p:txBody>
        </p:sp>
        <p:sp>
          <p:nvSpPr>
            <p:cNvPr id="144" name="Freeform: Shape 75">
              <a:extLst>
                <a:ext uri="{FF2B5EF4-FFF2-40B4-BE49-F238E27FC236}">
                  <a16:creationId xmlns:a16="http://schemas.microsoft.com/office/drawing/2014/main" id="{79B3A325-E396-0B44-8E62-C4D66AD1E05C}"/>
                </a:ext>
              </a:extLst>
            </p:cNvPr>
            <p:cNvSpPr/>
            <p:nvPr/>
          </p:nvSpPr>
          <p:spPr>
            <a:xfrm>
              <a:off x="8275887" y="4847445"/>
              <a:ext cx="236881" cy="124674"/>
            </a:xfrm>
            <a:custGeom>
              <a:avLst/>
              <a:gdLst>
                <a:gd name="connsiteX0" fmla="*/ 147490 w 236881"/>
                <a:gd name="connsiteY0" fmla="*/ 8478 h 124674"/>
                <a:gd name="connsiteX1" fmla="*/ 235261 w 236881"/>
                <a:gd name="connsiteY1" fmla="*/ 0 h 124674"/>
                <a:gd name="connsiteX2" fmla="*/ 248850 w 236881"/>
                <a:gd name="connsiteY2" fmla="*/ 125672 h 124674"/>
                <a:gd name="connsiteX3" fmla="*/ 0 w 236881"/>
                <a:gd name="connsiteY3" fmla="*/ 129287 h 124674"/>
                <a:gd name="connsiteX4" fmla="*/ 30795 w 236881"/>
                <a:gd name="connsiteY4" fmla="*/ 86150 h 124674"/>
                <a:gd name="connsiteX5" fmla="*/ 150981 w 236881"/>
                <a:gd name="connsiteY5" fmla="*/ 65205 h 124674"/>
                <a:gd name="connsiteX6" fmla="*/ 147490 w 236881"/>
                <a:gd name="connsiteY6" fmla="*/ 8478 h 12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881" h="124674">
                  <a:moveTo>
                    <a:pt x="147490" y="8478"/>
                  </a:moveTo>
                  <a:lnTo>
                    <a:pt x="235261" y="0"/>
                  </a:lnTo>
                  <a:lnTo>
                    <a:pt x="248850" y="125672"/>
                  </a:lnTo>
                  <a:lnTo>
                    <a:pt x="0" y="129287"/>
                  </a:lnTo>
                  <a:cubicBezTo>
                    <a:pt x="0" y="109339"/>
                    <a:pt x="11844" y="92633"/>
                    <a:pt x="30795" y="86150"/>
                  </a:cubicBezTo>
                  <a:lnTo>
                    <a:pt x="150981" y="65205"/>
                  </a:lnTo>
                  <a:lnTo>
                    <a:pt x="147490" y="8478"/>
                  </a:lnTo>
                  <a:close/>
                </a:path>
              </a:pathLst>
            </a:custGeom>
            <a:solidFill>
              <a:schemeClr val="accent5"/>
            </a:solidFill>
            <a:ln w="12431" cap="flat">
              <a:noFill/>
              <a:prstDash val="solid"/>
              <a:miter/>
            </a:ln>
          </p:spPr>
          <p:txBody>
            <a:bodyPr rtlCol="0" anchor="ctr"/>
            <a:lstStyle/>
            <a:p>
              <a:endParaRPr lang="en-US"/>
            </a:p>
          </p:txBody>
        </p:sp>
        <p:sp>
          <p:nvSpPr>
            <p:cNvPr id="145" name="Freeform: Shape 76">
              <a:extLst>
                <a:ext uri="{FF2B5EF4-FFF2-40B4-BE49-F238E27FC236}">
                  <a16:creationId xmlns:a16="http://schemas.microsoft.com/office/drawing/2014/main" id="{AFF33F8B-3E38-7A4E-A2F7-23568CDB5EE7}"/>
                </a:ext>
              </a:extLst>
            </p:cNvPr>
            <p:cNvSpPr/>
            <p:nvPr/>
          </p:nvSpPr>
          <p:spPr>
            <a:xfrm>
              <a:off x="7947111" y="4776336"/>
              <a:ext cx="162077" cy="62337"/>
            </a:xfrm>
            <a:custGeom>
              <a:avLst/>
              <a:gdLst>
                <a:gd name="connsiteX0" fmla="*/ 0 w 162076"/>
                <a:gd name="connsiteY0" fmla="*/ 59309 h 62337"/>
                <a:gd name="connsiteX1" fmla="*/ 2101 w 162076"/>
                <a:gd name="connsiteY1" fmla="*/ 0 h 62337"/>
                <a:gd name="connsiteX2" fmla="*/ 172055 w 162076"/>
                <a:gd name="connsiteY2" fmla="*/ 6020 h 62337"/>
                <a:gd name="connsiteX3" fmla="*/ 169954 w 162076"/>
                <a:gd name="connsiteY3" fmla="*/ 65329 h 62337"/>
              </a:gdLst>
              <a:ahLst/>
              <a:cxnLst>
                <a:cxn ang="0">
                  <a:pos x="connsiteX0" y="connsiteY0"/>
                </a:cxn>
                <a:cxn ang="0">
                  <a:pos x="connsiteX1" y="connsiteY1"/>
                </a:cxn>
                <a:cxn ang="0">
                  <a:pos x="connsiteX2" y="connsiteY2"/>
                </a:cxn>
                <a:cxn ang="0">
                  <a:pos x="connsiteX3" y="connsiteY3"/>
                </a:cxn>
              </a:cxnLst>
              <a:rect l="l" t="t" r="r" b="b"/>
              <a:pathLst>
                <a:path w="162076" h="62337">
                  <a:moveTo>
                    <a:pt x="0" y="59309"/>
                  </a:moveTo>
                  <a:lnTo>
                    <a:pt x="2101" y="0"/>
                  </a:lnTo>
                  <a:lnTo>
                    <a:pt x="172055" y="6020"/>
                  </a:lnTo>
                  <a:lnTo>
                    <a:pt x="169954" y="65329"/>
                  </a:lnTo>
                  <a:close/>
                </a:path>
              </a:pathLst>
            </a:custGeom>
            <a:solidFill>
              <a:schemeClr val="accent3">
                <a:lumMod val="75000"/>
                <a:lumOff val="25000"/>
              </a:schemeClr>
            </a:solidFill>
            <a:ln w="12431" cap="flat">
              <a:noFill/>
              <a:prstDash val="solid"/>
              <a:miter/>
            </a:ln>
          </p:spPr>
          <p:txBody>
            <a:bodyPr rtlCol="0" anchor="ctr"/>
            <a:lstStyle/>
            <a:p>
              <a:endParaRPr lang="en-US"/>
            </a:p>
          </p:txBody>
        </p:sp>
        <p:sp>
          <p:nvSpPr>
            <p:cNvPr id="146" name="Freeform: Shape 77">
              <a:extLst>
                <a:ext uri="{FF2B5EF4-FFF2-40B4-BE49-F238E27FC236}">
                  <a16:creationId xmlns:a16="http://schemas.microsoft.com/office/drawing/2014/main" id="{5975358A-548B-2849-904C-008C032BFD0E}"/>
                </a:ext>
              </a:extLst>
            </p:cNvPr>
            <p:cNvSpPr/>
            <p:nvPr/>
          </p:nvSpPr>
          <p:spPr>
            <a:xfrm>
              <a:off x="8370640" y="4788599"/>
              <a:ext cx="174544" cy="62337"/>
            </a:xfrm>
            <a:custGeom>
              <a:avLst/>
              <a:gdLst>
                <a:gd name="connsiteX0" fmla="*/ 0 w 174544"/>
                <a:gd name="connsiteY0" fmla="*/ 10223 h 62337"/>
                <a:gd name="connsiteX1" fmla="*/ 173048 w 174544"/>
                <a:gd name="connsiteY1" fmla="*/ 0 h 62337"/>
                <a:gd name="connsiteX2" fmla="*/ 182399 w 174544"/>
                <a:gd name="connsiteY2" fmla="*/ 58597 h 62337"/>
                <a:gd name="connsiteX3" fmla="*/ 9351 w 174544"/>
                <a:gd name="connsiteY3" fmla="*/ 68820 h 62337"/>
              </a:gdLst>
              <a:ahLst/>
              <a:cxnLst>
                <a:cxn ang="0">
                  <a:pos x="connsiteX0" y="connsiteY0"/>
                </a:cxn>
                <a:cxn ang="0">
                  <a:pos x="connsiteX1" y="connsiteY1"/>
                </a:cxn>
                <a:cxn ang="0">
                  <a:pos x="connsiteX2" y="connsiteY2"/>
                </a:cxn>
                <a:cxn ang="0">
                  <a:pos x="connsiteX3" y="connsiteY3"/>
                </a:cxn>
              </a:cxnLst>
              <a:rect l="l" t="t" r="r" b="b"/>
              <a:pathLst>
                <a:path w="174544" h="62337">
                  <a:moveTo>
                    <a:pt x="0" y="10223"/>
                  </a:moveTo>
                  <a:lnTo>
                    <a:pt x="173048" y="0"/>
                  </a:lnTo>
                  <a:lnTo>
                    <a:pt x="182399" y="58597"/>
                  </a:lnTo>
                  <a:lnTo>
                    <a:pt x="9351" y="68820"/>
                  </a:lnTo>
                  <a:close/>
                </a:path>
              </a:pathLst>
            </a:custGeom>
            <a:solidFill>
              <a:schemeClr val="accent3">
                <a:lumMod val="75000"/>
                <a:lumOff val="25000"/>
              </a:schemeClr>
            </a:solidFill>
            <a:ln w="12431" cap="flat">
              <a:noFill/>
              <a:prstDash val="solid"/>
              <a:miter/>
            </a:ln>
          </p:spPr>
          <p:txBody>
            <a:bodyPr rtlCol="0" anchor="ctr"/>
            <a:lstStyle/>
            <a:p>
              <a:endParaRPr lang="en-US"/>
            </a:p>
          </p:txBody>
        </p:sp>
      </p:grpSp>
    </p:spTree>
    <p:extLst>
      <p:ext uri="{BB962C8B-B14F-4D97-AF65-F5344CB8AC3E}">
        <p14:creationId xmlns:p14="http://schemas.microsoft.com/office/powerpoint/2010/main" val="19188812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2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7349" y="190500"/>
            <a:ext cx="11125236" cy="723900"/>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24249080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grpSp>
        <p:nvGrpSpPr>
          <p:cNvPr id="7" name="Group 6">
            <a:extLst>
              <a:ext uri="{FF2B5EF4-FFF2-40B4-BE49-F238E27FC236}">
                <a16:creationId xmlns:a16="http://schemas.microsoft.com/office/drawing/2014/main" id="{D93F0F27-6B90-4485-A3C5-1C1E05E189E8}"/>
              </a:ext>
            </a:extLst>
          </p:cNvPr>
          <p:cNvGrpSpPr/>
          <p:nvPr/>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 5">
            <a:extLst>
              <a:ext uri="{FF2B5EF4-FFF2-40B4-BE49-F238E27FC236}">
                <a16:creationId xmlns:a16="http://schemas.microsoft.com/office/drawing/2014/main" id="{5F1B5192-FA56-4945-A014-022D63CA5983}"/>
              </a:ext>
            </a:extLst>
          </p:cNvPr>
          <p:cNvGrpSpPr/>
          <p:nvPr userDrawn="1"/>
        </p:nvGrpSpPr>
        <p:grpSpPr>
          <a:xfrm>
            <a:off x="436379" y="6431005"/>
            <a:ext cx="11326085" cy="94962"/>
            <a:chOff x="445128" y="6559056"/>
            <a:chExt cx="11553197" cy="96853"/>
          </a:xfrm>
        </p:grpSpPr>
        <p:sp>
          <p:nvSpPr>
            <p:cNvPr id="10" name="TextBox 9">
              <a:extLst>
                <a:ext uri="{FF2B5EF4-FFF2-40B4-BE49-F238E27FC236}">
                  <a16:creationId xmlns:a16="http://schemas.microsoft.com/office/drawing/2014/main" id="{2B03CE35-C576-8448-9273-7ABF22AEDB28}"/>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1" name="Freeform: Shape 8">
              <a:extLst>
                <a:ext uri="{FF2B5EF4-FFF2-40B4-BE49-F238E27FC236}">
                  <a16:creationId xmlns:a16="http://schemas.microsoft.com/office/drawing/2014/main" id="{3C08A4C0-269F-F348-9AA5-157D2BDCA23F}"/>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4916659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7827968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a:prstGeom prst="rect">
            <a:avLst/>
          </a:prstGeom>
        </p:spPr>
        <p:txBody>
          <a:bodyPr/>
          <a:lstStyle/>
          <a:p>
            <a:r>
              <a:rPr lang="en-US" dirty="0"/>
              <a:t>Click to edit Master title style</a:t>
            </a:r>
            <a:endParaRPr lang="en-GB" dirty="0"/>
          </a:p>
        </p:txBody>
      </p:sp>
      <p:sp>
        <p:nvSpPr>
          <p:cNvPr id="4" name="Text Placeholder 3"/>
          <p:cNvSpPr>
            <a:spLocks noGrp="1"/>
          </p:cNvSpPr>
          <p:nvPr>
            <p:ph type="body" sz="quarter" idx="10"/>
          </p:nvPr>
        </p:nvSpPr>
        <p:spPr>
          <a:xfrm>
            <a:off x="227348" y="1815351"/>
            <a:ext cx="11700000" cy="446620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extLst>
      <p:ext uri="{BB962C8B-B14F-4D97-AF65-F5344CB8AC3E}">
        <p14:creationId xmlns:p14="http://schemas.microsoft.com/office/powerpoint/2010/main" val="27856953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a:prstGeom prst="rect">
            <a:avLst/>
          </a:prstGeo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6469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3"/>
            <a:ext cx="11700000" cy="446620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a:xfrm>
            <a:off x="407988" y="404813"/>
            <a:ext cx="11016604" cy="863601"/>
          </a:xfrm>
          <a:prstGeom prst="rect">
            <a:avLst/>
          </a:prstGeom>
        </p:spPr>
        <p:txBody>
          <a:bodyPr/>
          <a:lstStyle/>
          <a:p>
            <a:r>
              <a:rPr lang="en-US"/>
              <a:t>Click to edit Master title style</a:t>
            </a:r>
          </a:p>
        </p:txBody>
      </p:sp>
      <p:sp>
        <p:nvSpPr>
          <p:cNvPr id="5" name="Retângulo 43">
            <a:extLst>
              <a:ext uri="{FF2B5EF4-FFF2-40B4-BE49-F238E27FC236}">
                <a16:creationId xmlns:a16="http://schemas.microsoft.com/office/drawing/2014/main" id="{25FC8637-25BD-4C09-AF25-56B4243DAB3D}"/>
              </a:ext>
            </a:extLst>
          </p:cNvPr>
          <p:cNvSpPr/>
          <p:nvPr/>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9" name="Conector reto 49">
            <a:extLst>
              <a:ext uri="{FF2B5EF4-FFF2-40B4-BE49-F238E27FC236}">
                <a16:creationId xmlns:a16="http://schemas.microsoft.com/office/drawing/2014/main" id="{34AC08AF-93C6-4331-887D-F00F28E225BC}"/>
              </a:ext>
            </a:extLst>
          </p:cNvPr>
          <p:cNvCxnSpPr>
            <a:cxnSpLocks/>
          </p:cNvCxnSpPr>
          <p:nvPr/>
        </p:nvCxnSpPr>
        <p:spPr>
          <a:xfrm flipV="1">
            <a:off x="3304685" y="6585692"/>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a16="http://schemas.microsoft.com/office/drawing/2014/main" id="{F635EC66-FD7E-4264-975E-5A41369AC1A5}"/>
              </a:ext>
            </a:extLst>
          </p:cNvPr>
          <p:cNvSpPr/>
          <p:nvPr/>
        </p:nvSpPr>
        <p:spPr>
          <a:xfrm>
            <a:off x="407989" y="6601924"/>
            <a:ext cx="2811667" cy="123111"/>
          </a:xfrm>
          <a:prstGeom prst="rect">
            <a:avLst/>
          </a:prstGeom>
        </p:spPr>
        <p:txBody>
          <a:bodyPr wrap="none" lIns="0" tIns="0" rIns="0" bIns="0" anchor="ctr" anchorCtr="0">
            <a:spAutoFit/>
          </a:bodyPr>
          <a:lstStyle/>
          <a:p>
            <a:pPr lvl="0" algn="l" defTabSz="914400">
              <a:lnSpc>
                <a:spcPct val="100000"/>
              </a:lnSpc>
              <a:defRPr/>
            </a:pPr>
            <a:r>
              <a:rPr lang="en-US" sz="800" kern="0">
                <a:solidFill>
                  <a:srgbClr val="00458D"/>
                </a:solidFill>
                <a:latin typeface="+mn-lt"/>
                <a:cs typeface="Arial" panose="020B0604020202020204" pitchFamily="34" charset="0"/>
              </a:rPr>
              <a:t>Capgemini Cloud Platform Overview | November 2018</a:t>
            </a:r>
          </a:p>
        </p:txBody>
      </p:sp>
      <p:sp>
        <p:nvSpPr>
          <p:cNvPr id="11" name="Retângulo 43">
            <a:extLst>
              <a:ext uri="{FF2B5EF4-FFF2-40B4-BE49-F238E27FC236}">
                <a16:creationId xmlns:a16="http://schemas.microsoft.com/office/drawing/2014/main" id="{9B3E0D63-3081-4A01-99E5-BBC1A4A6050C}"/>
              </a:ext>
            </a:extLst>
          </p:cNvPr>
          <p:cNvSpPr/>
          <p:nvPr/>
        </p:nvSpPr>
        <p:spPr>
          <a:xfrm>
            <a:off x="3389714" y="6599937"/>
            <a:ext cx="2039020" cy="127086"/>
          </a:xfrm>
          <a:prstGeom prst="rect">
            <a:avLst/>
          </a:prstGeom>
        </p:spPr>
        <p:txBody>
          <a:bodyPr wrap="square" lIns="0" tIns="0" rIns="0" bIns="0" anchor="ctr">
            <a:spAutoFit/>
          </a:bodyPr>
          <a:lstStyle/>
          <a:p>
            <a:pPr algn="l">
              <a:lnSpc>
                <a:spcPct val="100000"/>
              </a:lnSpc>
            </a:pPr>
            <a:r>
              <a:rPr lang="en-US" sz="800">
                <a:solidFill>
                  <a:schemeClr val="tx1"/>
                </a:solidFill>
                <a:latin typeface="+mn-lt"/>
                <a:cs typeface="Arial" panose="020B0604020202020204" pitchFamily="34" charset="0"/>
              </a:rPr>
              <a:t>© 2018 Capgemini. All rights reserved.</a:t>
            </a:r>
          </a:p>
        </p:txBody>
      </p:sp>
      <p:sp>
        <p:nvSpPr>
          <p:cNvPr id="8" name="Retângulo 43">
            <a:extLst>
              <a:ext uri="{FF2B5EF4-FFF2-40B4-BE49-F238E27FC236}">
                <a16:creationId xmlns:a16="http://schemas.microsoft.com/office/drawing/2014/main" id="{0AAC4116-C518-7C4C-9A19-DFECC85CD098}"/>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12" name="Conector reto 49">
            <a:extLst>
              <a:ext uri="{FF2B5EF4-FFF2-40B4-BE49-F238E27FC236}">
                <a16:creationId xmlns:a16="http://schemas.microsoft.com/office/drawing/2014/main" id="{0EE16301-90AF-7448-A4E0-BF450AC3A618}"/>
              </a:ext>
            </a:extLst>
          </p:cNvPr>
          <p:cNvCxnSpPr>
            <a:cxnSpLocks/>
          </p:cNvCxnSpPr>
          <p:nvPr userDrawn="1"/>
        </p:nvCxnSpPr>
        <p:spPr>
          <a:xfrm flipV="1">
            <a:off x="3304685" y="6585692"/>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3" name="Rectangle 27">
            <a:extLst>
              <a:ext uri="{FF2B5EF4-FFF2-40B4-BE49-F238E27FC236}">
                <a16:creationId xmlns:a16="http://schemas.microsoft.com/office/drawing/2014/main" id="{B1A56D20-A84F-7F40-9279-CFC51A723554}"/>
              </a:ext>
            </a:extLst>
          </p:cNvPr>
          <p:cNvSpPr/>
          <p:nvPr userDrawn="1"/>
        </p:nvSpPr>
        <p:spPr>
          <a:xfrm>
            <a:off x="407989" y="6601924"/>
            <a:ext cx="2811667" cy="123111"/>
          </a:xfrm>
          <a:prstGeom prst="rect">
            <a:avLst/>
          </a:prstGeom>
        </p:spPr>
        <p:txBody>
          <a:bodyPr wrap="none" lIns="0" tIns="0" rIns="0" bIns="0" anchor="ctr" anchorCtr="0">
            <a:spAutoFit/>
          </a:bodyPr>
          <a:lstStyle/>
          <a:p>
            <a:pPr lvl="0" algn="l" defTabSz="914400">
              <a:lnSpc>
                <a:spcPct val="100000"/>
              </a:lnSpc>
              <a:defRPr/>
            </a:pPr>
            <a:r>
              <a:rPr lang="en-US" sz="800" kern="0">
                <a:solidFill>
                  <a:srgbClr val="00458D"/>
                </a:solidFill>
                <a:latin typeface="+mn-lt"/>
                <a:cs typeface="Arial" panose="020B0604020202020204" pitchFamily="34" charset="0"/>
              </a:rPr>
              <a:t>Capgemini Cloud Platform Overview | November 2018</a:t>
            </a:r>
          </a:p>
        </p:txBody>
      </p:sp>
      <p:sp>
        <p:nvSpPr>
          <p:cNvPr id="14" name="Retângulo 43">
            <a:extLst>
              <a:ext uri="{FF2B5EF4-FFF2-40B4-BE49-F238E27FC236}">
                <a16:creationId xmlns:a16="http://schemas.microsoft.com/office/drawing/2014/main" id="{815189DB-330E-914B-8ADB-F1C3747766D1}"/>
              </a:ext>
            </a:extLst>
          </p:cNvPr>
          <p:cNvSpPr/>
          <p:nvPr userDrawn="1"/>
        </p:nvSpPr>
        <p:spPr>
          <a:xfrm>
            <a:off x="3389714" y="6599937"/>
            <a:ext cx="2039020" cy="127086"/>
          </a:xfrm>
          <a:prstGeom prst="rect">
            <a:avLst/>
          </a:prstGeom>
        </p:spPr>
        <p:txBody>
          <a:bodyPr wrap="square" lIns="0" tIns="0" rIns="0" bIns="0" anchor="ctr">
            <a:spAutoFit/>
          </a:bodyPr>
          <a:lstStyle/>
          <a:p>
            <a:pPr algn="l">
              <a:lnSpc>
                <a:spcPct val="100000"/>
              </a:lnSpc>
            </a:pPr>
            <a:r>
              <a:rPr lang="en-US" sz="800">
                <a:solidFill>
                  <a:schemeClr val="tx1"/>
                </a:solidFill>
                <a:latin typeface="+mn-lt"/>
                <a:cs typeface="Arial" panose="020B0604020202020204" pitchFamily="34" charset="0"/>
              </a:rPr>
              <a:t>© 2018 Capgemini. All rights reserved.</a:t>
            </a:r>
          </a:p>
        </p:txBody>
      </p:sp>
    </p:spTree>
    <p:extLst>
      <p:ext uri="{BB962C8B-B14F-4D97-AF65-F5344CB8AC3E}">
        <p14:creationId xmlns:p14="http://schemas.microsoft.com/office/powerpoint/2010/main" val="42162267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dirty="0"/>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extLst>
      <p:ext uri="{BB962C8B-B14F-4D97-AF65-F5344CB8AC3E}">
        <p14:creationId xmlns:p14="http://schemas.microsoft.com/office/powerpoint/2010/main" val="11066004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71"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a:prstGeom prst="rect">
            <a:avLst/>
          </a:prstGeo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35616774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79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33096613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6800854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36722"/>
            <a:ext cx="9230589" cy="1470010"/>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dirty="0"/>
          </a:p>
        </p:txBody>
      </p:sp>
    </p:spTree>
    <p:extLst>
      <p:ext uri="{BB962C8B-B14F-4D97-AF65-F5344CB8AC3E}">
        <p14:creationId xmlns:p14="http://schemas.microsoft.com/office/powerpoint/2010/main" val="38514714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Blank-Grey">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sz="2400" dirty="0"/>
            </a:lvl1pPr>
          </a:lstStyle>
          <a:p>
            <a:pPr lvl="0">
              <a:lnSpc>
                <a:spcPts val="3000"/>
              </a:lnSpc>
            </a:pPr>
            <a:r>
              <a:rPr lang="en-US"/>
              <a:t>Click to add title</a:t>
            </a:r>
            <a:endParaRPr lang="pt-PT"/>
          </a:p>
        </p:txBody>
      </p:sp>
      <p:sp>
        <p:nvSpPr>
          <p:cNvPr id="16" name="Text Placeholder 2">
            <a:extLst>
              <a:ext uri="{FF2B5EF4-FFF2-40B4-BE49-F238E27FC236}">
                <a16:creationId xmlns:a16="http://schemas.microsoft.com/office/drawing/2014/main" id="{AF310831-D03E-404B-934F-73B268225B7E}"/>
              </a:ext>
            </a:extLst>
          </p:cNvPr>
          <p:cNvSpPr>
            <a:spLocks noGrp="1"/>
          </p:cNvSpPr>
          <p:nvPr>
            <p:ph idx="1"/>
          </p:nvPr>
        </p:nvSpPr>
        <p:spPr>
          <a:xfrm>
            <a:off x="413067" y="1271016"/>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Tree>
    <p:extLst>
      <p:ext uri="{BB962C8B-B14F-4D97-AF65-F5344CB8AC3E}">
        <p14:creationId xmlns:p14="http://schemas.microsoft.com/office/powerpoint/2010/main" val="36249105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6">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37891" name="think-cell Slide" r:id="rId4" imgW="360" imgH="360" progId="">
                  <p:embed/>
                </p:oleObj>
              </mc:Choice>
              <mc:Fallback>
                <p:oleObj name="think-cell Slide" r:id="rId4" imgW="360" imgH="36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805" name="Freeform 5"/>
          <p:cNvSpPr>
            <a:spLocks/>
          </p:cNvSpPr>
          <p:nvPr userDrawn="1"/>
        </p:nvSpPr>
        <p:spPr bwMode="auto">
          <a:xfrm>
            <a:off x="7189244" y="0"/>
            <a:ext cx="5002756" cy="1707300"/>
          </a:xfrm>
          <a:custGeom>
            <a:avLst/>
            <a:gdLst/>
            <a:ahLst/>
            <a:cxnLst>
              <a:cxn ang="0">
                <a:pos x="1540" y="721"/>
              </a:cxn>
              <a:cxn ang="0">
                <a:pos x="1505" y="720"/>
              </a:cxn>
              <a:cxn ang="0">
                <a:pos x="1478" y="719"/>
              </a:cxn>
              <a:cxn ang="0">
                <a:pos x="1460" y="718"/>
              </a:cxn>
              <a:cxn ang="0">
                <a:pos x="1448" y="717"/>
              </a:cxn>
              <a:cxn ang="0">
                <a:pos x="1377" y="711"/>
              </a:cxn>
              <a:cxn ang="0">
                <a:pos x="1312" y="704"/>
              </a:cxn>
              <a:cxn ang="0">
                <a:pos x="1218" y="690"/>
              </a:cxn>
              <a:cxn ang="0">
                <a:pos x="1117" y="670"/>
              </a:cxn>
              <a:cxn ang="0">
                <a:pos x="972" y="637"/>
              </a:cxn>
              <a:cxn ang="0">
                <a:pos x="818" y="594"/>
              </a:cxn>
              <a:cxn ang="0">
                <a:pos x="685" y="554"/>
              </a:cxn>
              <a:cxn ang="0">
                <a:pos x="487" y="491"/>
              </a:cxn>
              <a:cxn ang="0">
                <a:pos x="355" y="450"/>
              </a:cxn>
              <a:cxn ang="0">
                <a:pos x="164" y="397"/>
              </a:cxn>
              <a:cxn ang="0">
                <a:pos x="44" y="372"/>
              </a:cxn>
              <a:cxn ang="0">
                <a:pos x="7" y="366"/>
              </a:cxn>
              <a:cxn ang="0">
                <a:pos x="5" y="353"/>
              </a:cxn>
              <a:cxn ang="0">
                <a:pos x="4" y="343"/>
              </a:cxn>
              <a:cxn ang="0">
                <a:pos x="3" y="327"/>
              </a:cxn>
              <a:cxn ang="0">
                <a:pos x="3" y="320"/>
              </a:cxn>
              <a:cxn ang="0">
                <a:pos x="0" y="300"/>
              </a:cxn>
              <a:cxn ang="0">
                <a:pos x="3" y="278"/>
              </a:cxn>
              <a:cxn ang="0">
                <a:pos x="3" y="258"/>
              </a:cxn>
              <a:cxn ang="0">
                <a:pos x="6" y="211"/>
              </a:cxn>
              <a:cxn ang="0">
                <a:pos x="21" y="132"/>
              </a:cxn>
              <a:cxn ang="0">
                <a:pos x="65" y="13"/>
              </a:cxn>
              <a:cxn ang="0">
                <a:pos x="71" y="0"/>
              </a:cxn>
              <a:cxn ang="0">
                <a:pos x="76" y="1"/>
              </a:cxn>
              <a:cxn ang="0">
                <a:pos x="2113" y="1"/>
              </a:cxn>
              <a:cxn ang="0">
                <a:pos x="2108" y="625"/>
              </a:cxn>
              <a:cxn ang="0">
                <a:pos x="1995" y="665"/>
              </a:cxn>
              <a:cxn ang="0">
                <a:pos x="1844" y="700"/>
              </a:cxn>
              <a:cxn ang="0">
                <a:pos x="1745" y="713"/>
              </a:cxn>
              <a:cxn ang="0">
                <a:pos x="1681" y="718"/>
              </a:cxn>
              <a:cxn ang="0">
                <a:pos x="1613" y="720"/>
              </a:cxn>
            </a:cxnLst>
            <a:rect l="0" t="0" r="r" b="b"/>
            <a:pathLst>
              <a:path w="2113" h="721">
                <a:moveTo>
                  <a:pt x="1609" y="721"/>
                </a:moveTo>
                <a:cubicBezTo>
                  <a:pt x="1586" y="721"/>
                  <a:pt x="1563" y="721"/>
                  <a:pt x="1540" y="721"/>
                </a:cubicBezTo>
                <a:cubicBezTo>
                  <a:pt x="1538" y="720"/>
                  <a:pt x="1536" y="720"/>
                  <a:pt x="1533" y="720"/>
                </a:cubicBezTo>
                <a:cubicBezTo>
                  <a:pt x="1524" y="720"/>
                  <a:pt x="1515" y="720"/>
                  <a:pt x="1505" y="720"/>
                </a:cubicBezTo>
                <a:cubicBezTo>
                  <a:pt x="1505" y="720"/>
                  <a:pt x="1504" y="720"/>
                  <a:pt x="1504" y="720"/>
                </a:cubicBezTo>
                <a:cubicBezTo>
                  <a:pt x="1495" y="720"/>
                  <a:pt x="1487" y="720"/>
                  <a:pt x="1478" y="719"/>
                </a:cubicBezTo>
                <a:cubicBezTo>
                  <a:pt x="1478" y="718"/>
                  <a:pt x="1477" y="718"/>
                  <a:pt x="1476" y="719"/>
                </a:cubicBezTo>
                <a:cubicBezTo>
                  <a:pt x="1471" y="719"/>
                  <a:pt x="1465" y="718"/>
                  <a:pt x="1460" y="718"/>
                </a:cubicBezTo>
                <a:cubicBezTo>
                  <a:pt x="1459" y="717"/>
                  <a:pt x="1458" y="717"/>
                  <a:pt x="1458" y="718"/>
                </a:cubicBezTo>
                <a:cubicBezTo>
                  <a:pt x="1454" y="718"/>
                  <a:pt x="1451" y="718"/>
                  <a:pt x="1448" y="717"/>
                </a:cubicBezTo>
                <a:cubicBezTo>
                  <a:pt x="1437" y="717"/>
                  <a:pt x="1426" y="716"/>
                  <a:pt x="1415" y="715"/>
                </a:cubicBezTo>
                <a:cubicBezTo>
                  <a:pt x="1402" y="714"/>
                  <a:pt x="1390" y="713"/>
                  <a:pt x="1377" y="711"/>
                </a:cubicBezTo>
                <a:cubicBezTo>
                  <a:pt x="1370" y="711"/>
                  <a:pt x="1362" y="710"/>
                  <a:pt x="1355" y="709"/>
                </a:cubicBezTo>
                <a:cubicBezTo>
                  <a:pt x="1341" y="707"/>
                  <a:pt x="1326" y="706"/>
                  <a:pt x="1312" y="704"/>
                </a:cubicBezTo>
                <a:cubicBezTo>
                  <a:pt x="1294" y="701"/>
                  <a:pt x="1277" y="699"/>
                  <a:pt x="1259" y="696"/>
                </a:cubicBezTo>
                <a:cubicBezTo>
                  <a:pt x="1245" y="694"/>
                  <a:pt x="1232" y="692"/>
                  <a:pt x="1218" y="690"/>
                </a:cubicBezTo>
                <a:cubicBezTo>
                  <a:pt x="1205" y="687"/>
                  <a:pt x="1192" y="685"/>
                  <a:pt x="1178" y="682"/>
                </a:cubicBezTo>
                <a:cubicBezTo>
                  <a:pt x="1158" y="678"/>
                  <a:pt x="1137" y="675"/>
                  <a:pt x="1117" y="670"/>
                </a:cubicBezTo>
                <a:cubicBezTo>
                  <a:pt x="1098" y="666"/>
                  <a:pt x="1080" y="662"/>
                  <a:pt x="1061" y="658"/>
                </a:cubicBezTo>
                <a:cubicBezTo>
                  <a:pt x="1031" y="651"/>
                  <a:pt x="1002" y="644"/>
                  <a:pt x="972" y="637"/>
                </a:cubicBezTo>
                <a:cubicBezTo>
                  <a:pt x="947" y="630"/>
                  <a:pt x="923" y="624"/>
                  <a:pt x="898" y="617"/>
                </a:cubicBezTo>
                <a:cubicBezTo>
                  <a:pt x="871" y="609"/>
                  <a:pt x="845" y="602"/>
                  <a:pt x="818" y="594"/>
                </a:cubicBezTo>
                <a:cubicBezTo>
                  <a:pt x="797" y="588"/>
                  <a:pt x="775" y="582"/>
                  <a:pt x="754" y="575"/>
                </a:cubicBezTo>
                <a:cubicBezTo>
                  <a:pt x="731" y="568"/>
                  <a:pt x="708" y="561"/>
                  <a:pt x="685" y="554"/>
                </a:cubicBezTo>
                <a:cubicBezTo>
                  <a:pt x="656" y="545"/>
                  <a:pt x="627" y="536"/>
                  <a:pt x="598" y="526"/>
                </a:cubicBezTo>
                <a:cubicBezTo>
                  <a:pt x="561" y="515"/>
                  <a:pt x="524" y="503"/>
                  <a:pt x="487" y="491"/>
                </a:cubicBezTo>
                <a:cubicBezTo>
                  <a:pt x="460" y="482"/>
                  <a:pt x="434" y="474"/>
                  <a:pt x="407" y="466"/>
                </a:cubicBezTo>
                <a:cubicBezTo>
                  <a:pt x="390" y="460"/>
                  <a:pt x="372" y="455"/>
                  <a:pt x="355" y="450"/>
                </a:cubicBezTo>
                <a:cubicBezTo>
                  <a:pt x="321" y="439"/>
                  <a:pt x="287" y="429"/>
                  <a:pt x="254" y="420"/>
                </a:cubicBezTo>
                <a:cubicBezTo>
                  <a:pt x="224" y="412"/>
                  <a:pt x="194" y="404"/>
                  <a:pt x="164" y="397"/>
                </a:cubicBezTo>
                <a:cubicBezTo>
                  <a:pt x="143" y="392"/>
                  <a:pt x="122" y="387"/>
                  <a:pt x="100" y="382"/>
                </a:cubicBezTo>
                <a:cubicBezTo>
                  <a:pt x="81" y="378"/>
                  <a:pt x="63" y="375"/>
                  <a:pt x="44" y="372"/>
                </a:cubicBezTo>
                <a:cubicBezTo>
                  <a:pt x="35" y="371"/>
                  <a:pt x="27" y="370"/>
                  <a:pt x="19" y="368"/>
                </a:cubicBezTo>
                <a:cubicBezTo>
                  <a:pt x="15" y="367"/>
                  <a:pt x="11" y="368"/>
                  <a:pt x="7" y="366"/>
                </a:cubicBezTo>
                <a:cubicBezTo>
                  <a:pt x="7" y="365"/>
                  <a:pt x="7" y="365"/>
                  <a:pt x="6" y="364"/>
                </a:cubicBezTo>
                <a:cubicBezTo>
                  <a:pt x="6" y="360"/>
                  <a:pt x="6" y="357"/>
                  <a:pt x="5" y="353"/>
                </a:cubicBezTo>
                <a:cubicBezTo>
                  <a:pt x="6" y="352"/>
                  <a:pt x="6" y="351"/>
                  <a:pt x="5" y="350"/>
                </a:cubicBezTo>
                <a:cubicBezTo>
                  <a:pt x="4" y="348"/>
                  <a:pt x="4" y="345"/>
                  <a:pt x="4" y="343"/>
                </a:cubicBezTo>
                <a:cubicBezTo>
                  <a:pt x="5" y="341"/>
                  <a:pt x="5" y="339"/>
                  <a:pt x="4" y="337"/>
                </a:cubicBezTo>
                <a:cubicBezTo>
                  <a:pt x="4" y="334"/>
                  <a:pt x="3" y="330"/>
                  <a:pt x="3" y="327"/>
                </a:cubicBezTo>
                <a:cubicBezTo>
                  <a:pt x="4" y="325"/>
                  <a:pt x="4" y="324"/>
                  <a:pt x="3" y="322"/>
                </a:cubicBezTo>
                <a:cubicBezTo>
                  <a:pt x="3" y="321"/>
                  <a:pt x="3" y="321"/>
                  <a:pt x="3" y="320"/>
                </a:cubicBezTo>
                <a:cubicBezTo>
                  <a:pt x="3" y="315"/>
                  <a:pt x="3" y="309"/>
                  <a:pt x="3" y="304"/>
                </a:cubicBezTo>
                <a:cubicBezTo>
                  <a:pt x="3" y="302"/>
                  <a:pt x="2" y="301"/>
                  <a:pt x="0" y="300"/>
                </a:cubicBezTo>
                <a:cubicBezTo>
                  <a:pt x="0" y="295"/>
                  <a:pt x="0" y="289"/>
                  <a:pt x="0" y="283"/>
                </a:cubicBezTo>
                <a:cubicBezTo>
                  <a:pt x="2" y="282"/>
                  <a:pt x="3" y="280"/>
                  <a:pt x="3" y="278"/>
                </a:cubicBezTo>
                <a:cubicBezTo>
                  <a:pt x="3" y="273"/>
                  <a:pt x="3" y="267"/>
                  <a:pt x="3" y="262"/>
                </a:cubicBezTo>
                <a:cubicBezTo>
                  <a:pt x="3" y="261"/>
                  <a:pt x="3" y="259"/>
                  <a:pt x="3" y="258"/>
                </a:cubicBezTo>
                <a:cubicBezTo>
                  <a:pt x="3" y="254"/>
                  <a:pt x="3" y="250"/>
                  <a:pt x="3" y="246"/>
                </a:cubicBezTo>
                <a:cubicBezTo>
                  <a:pt x="4" y="235"/>
                  <a:pt x="5" y="223"/>
                  <a:pt x="6" y="211"/>
                </a:cubicBezTo>
                <a:cubicBezTo>
                  <a:pt x="8" y="198"/>
                  <a:pt x="9" y="185"/>
                  <a:pt x="12" y="172"/>
                </a:cubicBezTo>
                <a:cubicBezTo>
                  <a:pt x="15" y="159"/>
                  <a:pt x="17" y="145"/>
                  <a:pt x="21" y="132"/>
                </a:cubicBezTo>
                <a:cubicBezTo>
                  <a:pt x="26" y="112"/>
                  <a:pt x="32" y="93"/>
                  <a:pt x="39" y="74"/>
                </a:cubicBezTo>
                <a:cubicBezTo>
                  <a:pt x="47" y="53"/>
                  <a:pt x="55" y="33"/>
                  <a:pt x="65" y="13"/>
                </a:cubicBezTo>
                <a:cubicBezTo>
                  <a:pt x="67" y="9"/>
                  <a:pt x="69" y="6"/>
                  <a:pt x="70" y="3"/>
                </a:cubicBezTo>
                <a:cubicBezTo>
                  <a:pt x="71" y="2"/>
                  <a:pt x="71" y="1"/>
                  <a:pt x="71" y="0"/>
                </a:cubicBezTo>
                <a:cubicBezTo>
                  <a:pt x="72" y="0"/>
                  <a:pt x="72" y="0"/>
                  <a:pt x="73" y="0"/>
                </a:cubicBezTo>
                <a:cubicBezTo>
                  <a:pt x="74" y="1"/>
                  <a:pt x="75" y="1"/>
                  <a:pt x="76" y="1"/>
                </a:cubicBezTo>
                <a:cubicBezTo>
                  <a:pt x="78" y="1"/>
                  <a:pt x="80" y="1"/>
                  <a:pt x="82" y="1"/>
                </a:cubicBezTo>
                <a:cubicBezTo>
                  <a:pt x="759" y="1"/>
                  <a:pt x="1436" y="1"/>
                  <a:pt x="2113" y="1"/>
                </a:cubicBezTo>
                <a:cubicBezTo>
                  <a:pt x="2113" y="209"/>
                  <a:pt x="2113" y="416"/>
                  <a:pt x="2113" y="623"/>
                </a:cubicBezTo>
                <a:cubicBezTo>
                  <a:pt x="2111" y="623"/>
                  <a:pt x="2109" y="624"/>
                  <a:pt x="2108" y="625"/>
                </a:cubicBezTo>
                <a:cubicBezTo>
                  <a:pt x="2092" y="632"/>
                  <a:pt x="2077" y="638"/>
                  <a:pt x="2061" y="644"/>
                </a:cubicBezTo>
                <a:cubicBezTo>
                  <a:pt x="2039" y="652"/>
                  <a:pt x="2017" y="659"/>
                  <a:pt x="1995" y="665"/>
                </a:cubicBezTo>
                <a:cubicBezTo>
                  <a:pt x="1968" y="673"/>
                  <a:pt x="1941" y="680"/>
                  <a:pt x="1913" y="686"/>
                </a:cubicBezTo>
                <a:cubicBezTo>
                  <a:pt x="1890" y="691"/>
                  <a:pt x="1867" y="696"/>
                  <a:pt x="1844" y="700"/>
                </a:cubicBezTo>
                <a:cubicBezTo>
                  <a:pt x="1825" y="703"/>
                  <a:pt x="1805" y="706"/>
                  <a:pt x="1786" y="708"/>
                </a:cubicBezTo>
                <a:cubicBezTo>
                  <a:pt x="1772" y="710"/>
                  <a:pt x="1759" y="712"/>
                  <a:pt x="1745" y="713"/>
                </a:cubicBezTo>
                <a:cubicBezTo>
                  <a:pt x="1731" y="715"/>
                  <a:pt x="1717" y="716"/>
                  <a:pt x="1702" y="717"/>
                </a:cubicBezTo>
                <a:cubicBezTo>
                  <a:pt x="1695" y="718"/>
                  <a:pt x="1688" y="718"/>
                  <a:pt x="1681" y="718"/>
                </a:cubicBezTo>
                <a:cubicBezTo>
                  <a:pt x="1669" y="719"/>
                  <a:pt x="1656" y="720"/>
                  <a:pt x="1643" y="720"/>
                </a:cubicBezTo>
                <a:cubicBezTo>
                  <a:pt x="1633" y="720"/>
                  <a:pt x="1623" y="720"/>
                  <a:pt x="1613" y="720"/>
                </a:cubicBezTo>
                <a:cubicBezTo>
                  <a:pt x="1611" y="720"/>
                  <a:pt x="1610" y="721"/>
                  <a:pt x="1609" y="721"/>
                </a:cubicBezTo>
                <a:close/>
              </a:path>
            </a:pathLst>
          </a:custGeom>
          <a:solidFill>
            <a:schemeClr val="accent4"/>
          </a:solidFill>
          <a:ln w="9525">
            <a:noFill/>
            <a:round/>
            <a:headEnd/>
            <a:tailEnd/>
          </a:ln>
        </p:spPr>
        <p:txBody>
          <a:bodyPr vert="horz" wrap="square" lIns="91416" tIns="45708" rIns="91416" bIns="45708" numCol="1" anchor="t" anchorCtr="0" compatLnSpc="1">
            <a:prstTxWarp prst="textNoShape">
              <a:avLst/>
            </a:prstTxWarp>
          </a:bodyPr>
          <a:lstStyle/>
          <a:p>
            <a:endParaRPr lang="en-GB" sz="2099">
              <a:solidFill>
                <a:schemeClr val="accent4"/>
              </a:solidFill>
            </a:endParaRPr>
          </a:p>
        </p:txBody>
      </p:sp>
      <p:sp>
        <p:nvSpPr>
          <p:cNvPr id="2" name="Title 1"/>
          <p:cNvSpPr>
            <a:spLocks noGrp="1"/>
          </p:cNvSpPr>
          <p:nvPr>
            <p:ph type="title"/>
          </p:nvPr>
        </p:nvSpPr>
        <p:spPr>
          <a:xfrm>
            <a:off x="227349" y="0"/>
            <a:ext cx="6899165" cy="1104900"/>
          </a:xfrm>
          <a:prstGeom prst="rect">
            <a:avLst/>
          </a:prstGeom>
        </p:spPr>
        <p:txBody>
          <a:bodyPr/>
          <a:lstStyle/>
          <a:p>
            <a:r>
              <a:rPr lang="en-US"/>
              <a:t>Click to edit Master title style</a:t>
            </a:r>
            <a:endParaRPr lang="en-GB" dirty="0"/>
          </a:p>
        </p:txBody>
      </p:sp>
      <p:sp>
        <p:nvSpPr>
          <p:cNvPr id="23" name="Text Placeholder 7">
            <a:extLst>
              <a:ext uri="{FF2B5EF4-FFF2-40B4-BE49-F238E27FC236}">
                <a16:creationId xmlns:a16="http://schemas.microsoft.com/office/drawing/2014/main" id="{32047331-01BE-47AE-BC0C-B787B1E9553B}"/>
              </a:ext>
            </a:extLst>
          </p:cNvPr>
          <p:cNvSpPr>
            <a:spLocks noGrp="1"/>
          </p:cNvSpPr>
          <p:nvPr>
            <p:ph type="body" sz="quarter" idx="37" hasCustomPrompt="1"/>
          </p:nvPr>
        </p:nvSpPr>
        <p:spPr>
          <a:xfrm>
            <a:off x="8360229" y="295729"/>
            <a:ext cx="3065808" cy="876300"/>
          </a:xfrm>
          <a:prstGeom prst="rect">
            <a:avLst/>
          </a:prstGeom>
        </p:spPr>
        <p:txBody>
          <a:bodyPr anchor="t">
            <a:noAutofit/>
          </a:bodyPr>
          <a:lstStyle>
            <a:lvl1pPr algn="ctr">
              <a:lnSpc>
                <a:spcPct val="100000"/>
              </a:lnSpc>
              <a:defRPr sz="1600" b="1"/>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dirty="0"/>
              <a:t>Click to insert text</a:t>
            </a:r>
          </a:p>
        </p:txBody>
      </p:sp>
      <p:sp>
        <p:nvSpPr>
          <p:cNvPr id="24" name="Freeform 13"/>
          <p:cNvSpPr>
            <a:spLocks/>
          </p:cNvSpPr>
          <p:nvPr userDrawn="1"/>
        </p:nvSpPr>
        <p:spPr bwMode="auto">
          <a:xfrm>
            <a:off x="11644642" y="334378"/>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16" tIns="45708" rIns="91416" bIns="45708" numCol="1" anchor="t" anchorCtr="0" compatLnSpc="1">
            <a:prstTxWarp prst="textNoShape">
              <a:avLst/>
            </a:prstTxWarp>
          </a:bodyPr>
          <a:lstStyle/>
          <a:p>
            <a:endParaRPr lang="en-GB" sz="2099"/>
          </a:p>
        </p:txBody>
      </p:sp>
      <p:sp>
        <p:nvSpPr>
          <p:cNvPr id="25" name="Freeform 14"/>
          <p:cNvSpPr>
            <a:spLocks/>
          </p:cNvSpPr>
          <p:nvPr userDrawn="1"/>
        </p:nvSpPr>
        <p:spPr bwMode="auto">
          <a:xfrm>
            <a:off x="11501103"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16" tIns="45708" rIns="91416" bIns="45708" numCol="1" anchor="t" anchorCtr="0" compatLnSpc="1">
            <a:prstTxWarp prst="textNoShape">
              <a:avLst/>
            </a:prstTxWarp>
          </a:bodyPr>
          <a:lstStyle/>
          <a:p>
            <a:endParaRPr lang="en-GB" sz="2099"/>
          </a:p>
        </p:txBody>
      </p:sp>
    </p:spTree>
    <p:extLst>
      <p:ext uri="{BB962C8B-B14F-4D97-AF65-F5344CB8AC3E}">
        <p14:creationId xmlns:p14="http://schemas.microsoft.com/office/powerpoint/2010/main" val="41912196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7"/>
          <a:ext cx="180997" cy="143985"/>
        </p:xfrm>
        <a:graphic>
          <a:graphicData uri="http://schemas.openxmlformats.org/presentationml/2006/ole">
            <mc:AlternateContent xmlns:mc="http://schemas.openxmlformats.org/markup-compatibility/2006">
              <mc:Choice xmlns:v="urn:schemas-microsoft-com:vml" Requires="v">
                <p:oleObj spid="_x0000_s3891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7"/>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838200" y="365125"/>
            <a:ext cx="10515600" cy="1325563"/>
          </a:xfrm>
          <a:prstGeom prst="rect">
            <a:avLst/>
          </a:prstGeom>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445631" y="1178866"/>
            <a:ext cx="11543057" cy="4643752"/>
          </a:xfrm>
          <a:prstGeom prst="rect">
            <a:avLst/>
          </a:prstGeom>
        </p:spPr>
        <p:txBody>
          <a:bodyPr/>
          <a:lstStyle>
            <a:lvl1pPr>
              <a:defRPr b="0"/>
            </a:lvl1pPr>
            <a:lvl5pPr>
              <a:buNone/>
              <a:defRPr/>
            </a:lvl5pPr>
          </a:lstStyle>
          <a:p>
            <a:pPr lvl="0"/>
            <a:r>
              <a:rPr lang="en-US" noProof="0" dirty="0"/>
              <a:t>Click to edit Ma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878160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3"/>
            <a:ext cx="11700000" cy="446620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re 2"/>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cxnSp>
        <p:nvCxnSpPr>
          <p:cNvPr id="9" name="Conector reto 49">
            <a:extLst>
              <a:ext uri="{FF2B5EF4-FFF2-40B4-BE49-F238E27FC236}">
                <a16:creationId xmlns:a16="http://schemas.microsoft.com/office/drawing/2014/main" id="{34AC08AF-93C6-4331-887D-F00F28E225BC}"/>
              </a:ext>
            </a:extLst>
          </p:cNvPr>
          <p:cNvCxnSpPr>
            <a:cxnSpLocks/>
          </p:cNvCxnSpPr>
          <p:nvPr userDrawn="1"/>
        </p:nvCxnSpPr>
        <p:spPr>
          <a:xfrm flipV="1">
            <a:off x="3304685" y="6585692"/>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extLst>
              <a:ext uri="{FF2B5EF4-FFF2-40B4-BE49-F238E27FC236}">
                <a16:creationId xmlns:a16="http://schemas.microsoft.com/office/drawing/2014/main" id="{F635EC66-FD7E-4264-975E-5A41369AC1A5}"/>
              </a:ext>
            </a:extLst>
          </p:cNvPr>
          <p:cNvSpPr/>
          <p:nvPr userDrawn="1"/>
        </p:nvSpPr>
        <p:spPr>
          <a:xfrm>
            <a:off x="407989" y="6601924"/>
            <a:ext cx="2811667" cy="123111"/>
          </a:xfrm>
          <a:prstGeom prst="rect">
            <a:avLst/>
          </a:prstGeom>
        </p:spPr>
        <p:txBody>
          <a:bodyPr wrap="none" lIns="0" tIns="0" rIns="0" bIns="0" anchor="ctr" anchorCtr="0">
            <a:spAutoFit/>
          </a:bodyPr>
          <a:lstStyle/>
          <a:p>
            <a:pPr lvl="0" algn="l" defTabSz="914400">
              <a:lnSpc>
                <a:spcPct val="100000"/>
              </a:lnSpc>
              <a:defRPr/>
            </a:pPr>
            <a:r>
              <a:rPr lang="en-US" sz="800" kern="0">
                <a:solidFill>
                  <a:srgbClr val="00458D"/>
                </a:solidFill>
                <a:latin typeface="+mn-lt"/>
                <a:cs typeface="Arial" panose="020B0604020202020204" pitchFamily="34" charset="0"/>
              </a:rPr>
              <a:t>Capgemini Cloud Platform Overview | November 2018</a:t>
            </a:r>
          </a:p>
        </p:txBody>
      </p:sp>
      <p:sp>
        <p:nvSpPr>
          <p:cNvPr id="11" name="Retângulo 43">
            <a:extLst>
              <a:ext uri="{FF2B5EF4-FFF2-40B4-BE49-F238E27FC236}">
                <a16:creationId xmlns:a16="http://schemas.microsoft.com/office/drawing/2014/main" id="{9B3E0D63-3081-4A01-99E5-BBC1A4A6050C}"/>
              </a:ext>
            </a:extLst>
          </p:cNvPr>
          <p:cNvSpPr/>
          <p:nvPr userDrawn="1"/>
        </p:nvSpPr>
        <p:spPr>
          <a:xfrm>
            <a:off x="3389714" y="6599937"/>
            <a:ext cx="2039020" cy="127086"/>
          </a:xfrm>
          <a:prstGeom prst="rect">
            <a:avLst/>
          </a:prstGeom>
        </p:spPr>
        <p:txBody>
          <a:bodyPr wrap="square" lIns="0" tIns="0" rIns="0" bIns="0" anchor="ctr">
            <a:spAutoFit/>
          </a:bodyPr>
          <a:lstStyle/>
          <a:p>
            <a:pPr algn="l">
              <a:lnSpc>
                <a:spcPct val="100000"/>
              </a:lnSpc>
            </a:pPr>
            <a:r>
              <a:rPr lang="en-US" sz="800">
                <a:solidFill>
                  <a:schemeClr val="tx1"/>
                </a:solidFill>
                <a:latin typeface="+mn-lt"/>
                <a:cs typeface="Arial" panose="020B0604020202020204" pitchFamily="34" charset="0"/>
              </a:rPr>
              <a:t>© 2018 Capgemini. All rights reserved.</a:t>
            </a:r>
          </a:p>
        </p:txBody>
      </p:sp>
    </p:spTree>
    <p:extLst>
      <p:ext uri="{BB962C8B-B14F-4D97-AF65-F5344CB8AC3E}">
        <p14:creationId xmlns:p14="http://schemas.microsoft.com/office/powerpoint/2010/main" val="22743401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Autofit/>
          </a:bodyPr>
          <a:lstStyle>
            <a:lvl1pPr>
              <a:defRPr lang="pt-PT" dirty="0"/>
            </a:lvl1pPr>
          </a:lstStyle>
          <a:p>
            <a:pPr lvl="0">
              <a:lnSpc>
                <a:spcPts val="3000"/>
              </a:lnSpc>
            </a:pPr>
            <a:r>
              <a:rPr lang="en-US"/>
              <a:t>Click to add title</a:t>
            </a:r>
            <a:endParaRPr lang="pt-PT"/>
          </a:p>
        </p:txBody>
      </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grpSp>
        <p:nvGrpSpPr>
          <p:cNvPr id="12" name="Group 11">
            <a:extLst>
              <a:ext uri="{FF2B5EF4-FFF2-40B4-BE49-F238E27FC236}">
                <a16:creationId xmlns:a16="http://schemas.microsoft.com/office/drawing/2014/main" id="{8ABD83FB-E666-4F67-9FC6-D2A31BE760D6}"/>
              </a:ext>
            </a:extLst>
          </p:cNvPr>
          <p:cNvGrpSpPr/>
          <p:nvPr userDrawn="1"/>
        </p:nvGrpSpPr>
        <p:grpSpPr>
          <a:xfrm>
            <a:off x="-411672" y="2161948"/>
            <a:ext cx="5634022" cy="4748138"/>
            <a:chOff x="4267265" y="983864"/>
            <a:chExt cx="4732364" cy="3988255"/>
          </a:xfrm>
        </p:grpSpPr>
        <p:sp>
          <p:nvSpPr>
            <p:cNvPr id="13" name="Freeform: Shape 12">
              <a:extLst>
                <a:ext uri="{FF2B5EF4-FFF2-40B4-BE49-F238E27FC236}">
                  <a16:creationId xmlns:a16="http://schemas.microsoft.com/office/drawing/2014/main" id="{043B4560-7377-45CA-B0C1-F7F83F770B63}"/>
                </a:ext>
              </a:extLst>
            </p:cNvPr>
            <p:cNvSpPr/>
            <p:nvPr/>
          </p:nvSpPr>
          <p:spPr>
            <a:xfrm>
              <a:off x="4267265" y="2266723"/>
              <a:ext cx="4732364" cy="2668905"/>
            </a:xfrm>
            <a:custGeom>
              <a:avLst/>
              <a:gdLst>
                <a:gd name="connsiteX0" fmla="*/ 781578 w 4732363"/>
                <a:gd name="connsiteY0" fmla="*/ 2675662 h 2668904"/>
                <a:gd name="connsiteX1" fmla="*/ 166865 w 4732363"/>
                <a:gd name="connsiteY1" fmla="*/ 1183299 h 2668904"/>
                <a:gd name="connsiteX2" fmla="*/ 2582842 w 4732363"/>
                <a:gd name="connsiteY2" fmla="*/ 735640 h 2668904"/>
                <a:gd name="connsiteX3" fmla="*/ 4485796 w 4732363"/>
                <a:gd name="connsiteY3" fmla="*/ 139585 h 2668904"/>
                <a:gd name="connsiteX4" fmla="*/ 4538062 w 4732363"/>
                <a:gd name="connsiteY4" fmla="*/ 1673217 h 2668904"/>
                <a:gd name="connsiteX5" fmla="*/ 4671384 w 4732363"/>
                <a:gd name="connsiteY5" fmla="*/ 2675538 h 2668904"/>
                <a:gd name="connsiteX6" fmla="*/ 781578 w 4732363"/>
                <a:gd name="connsiteY6" fmla="*/ 2675538 h 266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32363" h="2668904">
                  <a:moveTo>
                    <a:pt x="781578" y="2675662"/>
                  </a:moveTo>
                  <a:cubicBezTo>
                    <a:pt x="781578" y="2675662"/>
                    <a:pt x="-434133" y="1805302"/>
                    <a:pt x="166865" y="1183299"/>
                  </a:cubicBezTo>
                  <a:cubicBezTo>
                    <a:pt x="767863" y="561296"/>
                    <a:pt x="2207465" y="962868"/>
                    <a:pt x="2582842" y="735640"/>
                  </a:cubicBezTo>
                  <a:cubicBezTo>
                    <a:pt x="2958218" y="508413"/>
                    <a:pt x="3793734" y="-327474"/>
                    <a:pt x="4485796" y="139585"/>
                  </a:cubicBezTo>
                  <a:cubicBezTo>
                    <a:pt x="5117313" y="565745"/>
                    <a:pt x="4318866" y="1250640"/>
                    <a:pt x="4538062" y="1673217"/>
                  </a:cubicBezTo>
                  <a:cubicBezTo>
                    <a:pt x="4776781" y="2133479"/>
                    <a:pt x="4786913" y="2325863"/>
                    <a:pt x="4671384" y="2675538"/>
                  </a:cubicBezTo>
                  <a:lnTo>
                    <a:pt x="781578" y="2675538"/>
                  </a:lnTo>
                  <a:close/>
                </a:path>
              </a:pathLst>
            </a:custGeom>
            <a:solidFill>
              <a:srgbClr val="88D5ED"/>
            </a:solidFill>
            <a:ln w="12353"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261CE369-5D70-41AB-B52B-EA2609BB253E}"/>
                </a:ext>
              </a:extLst>
            </p:cNvPr>
            <p:cNvSpPr/>
            <p:nvPr/>
          </p:nvSpPr>
          <p:spPr>
            <a:xfrm>
              <a:off x="7479411" y="3384175"/>
              <a:ext cx="111204" cy="111204"/>
            </a:xfrm>
            <a:custGeom>
              <a:avLst/>
              <a:gdLst>
                <a:gd name="connsiteX0" fmla="*/ 120337 w 111204"/>
                <a:gd name="connsiteY0" fmla="*/ 72890 h 111204"/>
                <a:gd name="connsiteX1" fmla="*/ 48672 w 111204"/>
                <a:gd name="connsiteY1" fmla="*/ 120337 h 111204"/>
                <a:gd name="connsiteX2" fmla="*/ 1225 w 111204"/>
                <a:gd name="connsiteY2" fmla="*/ 48672 h 111204"/>
                <a:gd name="connsiteX3" fmla="*/ 72890 w 111204"/>
                <a:gd name="connsiteY3" fmla="*/ 1225 h 111204"/>
                <a:gd name="connsiteX4" fmla="*/ 120337 w 111204"/>
                <a:gd name="connsiteY4" fmla="*/ 72890 h 111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04" h="111204">
                  <a:moveTo>
                    <a:pt x="120337" y="72890"/>
                  </a:moveTo>
                  <a:cubicBezTo>
                    <a:pt x="113665" y="105757"/>
                    <a:pt x="81539" y="127009"/>
                    <a:pt x="48672" y="120337"/>
                  </a:cubicBezTo>
                  <a:cubicBezTo>
                    <a:pt x="15805" y="113665"/>
                    <a:pt x="-5447" y="81539"/>
                    <a:pt x="1225" y="48672"/>
                  </a:cubicBezTo>
                  <a:cubicBezTo>
                    <a:pt x="7897" y="15805"/>
                    <a:pt x="40023" y="-5447"/>
                    <a:pt x="72890" y="1225"/>
                  </a:cubicBezTo>
                  <a:cubicBezTo>
                    <a:pt x="105757" y="7897"/>
                    <a:pt x="127010" y="40023"/>
                    <a:pt x="120337" y="72890"/>
                  </a:cubicBezTo>
                </a:path>
              </a:pathLst>
            </a:custGeom>
            <a:solidFill>
              <a:srgbClr val="FDAC70"/>
            </a:solidFill>
            <a:ln w="12353"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8F5143B3-9EAE-49CA-8C78-604662E621E0}"/>
                </a:ext>
              </a:extLst>
            </p:cNvPr>
            <p:cNvSpPr/>
            <p:nvPr/>
          </p:nvSpPr>
          <p:spPr>
            <a:xfrm>
              <a:off x="7545915" y="3422631"/>
              <a:ext cx="111204" cy="61780"/>
            </a:xfrm>
            <a:custGeom>
              <a:avLst/>
              <a:gdLst>
                <a:gd name="connsiteX0" fmla="*/ 85958 w 111204"/>
                <a:gd name="connsiteY0" fmla="*/ 71996 h 61780"/>
                <a:gd name="connsiteX1" fmla="*/ 24054 w 111204"/>
                <a:gd name="connsiteY1" fmla="*/ 59393 h 61780"/>
                <a:gd name="connsiteX2" fmla="*/ 578 w 111204"/>
                <a:gd name="connsiteY2" fmla="*/ 24055 h 61780"/>
                <a:gd name="connsiteX3" fmla="*/ 35916 w 111204"/>
                <a:gd name="connsiteY3" fmla="*/ 578 h 61780"/>
                <a:gd name="connsiteX4" fmla="*/ 97820 w 111204"/>
                <a:gd name="connsiteY4" fmla="*/ 13181 h 61780"/>
                <a:gd name="connsiteX5" fmla="*/ 121173 w 111204"/>
                <a:gd name="connsiteY5" fmla="*/ 48519 h 61780"/>
                <a:gd name="connsiteX6" fmla="*/ 85958 w 111204"/>
                <a:gd name="connsiteY6" fmla="*/ 71996 h 6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204" h="61780">
                  <a:moveTo>
                    <a:pt x="85958" y="71996"/>
                  </a:moveTo>
                  <a:lnTo>
                    <a:pt x="24054" y="59393"/>
                  </a:lnTo>
                  <a:cubicBezTo>
                    <a:pt x="7868" y="56057"/>
                    <a:pt x="-2634" y="40117"/>
                    <a:pt x="578" y="24055"/>
                  </a:cubicBezTo>
                  <a:cubicBezTo>
                    <a:pt x="3914" y="7868"/>
                    <a:pt x="19853" y="-2635"/>
                    <a:pt x="35916" y="578"/>
                  </a:cubicBezTo>
                  <a:lnTo>
                    <a:pt x="97820" y="13181"/>
                  </a:lnTo>
                  <a:cubicBezTo>
                    <a:pt x="114006" y="16517"/>
                    <a:pt x="124509" y="32457"/>
                    <a:pt x="121173" y="48519"/>
                  </a:cubicBezTo>
                  <a:cubicBezTo>
                    <a:pt x="117960" y="64706"/>
                    <a:pt x="102145" y="75209"/>
                    <a:pt x="85958" y="71996"/>
                  </a:cubicBezTo>
                </a:path>
              </a:pathLst>
            </a:custGeom>
            <a:solidFill>
              <a:srgbClr val="FDAC70"/>
            </a:solidFill>
            <a:ln w="12353"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83B3C0C2-4422-4710-81D0-AB0E7134DAEB}"/>
                </a:ext>
              </a:extLst>
            </p:cNvPr>
            <p:cNvSpPr/>
            <p:nvPr/>
          </p:nvSpPr>
          <p:spPr>
            <a:xfrm>
              <a:off x="7592334" y="3269006"/>
              <a:ext cx="593090" cy="296545"/>
            </a:xfrm>
            <a:custGeom>
              <a:avLst/>
              <a:gdLst>
                <a:gd name="connsiteX0" fmla="*/ 344487 w 593090"/>
                <a:gd name="connsiteY0" fmla="*/ 306677 h 296544"/>
                <a:gd name="connsiteX1" fmla="*/ 340039 w 593090"/>
                <a:gd name="connsiteY1" fmla="*/ 306059 h 296544"/>
                <a:gd name="connsiteX2" fmla="*/ 0 w 593090"/>
                <a:gd name="connsiteY2" fmla="*/ 243908 h 296544"/>
                <a:gd name="connsiteX3" fmla="*/ 20264 w 593090"/>
                <a:gd name="connsiteY3" fmla="*/ 132827 h 296544"/>
                <a:gd name="connsiteX4" fmla="*/ 324840 w 593090"/>
                <a:gd name="connsiteY4" fmla="*/ 188430 h 296544"/>
                <a:gd name="connsiteX5" fmla="*/ 479291 w 593090"/>
                <a:gd name="connsiteY5" fmla="*/ 0 h 296544"/>
                <a:gd name="connsiteX6" fmla="*/ 592719 w 593090"/>
                <a:gd name="connsiteY6" fmla="*/ 7661 h 296544"/>
                <a:gd name="connsiteX7" fmla="*/ 396135 w 593090"/>
                <a:gd name="connsiteY7" fmla="*/ 283200 h 296544"/>
                <a:gd name="connsiteX8" fmla="*/ 344487 w 593090"/>
                <a:gd name="connsiteY8" fmla="*/ 306677 h 29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3090" h="296544">
                  <a:moveTo>
                    <a:pt x="344487" y="306677"/>
                  </a:moveTo>
                  <a:cubicBezTo>
                    <a:pt x="343004" y="306553"/>
                    <a:pt x="341521" y="306306"/>
                    <a:pt x="340039" y="306059"/>
                  </a:cubicBezTo>
                  <a:lnTo>
                    <a:pt x="0" y="243908"/>
                  </a:lnTo>
                  <a:lnTo>
                    <a:pt x="20264" y="132827"/>
                  </a:lnTo>
                  <a:lnTo>
                    <a:pt x="324840" y="188430"/>
                  </a:lnTo>
                  <a:cubicBezTo>
                    <a:pt x="388721" y="97983"/>
                    <a:pt x="479291" y="0"/>
                    <a:pt x="479291" y="0"/>
                  </a:cubicBezTo>
                  <a:lnTo>
                    <a:pt x="592719" y="7661"/>
                  </a:lnTo>
                  <a:cubicBezTo>
                    <a:pt x="596673" y="35091"/>
                    <a:pt x="572950" y="34473"/>
                    <a:pt x="396135" y="283200"/>
                  </a:cubicBezTo>
                  <a:cubicBezTo>
                    <a:pt x="384397" y="299881"/>
                    <a:pt x="364627" y="308777"/>
                    <a:pt x="344487" y="306677"/>
                  </a:cubicBezTo>
                </a:path>
              </a:pathLst>
            </a:custGeom>
            <a:solidFill>
              <a:schemeClr val="accent1"/>
            </a:solidFill>
            <a:ln w="12353"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76745D95-66F2-40EB-B61C-9EBE9472CBCF}"/>
                </a:ext>
              </a:extLst>
            </p:cNvPr>
            <p:cNvSpPr/>
            <p:nvPr/>
          </p:nvSpPr>
          <p:spPr>
            <a:xfrm>
              <a:off x="6374276" y="4218939"/>
              <a:ext cx="815499" cy="716650"/>
            </a:xfrm>
            <a:custGeom>
              <a:avLst/>
              <a:gdLst>
                <a:gd name="connsiteX0" fmla="*/ 407749 w 815498"/>
                <a:gd name="connsiteY0" fmla="*/ 725670 h 716650"/>
                <a:gd name="connsiteX1" fmla="*/ 407749 w 815498"/>
                <a:gd name="connsiteY1" fmla="*/ 725670 h 716650"/>
                <a:gd name="connsiteX2" fmla="*/ 0 w 815498"/>
                <a:gd name="connsiteY2" fmla="*/ 317921 h 716650"/>
                <a:gd name="connsiteX3" fmla="*/ 0 w 815498"/>
                <a:gd name="connsiteY3" fmla="*/ 0 h 716650"/>
                <a:gd name="connsiteX4" fmla="*/ 815499 w 815498"/>
                <a:gd name="connsiteY4" fmla="*/ 0 h 716650"/>
                <a:gd name="connsiteX5" fmla="*/ 815499 w 815498"/>
                <a:gd name="connsiteY5" fmla="*/ 317921 h 716650"/>
                <a:gd name="connsiteX6" fmla="*/ 407749 w 815498"/>
                <a:gd name="connsiteY6" fmla="*/ 725670 h 71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5498" h="716650">
                  <a:moveTo>
                    <a:pt x="407749" y="725670"/>
                  </a:moveTo>
                  <a:lnTo>
                    <a:pt x="407749" y="725670"/>
                  </a:lnTo>
                  <a:cubicBezTo>
                    <a:pt x="182499" y="725670"/>
                    <a:pt x="0" y="543171"/>
                    <a:pt x="0" y="317921"/>
                  </a:cubicBezTo>
                  <a:lnTo>
                    <a:pt x="0" y="0"/>
                  </a:lnTo>
                  <a:lnTo>
                    <a:pt x="815499" y="0"/>
                  </a:lnTo>
                  <a:lnTo>
                    <a:pt x="815499" y="317921"/>
                  </a:lnTo>
                  <a:cubicBezTo>
                    <a:pt x="815499" y="543171"/>
                    <a:pt x="633000" y="725670"/>
                    <a:pt x="407749" y="725670"/>
                  </a:cubicBezTo>
                </a:path>
              </a:pathLst>
            </a:custGeom>
            <a:solidFill>
              <a:srgbClr val="CB2980"/>
            </a:solidFill>
            <a:ln w="12353"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2F5E461F-9CFE-4EE0-ADFE-F42032AD2FE3}"/>
                </a:ext>
              </a:extLst>
            </p:cNvPr>
            <p:cNvSpPr/>
            <p:nvPr/>
          </p:nvSpPr>
          <p:spPr>
            <a:xfrm>
              <a:off x="6777330" y="2608576"/>
              <a:ext cx="1087332" cy="1668065"/>
            </a:xfrm>
            <a:custGeom>
              <a:avLst/>
              <a:gdLst>
                <a:gd name="connsiteX0" fmla="*/ 375500 w 1087331"/>
                <a:gd name="connsiteY0" fmla="*/ 382049 h 1668065"/>
                <a:gd name="connsiteX1" fmla="*/ 383902 w 1087331"/>
                <a:gd name="connsiteY1" fmla="*/ 287649 h 1668065"/>
                <a:gd name="connsiteX2" fmla="*/ 384026 w 1087331"/>
                <a:gd name="connsiteY2" fmla="*/ 287649 h 1668065"/>
                <a:gd name="connsiteX3" fmla="*/ 366480 w 1087331"/>
                <a:gd name="connsiteY3" fmla="*/ 204863 h 1668065"/>
                <a:gd name="connsiteX4" fmla="*/ 571343 w 1087331"/>
                <a:gd name="connsiteY4" fmla="*/ 0 h 1668065"/>
                <a:gd name="connsiteX5" fmla="*/ 776207 w 1087331"/>
                <a:gd name="connsiteY5" fmla="*/ 204863 h 1668065"/>
                <a:gd name="connsiteX6" fmla="*/ 758661 w 1087331"/>
                <a:gd name="connsiteY6" fmla="*/ 287649 h 1668065"/>
                <a:gd name="connsiteX7" fmla="*/ 758785 w 1087331"/>
                <a:gd name="connsiteY7" fmla="*/ 287649 h 1668065"/>
                <a:gd name="connsiteX8" fmla="*/ 767187 w 1087331"/>
                <a:gd name="connsiteY8" fmla="*/ 382049 h 1668065"/>
                <a:gd name="connsiteX9" fmla="*/ 1092398 w 1087331"/>
                <a:gd name="connsiteY9" fmla="*/ 382049 h 1668065"/>
                <a:gd name="connsiteX10" fmla="*/ 600133 w 1087331"/>
                <a:gd name="connsiteY10" fmla="*/ 1119457 h 1668065"/>
                <a:gd name="connsiteX11" fmla="*/ 410221 w 1087331"/>
                <a:gd name="connsiteY11" fmla="*/ 1586268 h 1668065"/>
                <a:gd name="connsiteX12" fmla="*/ 0 w 1087331"/>
                <a:gd name="connsiteY12" fmla="*/ 1678321 h 1668065"/>
                <a:gd name="connsiteX13" fmla="*/ 0 w 1087331"/>
                <a:gd name="connsiteY13" fmla="*/ 382049 h 1668065"/>
                <a:gd name="connsiteX14" fmla="*/ 375500 w 1087331"/>
                <a:gd name="connsiteY14" fmla="*/ 382049 h 1668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7331" h="1668065">
                  <a:moveTo>
                    <a:pt x="375500" y="382049"/>
                  </a:moveTo>
                  <a:cubicBezTo>
                    <a:pt x="417881" y="348317"/>
                    <a:pt x="383902" y="287649"/>
                    <a:pt x="383902" y="287649"/>
                  </a:cubicBezTo>
                  <a:lnTo>
                    <a:pt x="384026" y="287649"/>
                  </a:lnTo>
                  <a:cubicBezTo>
                    <a:pt x="372782" y="262319"/>
                    <a:pt x="366480" y="234394"/>
                    <a:pt x="366480" y="204863"/>
                  </a:cubicBezTo>
                  <a:cubicBezTo>
                    <a:pt x="366480" y="91805"/>
                    <a:pt x="458162" y="0"/>
                    <a:pt x="571343" y="0"/>
                  </a:cubicBezTo>
                  <a:cubicBezTo>
                    <a:pt x="684525" y="0"/>
                    <a:pt x="776207" y="91682"/>
                    <a:pt x="776207" y="204863"/>
                  </a:cubicBezTo>
                  <a:cubicBezTo>
                    <a:pt x="776207" y="234394"/>
                    <a:pt x="769905" y="262319"/>
                    <a:pt x="758661" y="287649"/>
                  </a:cubicBezTo>
                  <a:lnTo>
                    <a:pt x="758785" y="287649"/>
                  </a:lnTo>
                  <a:cubicBezTo>
                    <a:pt x="758785" y="287649"/>
                    <a:pt x="724929" y="348317"/>
                    <a:pt x="767187" y="382049"/>
                  </a:cubicBezTo>
                  <a:lnTo>
                    <a:pt x="1092398" y="382049"/>
                  </a:lnTo>
                  <a:cubicBezTo>
                    <a:pt x="1025675" y="718380"/>
                    <a:pt x="786215" y="915583"/>
                    <a:pt x="600133" y="1119457"/>
                  </a:cubicBezTo>
                  <a:cubicBezTo>
                    <a:pt x="394158" y="1344955"/>
                    <a:pt x="408120" y="1571441"/>
                    <a:pt x="410221" y="1586268"/>
                  </a:cubicBezTo>
                  <a:cubicBezTo>
                    <a:pt x="426160" y="1697473"/>
                    <a:pt x="0" y="1678321"/>
                    <a:pt x="0" y="1678321"/>
                  </a:cubicBezTo>
                  <a:lnTo>
                    <a:pt x="0" y="382049"/>
                  </a:lnTo>
                  <a:lnTo>
                    <a:pt x="375500" y="382049"/>
                  </a:lnTo>
                  <a:close/>
                </a:path>
              </a:pathLst>
            </a:custGeom>
            <a:solidFill>
              <a:schemeClr val="accent4"/>
            </a:solidFill>
            <a:ln w="12353"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A8FE596-1EB6-414C-896F-4011BECF6263}"/>
                </a:ext>
              </a:extLst>
            </p:cNvPr>
            <p:cNvSpPr/>
            <p:nvPr/>
          </p:nvSpPr>
          <p:spPr>
            <a:xfrm>
              <a:off x="6409120" y="1692993"/>
              <a:ext cx="1470369" cy="1297384"/>
            </a:xfrm>
            <a:custGeom>
              <a:avLst/>
              <a:gdLst>
                <a:gd name="connsiteX0" fmla="*/ 204987 w 1470368"/>
                <a:gd name="connsiteY0" fmla="*/ 367345 h 1297384"/>
                <a:gd name="connsiteX1" fmla="*/ 287649 w 1470368"/>
                <a:gd name="connsiteY1" fmla="*/ 384891 h 1297384"/>
                <a:gd name="connsiteX2" fmla="*/ 287649 w 1470368"/>
                <a:gd name="connsiteY2" fmla="*/ 384767 h 1297384"/>
                <a:gd name="connsiteX3" fmla="*/ 367963 w 1470368"/>
                <a:gd name="connsiteY3" fmla="*/ 389092 h 1297384"/>
                <a:gd name="connsiteX4" fmla="*/ 367963 w 1470368"/>
                <a:gd name="connsiteY4" fmla="*/ 0 h 1297384"/>
                <a:gd name="connsiteX5" fmla="*/ 486704 w 1470368"/>
                <a:gd name="connsiteY5" fmla="*/ 10008 h 1297384"/>
                <a:gd name="connsiteX6" fmla="*/ 1462338 w 1470368"/>
                <a:gd name="connsiteY6" fmla="*/ 917189 h 1297384"/>
                <a:gd name="connsiteX7" fmla="*/ 1460361 w 1470368"/>
                <a:gd name="connsiteY7" fmla="*/ 1297755 h 1297384"/>
                <a:gd name="connsiteX8" fmla="*/ 1135150 w 1470368"/>
                <a:gd name="connsiteY8" fmla="*/ 1297755 h 1297384"/>
                <a:gd name="connsiteX9" fmla="*/ 1126748 w 1470368"/>
                <a:gd name="connsiteY9" fmla="*/ 1203355 h 1297384"/>
                <a:gd name="connsiteX10" fmla="*/ 1126624 w 1470368"/>
                <a:gd name="connsiteY10" fmla="*/ 1203355 h 1297384"/>
                <a:gd name="connsiteX11" fmla="*/ 1144170 w 1470368"/>
                <a:gd name="connsiteY11" fmla="*/ 1120569 h 1297384"/>
                <a:gd name="connsiteX12" fmla="*/ 939306 w 1470368"/>
                <a:gd name="connsiteY12" fmla="*/ 915706 h 1297384"/>
                <a:gd name="connsiteX13" fmla="*/ 734443 w 1470368"/>
                <a:gd name="connsiteY13" fmla="*/ 1120569 h 1297384"/>
                <a:gd name="connsiteX14" fmla="*/ 751989 w 1470368"/>
                <a:gd name="connsiteY14" fmla="*/ 1203355 h 1297384"/>
                <a:gd name="connsiteX15" fmla="*/ 751865 w 1470368"/>
                <a:gd name="connsiteY15" fmla="*/ 1203355 h 1297384"/>
                <a:gd name="connsiteX16" fmla="*/ 743463 w 1470368"/>
                <a:gd name="connsiteY16" fmla="*/ 1297755 h 1297384"/>
                <a:gd name="connsiteX17" fmla="*/ 367839 w 1470368"/>
                <a:gd name="connsiteY17" fmla="*/ 1297755 h 1297384"/>
                <a:gd name="connsiteX18" fmla="*/ 367839 w 1470368"/>
                <a:gd name="connsiteY18" fmla="*/ 755448 h 1297384"/>
                <a:gd name="connsiteX19" fmla="*/ 287525 w 1470368"/>
                <a:gd name="connsiteY19" fmla="*/ 759773 h 1297384"/>
                <a:gd name="connsiteX20" fmla="*/ 287525 w 1470368"/>
                <a:gd name="connsiteY20" fmla="*/ 759649 h 1297384"/>
                <a:gd name="connsiteX21" fmla="*/ 204863 w 1470368"/>
                <a:gd name="connsiteY21" fmla="*/ 777195 h 1297384"/>
                <a:gd name="connsiteX22" fmla="*/ 0 w 1470368"/>
                <a:gd name="connsiteY22" fmla="*/ 572332 h 1297384"/>
                <a:gd name="connsiteX23" fmla="*/ 204987 w 1470368"/>
                <a:gd name="connsiteY23" fmla="*/ 367345 h 1297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70368" h="1297384">
                  <a:moveTo>
                    <a:pt x="204987" y="367345"/>
                  </a:moveTo>
                  <a:cubicBezTo>
                    <a:pt x="234394" y="367345"/>
                    <a:pt x="262442" y="373647"/>
                    <a:pt x="287649" y="384891"/>
                  </a:cubicBezTo>
                  <a:lnTo>
                    <a:pt x="287649" y="384767"/>
                  </a:lnTo>
                  <a:cubicBezTo>
                    <a:pt x="287649" y="384767"/>
                    <a:pt x="333860" y="410591"/>
                    <a:pt x="367963" y="389092"/>
                  </a:cubicBezTo>
                  <a:lnTo>
                    <a:pt x="367963" y="0"/>
                  </a:lnTo>
                  <a:cubicBezTo>
                    <a:pt x="407749" y="0"/>
                    <a:pt x="447412" y="3336"/>
                    <a:pt x="486704" y="10008"/>
                  </a:cubicBezTo>
                  <a:cubicBezTo>
                    <a:pt x="1002322" y="97489"/>
                    <a:pt x="1374857" y="369940"/>
                    <a:pt x="1462338" y="917189"/>
                  </a:cubicBezTo>
                  <a:cubicBezTo>
                    <a:pt x="1485567" y="1062372"/>
                    <a:pt x="1482231" y="1187539"/>
                    <a:pt x="1460361" y="1297755"/>
                  </a:cubicBezTo>
                  <a:lnTo>
                    <a:pt x="1135150" y="1297755"/>
                  </a:lnTo>
                  <a:cubicBezTo>
                    <a:pt x="1092768" y="1264023"/>
                    <a:pt x="1126748" y="1203355"/>
                    <a:pt x="1126748" y="1203355"/>
                  </a:cubicBezTo>
                  <a:lnTo>
                    <a:pt x="1126624" y="1203355"/>
                  </a:lnTo>
                  <a:cubicBezTo>
                    <a:pt x="1137868" y="1178025"/>
                    <a:pt x="1144170" y="1150100"/>
                    <a:pt x="1144170" y="1120569"/>
                  </a:cubicBezTo>
                  <a:cubicBezTo>
                    <a:pt x="1144170" y="1007511"/>
                    <a:pt x="1052488" y="915706"/>
                    <a:pt x="939306" y="915706"/>
                  </a:cubicBezTo>
                  <a:cubicBezTo>
                    <a:pt x="826248" y="915706"/>
                    <a:pt x="734443" y="1007388"/>
                    <a:pt x="734443" y="1120569"/>
                  </a:cubicBezTo>
                  <a:cubicBezTo>
                    <a:pt x="734443" y="1150100"/>
                    <a:pt x="740745" y="1178025"/>
                    <a:pt x="751989" y="1203355"/>
                  </a:cubicBezTo>
                  <a:lnTo>
                    <a:pt x="751865" y="1203355"/>
                  </a:lnTo>
                  <a:cubicBezTo>
                    <a:pt x="751865" y="1203355"/>
                    <a:pt x="785844" y="1264023"/>
                    <a:pt x="743463" y="1297755"/>
                  </a:cubicBezTo>
                  <a:lnTo>
                    <a:pt x="367839" y="1297755"/>
                  </a:lnTo>
                  <a:lnTo>
                    <a:pt x="367839" y="755448"/>
                  </a:lnTo>
                  <a:cubicBezTo>
                    <a:pt x="333737" y="733949"/>
                    <a:pt x="287525" y="759773"/>
                    <a:pt x="287525" y="759773"/>
                  </a:cubicBezTo>
                  <a:lnTo>
                    <a:pt x="287525" y="759649"/>
                  </a:lnTo>
                  <a:cubicBezTo>
                    <a:pt x="262195" y="770893"/>
                    <a:pt x="234270" y="777195"/>
                    <a:pt x="204863" y="777195"/>
                  </a:cubicBezTo>
                  <a:cubicBezTo>
                    <a:pt x="91682" y="777195"/>
                    <a:pt x="0" y="685513"/>
                    <a:pt x="0" y="572332"/>
                  </a:cubicBezTo>
                  <a:cubicBezTo>
                    <a:pt x="0" y="459151"/>
                    <a:pt x="91929" y="367345"/>
                    <a:pt x="204987" y="367345"/>
                  </a:cubicBezTo>
                </a:path>
              </a:pathLst>
            </a:custGeom>
            <a:solidFill>
              <a:schemeClr val="accent1"/>
            </a:solidFill>
            <a:ln w="12353"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F9B82EA1-F17B-44E2-A856-B28A01FB0D3D}"/>
                </a:ext>
              </a:extLst>
            </p:cNvPr>
            <p:cNvSpPr/>
            <p:nvPr/>
          </p:nvSpPr>
          <p:spPr>
            <a:xfrm>
              <a:off x="5684809" y="2608576"/>
              <a:ext cx="1445657" cy="1668065"/>
            </a:xfrm>
            <a:custGeom>
              <a:avLst/>
              <a:gdLst>
                <a:gd name="connsiteX0" fmla="*/ 0 w 1445656"/>
                <a:gd name="connsiteY0" fmla="*/ 382049 h 1668065"/>
                <a:gd name="connsiteX1" fmla="*/ 306553 w 1445656"/>
                <a:gd name="connsiteY1" fmla="*/ 382049 h 1668065"/>
                <a:gd name="connsiteX2" fmla="*/ 314955 w 1445656"/>
                <a:gd name="connsiteY2" fmla="*/ 287649 h 1668065"/>
                <a:gd name="connsiteX3" fmla="*/ 315079 w 1445656"/>
                <a:gd name="connsiteY3" fmla="*/ 287649 h 1668065"/>
                <a:gd name="connsiteX4" fmla="*/ 297533 w 1445656"/>
                <a:gd name="connsiteY4" fmla="*/ 204863 h 1668065"/>
                <a:gd name="connsiteX5" fmla="*/ 502397 w 1445656"/>
                <a:gd name="connsiteY5" fmla="*/ 0 h 1668065"/>
                <a:gd name="connsiteX6" fmla="*/ 707260 w 1445656"/>
                <a:gd name="connsiteY6" fmla="*/ 204863 h 1668065"/>
                <a:gd name="connsiteX7" fmla="*/ 689714 w 1445656"/>
                <a:gd name="connsiteY7" fmla="*/ 287649 h 1668065"/>
                <a:gd name="connsiteX8" fmla="*/ 689838 w 1445656"/>
                <a:gd name="connsiteY8" fmla="*/ 287649 h 1668065"/>
                <a:gd name="connsiteX9" fmla="*/ 698240 w 1445656"/>
                <a:gd name="connsiteY9" fmla="*/ 382049 h 1668065"/>
                <a:gd name="connsiteX10" fmla="*/ 1092521 w 1445656"/>
                <a:gd name="connsiteY10" fmla="*/ 382049 h 1668065"/>
                <a:gd name="connsiteX11" fmla="*/ 1092521 w 1445656"/>
                <a:gd name="connsiteY11" fmla="*/ 799683 h 1668065"/>
                <a:gd name="connsiteX12" fmla="*/ 1164433 w 1445656"/>
                <a:gd name="connsiteY12" fmla="*/ 791157 h 1668065"/>
                <a:gd name="connsiteX13" fmla="*/ 1164433 w 1445656"/>
                <a:gd name="connsiteY13" fmla="*/ 791281 h 1668065"/>
                <a:gd name="connsiteX14" fmla="*/ 1247095 w 1445656"/>
                <a:gd name="connsiteY14" fmla="*/ 773735 h 1668065"/>
                <a:gd name="connsiteX15" fmla="*/ 1451959 w 1445656"/>
                <a:gd name="connsiteY15" fmla="*/ 978598 h 1668065"/>
                <a:gd name="connsiteX16" fmla="*/ 1247095 w 1445656"/>
                <a:gd name="connsiteY16" fmla="*/ 1183462 h 1668065"/>
                <a:gd name="connsiteX17" fmla="*/ 1164433 w 1445656"/>
                <a:gd name="connsiteY17" fmla="*/ 1165916 h 1668065"/>
                <a:gd name="connsiteX18" fmla="*/ 1164433 w 1445656"/>
                <a:gd name="connsiteY18" fmla="*/ 1166040 h 1668065"/>
                <a:gd name="connsiteX19" fmla="*/ 1092521 w 1445656"/>
                <a:gd name="connsiteY19" fmla="*/ 1157514 h 1668065"/>
                <a:gd name="connsiteX20" fmla="*/ 1092521 w 1445656"/>
                <a:gd name="connsiteY20" fmla="*/ 1678568 h 1668065"/>
                <a:gd name="connsiteX21" fmla="*/ 682301 w 1445656"/>
                <a:gd name="connsiteY21" fmla="*/ 1586516 h 1668065"/>
                <a:gd name="connsiteX22" fmla="*/ 492388 w 1445656"/>
                <a:gd name="connsiteY22" fmla="*/ 1119704 h 1668065"/>
                <a:gd name="connsiteX23" fmla="*/ 0 w 1445656"/>
                <a:gd name="connsiteY23" fmla="*/ 382049 h 1668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5656" h="1668065">
                  <a:moveTo>
                    <a:pt x="0" y="382049"/>
                  </a:moveTo>
                  <a:lnTo>
                    <a:pt x="306553" y="382049"/>
                  </a:lnTo>
                  <a:cubicBezTo>
                    <a:pt x="348935" y="348317"/>
                    <a:pt x="314955" y="287649"/>
                    <a:pt x="314955" y="287649"/>
                  </a:cubicBezTo>
                  <a:lnTo>
                    <a:pt x="315079" y="287649"/>
                  </a:lnTo>
                  <a:cubicBezTo>
                    <a:pt x="303835" y="262319"/>
                    <a:pt x="297533" y="234394"/>
                    <a:pt x="297533" y="204863"/>
                  </a:cubicBezTo>
                  <a:cubicBezTo>
                    <a:pt x="297533" y="91805"/>
                    <a:pt x="389215" y="0"/>
                    <a:pt x="502397" y="0"/>
                  </a:cubicBezTo>
                  <a:cubicBezTo>
                    <a:pt x="615578" y="0"/>
                    <a:pt x="707260" y="91682"/>
                    <a:pt x="707260" y="204863"/>
                  </a:cubicBezTo>
                  <a:cubicBezTo>
                    <a:pt x="707260" y="234394"/>
                    <a:pt x="700958" y="262319"/>
                    <a:pt x="689714" y="287649"/>
                  </a:cubicBezTo>
                  <a:lnTo>
                    <a:pt x="689838" y="287649"/>
                  </a:lnTo>
                  <a:cubicBezTo>
                    <a:pt x="689838" y="287649"/>
                    <a:pt x="655859" y="348317"/>
                    <a:pt x="698240" y="382049"/>
                  </a:cubicBezTo>
                  <a:lnTo>
                    <a:pt x="1092521" y="382049"/>
                  </a:lnTo>
                  <a:lnTo>
                    <a:pt x="1092521" y="799683"/>
                  </a:lnTo>
                  <a:cubicBezTo>
                    <a:pt x="1125388" y="813027"/>
                    <a:pt x="1164433" y="791157"/>
                    <a:pt x="1164433" y="791157"/>
                  </a:cubicBezTo>
                  <a:lnTo>
                    <a:pt x="1164433" y="791281"/>
                  </a:lnTo>
                  <a:cubicBezTo>
                    <a:pt x="1189763" y="780037"/>
                    <a:pt x="1217688" y="773735"/>
                    <a:pt x="1247095" y="773735"/>
                  </a:cubicBezTo>
                  <a:cubicBezTo>
                    <a:pt x="1360153" y="773735"/>
                    <a:pt x="1451959" y="865417"/>
                    <a:pt x="1451959" y="978598"/>
                  </a:cubicBezTo>
                  <a:cubicBezTo>
                    <a:pt x="1451959" y="1091780"/>
                    <a:pt x="1360277" y="1183462"/>
                    <a:pt x="1247095" y="1183462"/>
                  </a:cubicBezTo>
                  <a:cubicBezTo>
                    <a:pt x="1217564" y="1183462"/>
                    <a:pt x="1189640" y="1177160"/>
                    <a:pt x="1164433" y="1165916"/>
                  </a:cubicBezTo>
                  <a:lnTo>
                    <a:pt x="1164433" y="1166040"/>
                  </a:lnTo>
                  <a:cubicBezTo>
                    <a:pt x="1164433" y="1166040"/>
                    <a:pt x="1125388" y="1144293"/>
                    <a:pt x="1092521" y="1157514"/>
                  </a:cubicBezTo>
                  <a:lnTo>
                    <a:pt x="1092521" y="1678568"/>
                  </a:lnTo>
                  <a:cubicBezTo>
                    <a:pt x="1092521" y="1678568"/>
                    <a:pt x="682424" y="1697596"/>
                    <a:pt x="682301" y="1586516"/>
                  </a:cubicBezTo>
                  <a:cubicBezTo>
                    <a:pt x="682301" y="1571565"/>
                    <a:pt x="698363" y="1345202"/>
                    <a:pt x="492388" y="1119704"/>
                  </a:cubicBezTo>
                  <a:cubicBezTo>
                    <a:pt x="306059" y="915583"/>
                    <a:pt x="66599" y="718380"/>
                    <a:pt x="0" y="382049"/>
                  </a:cubicBezTo>
                </a:path>
              </a:pathLst>
            </a:custGeom>
            <a:solidFill>
              <a:schemeClr val="accent2"/>
            </a:solidFill>
            <a:ln w="12353"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23338981-3770-4327-9E99-739950E49465}"/>
                </a:ext>
              </a:extLst>
            </p:cNvPr>
            <p:cNvSpPr/>
            <p:nvPr/>
          </p:nvSpPr>
          <p:spPr>
            <a:xfrm>
              <a:off x="6272091" y="4190519"/>
              <a:ext cx="988483" cy="160629"/>
            </a:xfrm>
            <a:custGeom>
              <a:avLst/>
              <a:gdLst>
                <a:gd name="connsiteX0" fmla="*/ 912247 w 988483"/>
                <a:gd name="connsiteY0" fmla="*/ 164830 h 160628"/>
                <a:gd name="connsiteX1" fmla="*/ 82415 w 988483"/>
                <a:gd name="connsiteY1" fmla="*/ 164830 h 160628"/>
                <a:gd name="connsiteX2" fmla="*/ 0 w 988483"/>
                <a:gd name="connsiteY2" fmla="*/ 82415 h 160628"/>
                <a:gd name="connsiteX3" fmla="*/ 82415 w 988483"/>
                <a:gd name="connsiteY3" fmla="*/ 0 h 160628"/>
                <a:gd name="connsiteX4" fmla="*/ 912247 w 988483"/>
                <a:gd name="connsiteY4" fmla="*/ 0 h 160628"/>
                <a:gd name="connsiteX5" fmla="*/ 994661 w 988483"/>
                <a:gd name="connsiteY5" fmla="*/ 82415 h 160628"/>
                <a:gd name="connsiteX6" fmla="*/ 912247 w 988483"/>
                <a:gd name="connsiteY6" fmla="*/ 164830 h 16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483" h="160628">
                  <a:moveTo>
                    <a:pt x="912247" y="164830"/>
                  </a:moveTo>
                  <a:lnTo>
                    <a:pt x="82415" y="164830"/>
                  </a:lnTo>
                  <a:cubicBezTo>
                    <a:pt x="36945" y="164830"/>
                    <a:pt x="0" y="128009"/>
                    <a:pt x="0" y="82415"/>
                  </a:cubicBezTo>
                  <a:cubicBezTo>
                    <a:pt x="0" y="36945"/>
                    <a:pt x="36945" y="0"/>
                    <a:pt x="82415" y="0"/>
                  </a:cubicBezTo>
                  <a:lnTo>
                    <a:pt x="912247" y="0"/>
                  </a:lnTo>
                  <a:cubicBezTo>
                    <a:pt x="957717" y="0"/>
                    <a:pt x="994661" y="36821"/>
                    <a:pt x="994661" y="82415"/>
                  </a:cubicBezTo>
                  <a:cubicBezTo>
                    <a:pt x="994661" y="128009"/>
                    <a:pt x="957717" y="164830"/>
                    <a:pt x="912247" y="164830"/>
                  </a:cubicBezTo>
                </a:path>
              </a:pathLst>
            </a:custGeom>
            <a:solidFill>
              <a:schemeClr val="accent5"/>
            </a:solidFill>
            <a:ln w="12353"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7664C1E6-035D-4CC0-85E4-F7BB2741F842}"/>
                </a:ext>
              </a:extLst>
            </p:cNvPr>
            <p:cNvSpPr/>
            <p:nvPr/>
          </p:nvSpPr>
          <p:spPr>
            <a:xfrm>
              <a:off x="6272091" y="4479280"/>
              <a:ext cx="988483" cy="160629"/>
            </a:xfrm>
            <a:custGeom>
              <a:avLst/>
              <a:gdLst>
                <a:gd name="connsiteX0" fmla="*/ 912247 w 988483"/>
                <a:gd name="connsiteY0" fmla="*/ 164830 h 160628"/>
                <a:gd name="connsiteX1" fmla="*/ 82415 w 988483"/>
                <a:gd name="connsiteY1" fmla="*/ 164830 h 160628"/>
                <a:gd name="connsiteX2" fmla="*/ 0 w 988483"/>
                <a:gd name="connsiteY2" fmla="*/ 82415 h 160628"/>
                <a:gd name="connsiteX3" fmla="*/ 82415 w 988483"/>
                <a:gd name="connsiteY3" fmla="*/ 0 h 160628"/>
                <a:gd name="connsiteX4" fmla="*/ 912247 w 988483"/>
                <a:gd name="connsiteY4" fmla="*/ 0 h 160628"/>
                <a:gd name="connsiteX5" fmla="*/ 994661 w 988483"/>
                <a:gd name="connsiteY5" fmla="*/ 82415 h 160628"/>
                <a:gd name="connsiteX6" fmla="*/ 912247 w 988483"/>
                <a:gd name="connsiteY6" fmla="*/ 164830 h 16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483" h="160628">
                  <a:moveTo>
                    <a:pt x="912247" y="164830"/>
                  </a:moveTo>
                  <a:lnTo>
                    <a:pt x="82415" y="164830"/>
                  </a:lnTo>
                  <a:cubicBezTo>
                    <a:pt x="36945" y="164830"/>
                    <a:pt x="0" y="128008"/>
                    <a:pt x="0" y="82415"/>
                  </a:cubicBezTo>
                  <a:cubicBezTo>
                    <a:pt x="0" y="36944"/>
                    <a:pt x="36945" y="0"/>
                    <a:pt x="82415" y="0"/>
                  </a:cubicBezTo>
                  <a:lnTo>
                    <a:pt x="912247" y="0"/>
                  </a:lnTo>
                  <a:cubicBezTo>
                    <a:pt x="957717" y="0"/>
                    <a:pt x="994661" y="36821"/>
                    <a:pt x="994661" y="82415"/>
                  </a:cubicBezTo>
                  <a:cubicBezTo>
                    <a:pt x="994661" y="127885"/>
                    <a:pt x="957717" y="164830"/>
                    <a:pt x="912247" y="164830"/>
                  </a:cubicBezTo>
                </a:path>
              </a:pathLst>
            </a:custGeom>
            <a:solidFill>
              <a:schemeClr val="accent5"/>
            </a:solidFill>
            <a:ln w="12353"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63FCDA24-1584-472A-A62F-76B450A931A0}"/>
                </a:ext>
              </a:extLst>
            </p:cNvPr>
            <p:cNvSpPr/>
            <p:nvPr/>
          </p:nvSpPr>
          <p:spPr>
            <a:xfrm>
              <a:off x="8046542" y="3774368"/>
              <a:ext cx="370681" cy="148272"/>
            </a:xfrm>
            <a:custGeom>
              <a:avLst/>
              <a:gdLst>
                <a:gd name="connsiteX0" fmla="*/ 35956 w 370681"/>
                <a:gd name="connsiteY0" fmla="*/ 0 h 148272"/>
                <a:gd name="connsiteX1" fmla="*/ 0 w 370681"/>
                <a:gd name="connsiteY1" fmla="*/ 124178 h 148272"/>
                <a:gd name="connsiteX2" fmla="*/ 377724 w 370681"/>
                <a:gd name="connsiteY2" fmla="*/ 157910 h 148272"/>
                <a:gd name="connsiteX3" fmla="*/ 370434 w 370681"/>
                <a:gd name="connsiteY3" fmla="*/ 371 h 148272"/>
              </a:gdLst>
              <a:ahLst/>
              <a:cxnLst>
                <a:cxn ang="0">
                  <a:pos x="connsiteX0" y="connsiteY0"/>
                </a:cxn>
                <a:cxn ang="0">
                  <a:pos x="connsiteX1" y="connsiteY1"/>
                </a:cxn>
                <a:cxn ang="0">
                  <a:pos x="connsiteX2" y="connsiteY2"/>
                </a:cxn>
                <a:cxn ang="0">
                  <a:pos x="connsiteX3" y="connsiteY3"/>
                </a:cxn>
              </a:cxnLst>
              <a:rect l="l" t="t" r="r" b="b"/>
              <a:pathLst>
                <a:path w="370681" h="148272">
                  <a:moveTo>
                    <a:pt x="35956" y="0"/>
                  </a:moveTo>
                  <a:lnTo>
                    <a:pt x="0" y="124178"/>
                  </a:lnTo>
                  <a:lnTo>
                    <a:pt x="377724" y="157910"/>
                  </a:lnTo>
                  <a:lnTo>
                    <a:pt x="370434" y="371"/>
                  </a:lnTo>
                  <a:close/>
                </a:path>
              </a:pathLst>
            </a:custGeom>
            <a:solidFill>
              <a:schemeClr val="accent1"/>
            </a:solidFill>
            <a:ln w="12353"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CC101DA2-2661-42C8-B6CA-5095A2E571C5}"/>
                </a:ext>
              </a:extLst>
            </p:cNvPr>
            <p:cNvSpPr/>
            <p:nvPr/>
          </p:nvSpPr>
          <p:spPr>
            <a:xfrm>
              <a:off x="7953872" y="3861849"/>
              <a:ext cx="284189" cy="963771"/>
            </a:xfrm>
            <a:custGeom>
              <a:avLst/>
              <a:gdLst>
                <a:gd name="connsiteX0" fmla="*/ 293950 w 284188"/>
                <a:gd name="connsiteY0" fmla="*/ 0 h 963771"/>
                <a:gd name="connsiteX1" fmla="*/ 157540 w 284188"/>
                <a:gd name="connsiteY1" fmla="*/ 380195 h 963771"/>
                <a:gd name="connsiteX2" fmla="*/ 138882 w 284188"/>
                <a:gd name="connsiteY2" fmla="*/ 967478 h 963771"/>
                <a:gd name="connsiteX3" fmla="*/ 4448 w 284188"/>
                <a:gd name="connsiteY3" fmla="*/ 965625 h 963771"/>
                <a:gd name="connsiteX4" fmla="*/ 0 w 284188"/>
                <a:gd name="connsiteY4" fmla="*/ 353383 h 963771"/>
                <a:gd name="connsiteX5" fmla="*/ 102555 w 284188"/>
                <a:gd name="connsiteY5" fmla="*/ 3213 h 96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188" h="963771">
                  <a:moveTo>
                    <a:pt x="293950" y="0"/>
                  </a:moveTo>
                  <a:lnTo>
                    <a:pt x="157540" y="380195"/>
                  </a:lnTo>
                  <a:lnTo>
                    <a:pt x="138882" y="967478"/>
                  </a:lnTo>
                  <a:lnTo>
                    <a:pt x="4448" y="965625"/>
                  </a:lnTo>
                  <a:lnTo>
                    <a:pt x="0" y="353383"/>
                  </a:lnTo>
                  <a:lnTo>
                    <a:pt x="102555" y="3213"/>
                  </a:lnTo>
                  <a:close/>
                </a:path>
              </a:pathLst>
            </a:custGeom>
            <a:solidFill>
              <a:srgbClr val="4701A7"/>
            </a:solidFill>
            <a:ln w="12353"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02C33B35-C61A-491F-9A4E-25FFB24708BD}"/>
                </a:ext>
              </a:extLst>
            </p:cNvPr>
            <p:cNvSpPr/>
            <p:nvPr/>
          </p:nvSpPr>
          <p:spPr>
            <a:xfrm>
              <a:off x="8130564" y="3902377"/>
              <a:ext cx="86492" cy="135916"/>
            </a:xfrm>
            <a:custGeom>
              <a:avLst/>
              <a:gdLst>
                <a:gd name="connsiteX0" fmla="*/ 98107 w 86492"/>
                <a:gd name="connsiteY0" fmla="*/ 12850 h 135916"/>
                <a:gd name="connsiteX1" fmla="*/ 0 w 86492"/>
                <a:gd name="connsiteY1" fmla="*/ 0 h 135916"/>
                <a:gd name="connsiteX2" fmla="*/ 52760 w 86492"/>
                <a:gd name="connsiteY2" fmla="*/ 139129 h 135916"/>
              </a:gdLst>
              <a:ahLst/>
              <a:cxnLst>
                <a:cxn ang="0">
                  <a:pos x="connsiteX0" y="connsiteY0"/>
                </a:cxn>
                <a:cxn ang="0">
                  <a:pos x="connsiteX1" y="connsiteY1"/>
                </a:cxn>
                <a:cxn ang="0">
                  <a:pos x="connsiteX2" y="connsiteY2"/>
                </a:cxn>
              </a:cxnLst>
              <a:rect l="l" t="t" r="r" b="b"/>
              <a:pathLst>
                <a:path w="86492" h="135916">
                  <a:moveTo>
                    <a:pt x="98107" y="12850"/>
                  </a:moveTo>
                  <a:lnTo>
                    <a:pt x="0" y="0"/>
                  </a:lnTo>
                  <a:lnTo>
                    <a:pt x="52760" y="139129"/>
                  </a:lnTo>
                  <a:close/>
                </a:path>
              </a:pathLst>
            </a:custGeom>
            <a:solidFill>
              <a:schemeClr val="accent3"/>
            </a:solidFill>
            <a:ln w="12353"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C20356E5-1FCD-4063-80CE-5681F0A0B23E}"/>
                </a:ext>
              </a:extLst>
            </p:cNvPr>
            <p:cNvSpPr/>
            <p:nvPr/>
          </p:nvSpPr>
          <p:spPr>
            <a:xfrm>
              <a:off x="8226199" y="3861849"/>
              <a:ext cx="296545" cy="963771"/>
            </a:xfrm>
            <a:custGeom>
              <a:avLst/>
              <a:gdLst>
                <a:gd name="connsiteX0" fmla="*/ 198067 w 296545"/>
                <a:gd name="connsiteY0" fmla="*/ 44852 h 963771"/>
                <a:gd name="connsiteX1" fmla="*/ 211165 w 296545"/>
                <a:gd name="connsiteY1" fmla="*/ 394652 h 963771"/>
                <a:gd name="connsiteX2" fmla="*/ 297039 w 296545"/>
                <a:gd name="connsiteY2" fmla="*/ 974274 h 963771"/>
                <a:gd name="connsiteX3" fmla="*/ 158281 w 296545"/>
                <a:gd name="connsiteY3" fmla="*/ 972420 h 963771"/>
                <a:gd name="connsiteX4" fmla="*/ 42875 w 296545"/>
                <a:gd name="connsiteY4" fmla="*/ 404413 h 963771"/>
                <a:gd name="connsiteX5" fmla="*/ 0 w 296545"/>
                <a:gd name="connsiteY5" fmla="*/ 0 h 96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545" h="963771">
                  <a:moveTo>
                    <a:pt x="198067" y="44852"/>
                  </a:moveTo>
                  <a:lnTo>
                    <a:pt x="211165" y="394652"/>
                  </a:lnTo>
                  <a:lnTo>
                    <a:pt x="297039" y="974274"/>
                  </a:lnTo>
                  <a:lnTo>
                    <a:pt x="158281" y="972420"/>
                  </a:lnTo>
                  <a:lnTo>
                    <a:pt x="42875" y="404413"/>
                  </a:lnTo>
                  <a:lnTo>
                    <a:pt x="0" y="0"/>
                  </a:lnTo>
                  <a:close/>
                </a:path>
              </a:pathLst>
            </a:custGeom>
            <a:solidFill>
              <a:srgbClr val="4701A7"/>
            </a:solidFill>
            <a:ln w="12353"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2F7B925-BCA7-444B-9E95-5968FFB66609}"/>
                </a:ext>
              </a:extLst>
            </p:cNvPr>
            <p:cNvSpPr/>
            <p:nvPr/>
          </p:nvSpPr>
          <p:spPr>
            <a:xfrm>
              <a:off x="8037467" y="3240217"/>
              <a:ext cx="395393" cy="580734"/>
            </a:xfrm>
            <a:custGeom>
              <a:avLst/>
              <a:gdLst>
                <a:gd name="connsiteX0" fmla="*/ 232844 w 395393"/>
                <a:gd name="connsiteY0" fmla="*/ 0 h 580733"/>
                <a:gd name="connsiteX1" fmla="*/ 243840 w 395393"/>
                <a:gd name="connsiteY1" fmla="*/ 2224 h 580733"/>
                <a:gd name="connsiteX2" fmla="*/ 340465 w 395393"/>
                <a:gd name="connsiteY2" fmla="*/ 98230 h 580733"/>
                <a:gd name="connsiteX3" fmla="*/ 402863 w 395393"/>
                <a:gd name="connsiteY3" fmla="*/ 546384 h 580733"/>
                <a:gd name="connsiteX4" fmla="*/ 26127 w 395393"/>
                <a:gd name="connsiteY4" fmla="*/ 534028 h 580733"/>
                <a:gd name="connsiteX5" fmla="*/ 427 w 395393"/>
                <a:gd name="connsiteY5" fmla="*/ 117135 h 580733"/>
                <a:gd name="connsiteX6" fmla="*/ 63936 w 395393"/>
                <a:gd name="connsiteY6" fmla="*/ 8649 h 580733"/>
                <a:gd name="connsiteX7" fmla="*/ 232844 w 395393"/>
                <a:gd name="connsiteY7" fmla="*/ 0 h 58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393" h="580733">
                  <a:moveTo>
                    <a:pt x="232844" y="0"/>
                  </a:moveTo>
                  <a:lnTo>
                    <a:pt x="243840" y="2224"/>
                  </a:lnTo>
                  <a:cubicBezTo>
                    <a:pt x="292400" y="11985"/>
                    <a:pt x="330333" y="49795"/>
                    <a:pt x="340465" y="98230"/>
                  </a:cubicBezTo>
                  <a:lnTo>
                    <a:pt x="402863" y="546384"/>
                  </a:lnTo>
                  <a:cubicBezTo>
                    <a:pt x="233338" y="631147"/>
                    <a:pt x="26127" y="534028"/>
                    <a:pt x="26127" y="534028"/>
                  </a:cubicBezTo>
                  <a:lnTo>
                    <a:pt x="427" y="117135"/>
                  </a:lnTo>
                  <a:cubicBezTo>
                    <a:pt x="-3651" y="71171"/>
                    <a:pt x="21802" y="27678"/>
                    <a:pt x="63936" y="8649"/>
                  </a:cubicBezTo>
                  <a:lnTo>
                    <a:pt x="232844" y="0"/>
                  </a:lnTo>
                  <a:close/>
                </a:path>
              </a:pathLst>
            </a:custGeom>
            <a:solidFill>
              <a:schemeClr val="accent2"/>
            </a:solidFill>
            <a:ln w="12353"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7069E054-C31F-4FF8-8154-DB85BE02E02D}"/>
                </a:ext>
              </a:extLst>
            </p:cNvPr>
            <p:cNvSpPr/>
            <p:nvPr/>
          </p:nvSpPr>
          <p:spPr>
            <a:xfrm>
              <a:off x="8113917" y="3240711"/>
              <a:ext cx="135916" cy="49424"/>
            </a:xfrm>
            <a:custGeom>
              <a:avLst/>
              <a:gdLst>
                <a:gd name="connsiteX0" fmla="*/ 1819 w 135916"/>
                <a:gd name="connsiteY0" fmla="*/ 7414 h 49424"/>
                <a:gd name="connsiteX1" fmla="*/ 145273 w 135916"/>
                <a:gd name="connsiteY1" fmla="*/ 0 h 49424"/>
                <a:gd name="connsiteX2" fmla="*/ 55074 w 135916"/>
                <a:gd name="connsiteY2" fmla="*/ 59186 h 49424"/>
                <a:gd name="connsiteX3" fmla="*/ 1819 w 135916"/>
                <a:gd name="connsiteY3" fmla="*/ 7414 h 49424"/>
              </a:gdLst>
              <a:ahLst/>
              <a:cxnLst>
                <a:cxn ang="0">
                  <a:pos x="connsiteX0" y="connsiteY0"/>
                </a:cxn>
                <a:cxn ang="0">
                  <a:pos x="connsiteX1" y="connsiteY1"/>
                </a:cxn>
                <a:cxn ang="0">
                  <a:pos x="connsiteX2" y="connsiteY2"/>
                </a:cxn>
                <a:cxn ang="0">
                  <a:pos x="connsiteX3" y="connsiteY3"/>
                </a:cxn>
              </a:cxnLst>
              <a:rect l="l" t="t" r="r" b="b"/>
              <a:pathLst>
                <a:path w="135916" h="49424">
                  <a:moveTo>
                    <a:pt x="1819" y="7414"/>
                  </a:moveTo>
                  <a:lnTo>
                    <a:pt x="145273" y="0"/>
                  </a:lnTo>
                  <a:cubicBezTo>
                    <a:pt x="145273" y="0"/>
                    <a:pt x="141319" y="63263"/>
                    <a:pt x="55074" y="59186"/>
                  </a:cubicBezTo>
                  <a:cubicBezTo>
                    <a:pt x="-15232" y="55849"/>
                    <a:pt x="1819" y="7414"/>
                    <a:pt x="1819" y="7414"/>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5F047C10-EFCD-48A3-A809-9069B389241F}"/>
                </a:ext>
              </a:extLst>
            </p:cNvPr>
            <p:cNvSpPr/>
            <p:nvPr/>
          </p:nvSpPr>
          <p:spPr>
            <a:xfrm>
              <a:off x="7701974" y="3546935"/>
              <a:ext cx="111204" cy="111204"/>
            </a:xfrm>
            <a:custGeom>
              <a:avLst/>
              <a:gdLst>
                <a:gd name="connsiteX0" fmla="*/ 121171 w 111204"/>
                <a:gd name="connsiteY0" fmla="*/ 67052 h 111204"/>
                <a:gd name="connsiteX1" fmla="*/ 54449 w 111204"/>
                <a:gd name="connsiteY1" fmla="*/ 121171 h 111204"/>
                <a:gd name="connsiteX2" fmla="*/ 329 w 111204"/>
                <a:gd name="connsiteY2" fmla="*/ 54448 h 111204"/>
                <a:gd name="connsiteX3" fmla="*/ 67052 w 111204"/>
                <a:gd name="connsiteY3" fmla="*/ 329 h 111204"/>
                <a:gd name="connsiteX4" fmla="*/ 121171 w 111204"/>
                <a:gd name="connsiteY4" fmla="*/ 67052 h 111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04" h="111204">
                  <a:moveTo>
                    <a:pt x="121171" y="67052"/>
                  </a:moveTo>
                  <a:cubicBezTo>
                    <a:pt x="117711" y="100413"/>
                    <a:pt x="87810" y="124631"/>
                    <a:pt x="54449" y="121171"/>
                  </a:cubicBezTo>
                  <a:cubicBezTo>
                    <a:pt x="21087" y="117711"/>
                    <a:pt x="-3131" y="87810"/>
                    <a:pt x="329" y="54448"/>
                  </a:cubicBezTo>
                  <a:cubicBezTo>
                    <a:pt x="3789" y="21087"/>
                    <a:pt x="33690" y="-3131"/>
                    <a:pt x="67052" y="329"/>
                  </a:cubicBezTo>
                  <a:cubicBezTo>
                    <a:pt x="100413" y="3789"/>
                    <a:pt x="124631" y="33690"/>
                    <a:pt x="121171" y="67052"/>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01F2CEF-76CD-41A2-9857-BFA3F833ED5E}"/>
                </a:ext>
              </a:extLst>
            </p:cNvPr>
            <p:cNvSpPr/>
            <p:nvPr/>
          </p:nvSpPr>
          <p:spPr>
            <a:xfrm>
              <a:off x="7768983" y="3581819"/>
              <a:ext cx="111204" cy="61780"/>
            </a:xfrm>
            <a:custGeom>
              <a:avLst/>
              <a:gdLst>
                <a:gd name="connsiteX0" fmla="*/ 89747 w 111204"/>
                <a:gd name="connsiteY0" fmla="*/ 66394 h 61780"/>
                <a:gd name="connsiteX1" fmla="*/ 26855 w 111204"/>
                <a:gd name="connsiteY1" fmla="*/ 59846 h 61780"/>
                <a:gd name="connsiteX2" fmla="*/ 166 w 111204"/>
                <a:gd name="connsiteY2" fmla="*/ 26855 h 61780"/>
                <a:gd name="connsiteX3" fmla="*/ 33156 w 111204"/>
                <a:gd name="connsiteY3" fmla="*/ 166 h 61780"/>
                <a:gd name="connsiteX4" fmla="*/ 95925 w 111204"/>
                <a:gd name="connsiteY4" fmla="*/ 6715 h 61780"/>
                <a:gd name="connsiteX5" fmla="*/ 122614 w 111204"/>
                <a:gd name="connsiteY5" fmla="*/ 39705 h 61780"/>
                <a:gd name="connsiteX6" fmla="*/ 89747 w 111204"/>
                <a:gd name="connsiteY6" fmla="*/ 66394 h 6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204" h="61780">
                  <a:moveTo>
                    <a:pt x="89747" y="66394"/>
                  </a:moveTo>
                  <a:lnTo>
                    <a:pt x="26855" y="59846"/>
                  </a:lnTo>
                  <a:cubicBezTo>
                    <a:pt x="10421" y="58116"/>
                    <a:pt x="-1564" y="43288"/>
                    <a:pt x="166" y="26855"/>
                  </a:cubicBezTo>
                  <a:cubicBezTo>
                    <a:pt x="1896" y="10422"/>
                    <a:pt x="16723" y="-1564"/>
                    <a:pt x="33156" y="166"/>
                  </a:cubicBezTo>
                  <a:lnTo>
                    <a:pt x="95925" y="6715"/>
                  </a:lnTo>
                  <a:cubicBezTo>
                    <a:pt x="112359" y="8445"/>
                    <a:pt x="124344" y="23272"/>
                    <a:pt x="122614" y="39705"/>
                  </a:cubicBezTo>
                  <a:cubicBezTo>
                    <a:pt x="121008" y="56015"/>
                    <a:pt x="106181" y="68124"/>
                    <a:pt x="89747" y="66394"/>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547540DC-F8E0-4EEA-979E-DEBFC8BC8AAB}"/>
                </a:ext>
              </a:extLst>
            </p:cNvPr>
            <p:cNvSpPr/>
            <p:nvPr/>
          </p:nvSpPr>
          <p:spPr>
            <a:xfrm>
              <a:off x="7823516" y="3287105"/>
              <a:ext cx="531310" cy="383037"/>
            </a:xfrm>
            <a:custGeom>
              <a:avLst/>
              <a:gdLst>
                <a:gd name="connsiteX0" fmla="*/ 0 w 531309"/>
                <a:gd name="connsiteY0" fmla="*/ 382608 h 383037"/>
                <a:gd name="connsiteX1" fmla="*/ 4201 w 531309"/>
                <a:gd name="connsiteY1" fmla="*/ 269674 h 383037"/>
                <a:gd name="connsiteX2" fmla="*/ 315326 w 531309"/>
                <a:gd name="connsiteY2" fmla="*/ 281165 h 383037"/>
                <a:gd name="connsiteX3" fmla="*/ 431349 w 531309"/>
                <a:gd name="connsiteY3" fmla="*/ 31202 h 383037"/>
                <a:gd name="connsiteX4" fmla="*/ 507092 w 531309"/>
                <a:gd name="connsiteY4" fmla="*/ 5996 h 383037"/>
                <a:gd name="connsiteX5" fmla="*/ 532422 w 531309"/>
                <a:gd name="connsiteY5" fmla="*/ 81738 h 383037"/>
                <a:gd name="connsiteX6" fmla="*/ 400212 w 531309"/>
                <a:gd name="connsiteY6" fmla="*/ 364197 h 383037"/>
                <a:gd name="connsiteX7" fmla="*/ 347576 w 531309"/>
                <a:gd name="connsiteY7" fmla="*/ 395335 h 383037"/>
                <a:gd name="connsiteX8" fmla="*/ 0 w 531309"/>
                <a:gd name="connsiteY8" fmla="*/ 382608 h 38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309" h="383037">
                  <a:moveTo>
                    <a:pt x="0" y="382608"/>
                  </a:moveTo>
                  <a:lnTo>
                    <a:pt x="4201" y="269674"/>
                  </a:lnTo>
                  <a:lnTo>
                    <a:pt x="315326" y="281165"/>
                  </a:lnTo>
                  <a:lnTo>
                    <a:pt x="431349" y="31202"/>
                  </a:lnTo>
                  <a:cubicBezTo>
                    <a:pt x="445311" y="3277"/>
                    <a:pt x="479167" y="-7967"/>
                    <a:pt x="507092" y="5996"/>
                  </a:cubicBezTo>
                  <a:cubicBezTo>
                    <a:pt x="535016" y="19958"/>
                    <a:pt x="546384" y="53814"/>
                    <a:pt x="532422" y="81738"/>
                  </a:cubicBezTo>
                  <a:lnTo>
                    <a:pt x="400212" y="364197"/>
                  </a:lnTo>
                  <a:cubicBezTo>
                    <a:pt x="390327" y="383967"/>
                    <a:pt x="369693" y="396200"/>
                    <a:pt x="347576" y="395335"/>
                  </a:cubicBezTo>
                  <a:lnTo>
                    <a:pt x="0" y="382608"/>
                  </a:lnTo>
                  <a:close/>
                </a:path>
              </a:pathLst>
            </a:custGeom>
            <a:solidFill>
              <a:schemeClr val="accent1"/>
            </a:solidFill>
            <a:ln w="12353"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35AA4A5A-6255-40A6-9FAC-075F0B564D88}"/>
                </a:ext>
              </a:extLst>
            </p:cNvPr>
            <p:cNvSpPr/>
            <p:nvPr/>
          </p:nvSpPr>
          <p:spPr>
            <a:xfrm>
              <a:off x="8057663" y="3391084"/>
              <a:ext cx="284189" cy="321257"/>
            </a:xfrm>
            <a:custGeom>
              <a:avLst/>
              <a:gdLst>
                <a:gd name="connsiteX0" fmla="*/ 0 w 284188"/>
                <a:gd name="connsiteY0" fmla="*/ 287278 h 321257"/>
                <a:gd name="connsiteX1" fmla="*/ 100455 w 284188"/>
                <a:gd name="connsiteY1" fmla="*/ 290985 h 321257"/>
                <a:gd name="connsiteX2" fmla="*/ 167054 w 284188"/>
                <a:gd name="connsiteY2" fmla="*/ 248851 h 321257"/>
                <a:gd name="connsiteX3" fmla="*/ 287772 w 284188"/>
                <a:gd name="connsiteY3" fmla="*/ 0 h 321257"/>
                <a:gd name="connsiteX4" fmla="*/ 177062 w 284188"/>
                <a:gd name="connsiteY4" fmla="*/ 294074 h 321257"/>
                <a:gd name="connsiteX5" fmla="*/ 130109 w 284188"/>
                <a:gd name="connsiteY5" fmla="*/ 323358 h 321257"/>
                <a:gd name="connsiteX6" fmla="*/ 1730 w 284188"/>
                <a:gd name="connsiteY6" fmla="*/ 313596 h 321257"/>
                <a:gd name="connsiteX7" fmla="*/ 0 w 284188"/>
                <a:gd name="connsiteY7" fmla="*/ 287278 h 321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188" h="321257">
                  <a:moveTo>
                    <a:pt x="0" y="287278"/>
                  </a:moveTo>
                  <a:lnTo>
                    <a:pt x="100455" y="290985"/>
                  </a:lnTo>
                  <a:cubicBezTo>
                    <a:pt x="128750" y="290120"/>
                    <a:pt x="154204" y="273933"/>
                    <a:pt x="167054" y="248851"/>
                  </a:cubicBezTo>
                  <a:lnTo>
                    <a:pt x="287772" y="0"/>
                  </a:lnTo>
                  <a:cubicBezTo>
                    <a:pt x="239213" y="145925"/>
                    <a:pt x="177062" y="294074"/>
                    <a:pt x="177062" y="294074"/>
                  </a:cubicBezTo>
                  <a:cubicBezTo>
                    <a:pt x="169402" y="312978"/>
                    <a:pt x="150497" y="324840"/>
                    <a:pt x="130109" y="323358"/>
                  </a:cubicBezTo>
                  <a:lnTo>
                    <a:pt x="1730" y="313596"/>
                  </a:lnTo>
                  <a:lnTo>
                    <a:pt x="0" y="287278"/>
                  </a:lnTo>
                  <a:close/>
                </a:path>
              </a:pathLst>
            </a:custGeom>
            <a:solidFill>
              <a:schemeClr val="accent3"/>
            </a:solidFill>
            <a:ln w="12353"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6068C868-6B89-41B3-8B41-67C1E39BB196}"/>
                </a:ext>
              </a:extLst>
            </p:cNvPr>
            <p:cNvSpPr/>
            <p:nvPr/>
          </p:nvSpPr>
          <p:spPr>
            <a:xfrm>
              <a:off x="8133158" y="3053887"/>
              <a:ext cx="111204" cy="222409"/>
            </a:xfrm>
            <a:custGeom>
              <a:avLst/>
              <a:gdLst>
                <a:gd name="connsiteX0" fmla="*/ 103049 w 111204"/>
                <a:gd name="connsiteY0" fmla="*/ 226239 h 222408"/>
                <a:gd name="connsiteX1" fmla="*/ 0 w 111204"/>
                <a:gd name="connsiteY1" fmla="*/ 217590 h 222408"/>
                <a:gd name="connsiteX2" fmla="*/ 16186 w 111204"/>
                <a:gd name="connsiteY2" fmla="*/ 0 h 222408"/>
                <a:gd name="connsiteX3" fmla="*/ 119236 w 111204"/>
                <a:gd name="connsiteY3" fmla="*/ 8649 h 222408"/>
              </a:gdLst>
              <a:ahLst/>
              <a:cxnLst>
                <a:cxn ang="0">
                  <a:pos x="connsiteX0" y="connsiteY0"/>
                </a:cxn>
                <a:cxn ang="0">
                  <a:pos x="connsiteX1" y="connsiteY1"/>
                </a:cxn>
                <a:cxn ang="0">
                  <a:pos x="connsiteX2" y="connsiteY2"/>
                </a:cxn>
                <a:cxn ang="0">
                  <a:pos x="connsiteX3" y="connsiteY3"/>
                </a:cxn>
              </a:cxnLst>
              <a:rect l="l" t="t" r="r" b="b"/>
              <a:pathLst>
                <a:path w="111204" h="222408">
                  <a:moveTo>
                    <a:pt x="103049" y="226239"/>
                  </a:moveTo>
                  <a:lnTo>
                    <a:pt x="0" y="217590"/>
                  </a:lnTo>
                  <a:lnTo>
                    <a:pt x="16186" y="0"/>
                  </a:lnTo>
                  <a:lnTo>
                    <a:pt x="119236" y="8649"/>
                  </a:lnTo>
                  <a:close/>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F1C05F32-1A3B-4335-807A-0C7DC229636E}"/>
                </a:ext>
              </a:extLst>
            </p:cNvPr>
            <p:cNvSpPr/>
            <p:nvPr/>
          </p:nvSpPr>
          <p:spPr>
            <a:xfrm>
              <a:off x="8136247" y="3090956"/>
              <a:ext cx="98848" cy="135916"/>
            </a:xfrm>
            <a:custGeom>
              <a:avLst/>
              <a:gdLst>
                <a:gd name="connsiteX0" fmla="*/ 0 w 98848"/>
                <a:gd name="connsiteY0" fmla="*/ 138264 h 135916"/>
                <a:gd name="connsiteX1" fmla="*/ 106015 w 98848"/>
                <a:gd name="connsiteY1" fmla="*/ 0 h 135916"/>
                <a:gd name="connsiteX2" fmla="*/ 2224 w 98848"/>
                <a:gd name="connsiteY2" fmla="*/ 108980 h 135916"/>
                <a:gd name="connsiteX3" fmla="*/ 0 w 98848"/>
                <a:gd name="connsiteY3" fmla="*/ 138264 h 135916"/>
              </a:gdLst>
              <a:ahLst/>
              <a:cxnLst>
                <a:cxn ang="0">
                  <a:pos x="connsiteX0" y="connsiteY0"/>
                </a:cxn>
                <a:cxn ang="0">
                  <a:pos x="connsiteX1" y="connsiteY1"/>
                </a:cxn>
                <a:cxn ang="0">
                  <a:pos x="connsiteX2" y="connsiteY2"/>
                </a:cxn>
                <a:cxn ang="0">
                  <a:pos x="connsiteX3" y="connsiteY3"/>
                </a:cxn>
              </a:cxnLst>
              <a:rect l="l" t="t" r="r" b="b"/>
              <a:pathLst>
                <a:path w="98848" h="135916">
                  <a:moveTo>
                    <a:pt x="0" y="138264"/>
                  </a:moveTo>
                  <a:cubicBezTo>
                    <a:pt x="0" y="138264"/>
                    <a:pt x="94524" y="156798"/>
                    <a:pt x="106015" y="0"/>
                  </a:cubicBezTo>
                  <a:lnTo>
                    <a:pt x="2224" y="108980"/>
                  </a:lnTo>
                  <a:lnTo>
                    <a:pt x="0" y="138264"/>
                  </a:lnTo>
                  <a:close/>
                </a:path>
              </a:pathLst>
            </a:custGeom>
            <a:solidFill>
              <a:schemeClr val="accent4">
                <a:lumMod val="40000"/>
                <a:lumOff val="60000"/>
              </a:schemeClr>
            </a:solidFill>
            <a:ln w="12353"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A450482E-3538-4E06-BE36-EA9297BB77CA}"/>
                </a:ext>
              </a:extLst>
            </p:cNvPr>
            <p:cNvSpPr/>
            <p:nvPr/>
          </p:nvSpPr>
          <p:spPr>
            <a:xfrm>
              <a:off x="8006198" y="2930942"/>
              <a:ext cx="234765" cy="259477"/>
            </a:xfrm>
            <a:custGeom>
              <a:avLst/>
              <a:gdLst>
                <a:gd name="connsiteX0" fmla="*/ 109785 w 234764"/>
                <a:gd name="connsiteY0" fmla="*/ 269364 h 259476"/>
                <a:gd name="connsiteX1" fmla="*/ 109785 w 234764"/>
                <a:gd name="connsiteY1" fmla="*/ 269364 h 259476"/>
                <a:gd name="connsiteX2" fmla="*/ 311 w 234764"/>
                <a:gd name="connsiteY2" fmla="*/ 142962 h 259476"/>
                <a:gd name="connsiteX3" fmla="*/ 7107 w 234764"/>
                <a:gd name="connsiteY3" fmla="*/ 48315 h 259476"/>
                <a:gd name="connsiteX4" fmla="*/ 62709 w 234764"/>
                <a:gd name="connsiteY4" fmla="*/ 126 h 259476"/>
                <a:gd name="connsiteX5" fmla="*/ 246690 w 234764"/>
                <a:gd name="connsiteY5" fmla="*/ 13223 h 259476"/>
                <a:gd name="connsiteX6" fmla="*/ 236188 w 234764"/>
                <a:gd name="connsiteY6" fmla="*/ 159766 h 259476"/>
                <a:gd name="connsiteX7" fmla="*/ 109785 w 234764"/>
                <a:gd name="connsiteY7" fmla="*/ 269364 h 25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764" h="259476">
                  <a:moveTo>
                    <a:pt x="109785" y="269364"/>
                  </a:moveTo>
                  <a:lnTo>
                    <a:pt x="109785" y="269364"/>
                  </a:lnTo>
                  <a:cubicBezTo>
                    <a:pt x="44669" y="264669"/>
                    <a:pt x="-4385" y="208078"/>
                    <a:pt x="311" y="142962"/>
                  </a:cubicBezTo>
                  <a:lnTo>
                    <a:pt x="7107" y="48315"/>
                  </a:lnTo>
                  <a:cubicBezTo>
                    <a:pt x="9207" y="19649"/>
                    <a:pt x="34043" y="-1851"/>
                    <a:pt x="62709" y="126"/>
                  </a:cubicBezTo>
                  <a:lnTo>
                    <a:pt x="246690" y="13223"/>
                  </a:lnTo>
                  <a:lnTo>
                    <a:pt x="236188" y="159766"/>
                  </a:lnTo>
                  <a:cubicBezTo>
                    <a:pt x="231492" y="225006"/>
                    <a:pt x="174902" y="274060"/>
                    <a:pt x="109785" y="269364"/>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E2269A0E-246C-4281-A681-D91C482E6D4F}"/>
                </a:ext>
              </a:extLst>
            </p:cNvPr>
            <p:cNvSpPr/>
            <p:nvPr/>
          </p:nvSpPr>
          <p:spPr>
            <a:xfrm>
              <a:off x="7963603" y="2829283"/>
              <a:ext cx="308901" cy="234765"/>
            </a:xfrm>
            <a:custGeom>
              <a:avLst/>
              <a:gdLst>
                <a:gd name="connsiteX0" fmla="*/ 288297 w 308901"/>
                <a:gd name="connsiteY0" fmla="*/ 243757 h 234764"/>
                <a:gd name="connsiteX1" fmla="*/ 247275 w 308901"/>
                <a:gd name="connsiteY1" fmla="*/ 241162 h 234764"/>
                <a:gd name="connsiteX2" fmla="*/ 247399 w 308901"/>
                <a:gd name="connsiteY2" fmla="*/ 182224 h 234764"/>
                <a:gd name="connsiteX3" fmla="*/ 271864 w 308901"/>
                <a:gd name="connsiteY3" fmla="*/ 141202 h 234764"/>
                <a:gd name="connsiteX4" fmla="*/ 52050 w 308901"/>
                <a:gd name="connsiteY4" fmla="*/ 130081 h 234764"/>
                <a:gd name="connsiteX5" fmla="*/ 2873 w 308901"/>
                <a:gd name="connsiteY5" fmla="*/ 52732 h 234764"/>
                <a:gd name="connsiteX6" fmla="*/ 63170 w 308901"/>
                <a:gd name="connsiteY6" fmla="*/ 96 h 234764"/>
                <a:gd name="connsiteX7" fmla="*/ 82940 w 308901"/>
                <a:gd name="connsiteY7" fmla="*/ 32839 h 234764"/>
                <a:gd name="connsiteX8" fmla="*/ 82940 w 308901"/>
                <a:gd name="connsiteY8" fmla="*/ 32839 h 234764"/>
                <a:gd name="connsiteX9" fmla="*/ 307696 w 308901"/>
                <a:gd name="connsiteY9" fmla="*/ 80657 h 234764"/>
                <a:gd name="connsiteX10" fmla="*/ 294599 w 308901"/>
                <a:gd name="connsiteY10" fmla="*/ 168014 h 234764"/>
                <a:gd name="connsiteX11" fmla="*/ 288297 w 308901"/>
                <a:gd name="connsiteY11" fmla="*/ 243757 h 23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8901" h="234764">
                  <a:moveTo>
                    <a:pt x="288297" y="243757"/>
                  </a:moveTo>
                  <a:lnTo>
                    <a:pt x="247275" y="241162"/>
                  </a:lnTo>
                  <a:lnTo>
                    <a:pt x="247399" y="182224"/>
                  </a:lnTo>
                  <a:cubicBezTo>
                    <a:pt x="247399" y="182224"/>
                    <a:pt x="244928" y="142808"/>
                    <a:pt x="271864" y="141202"/>
                  </a:cubicBezTo>
                  <a:lnTo>
                    <a:pt x="52050" y="130081"/>
                  </a:lnTo>
                  <a:cubicBezTo>
                    <a:pt x="52050" y="130081"/>
                    <a:pt x="-14426" y="120073"/>
                    <a:pt x="2873" y="52732"/>
                  </a:cubicBezTo>
                  <a:cubicBezTo>
                    <a:pt x="12758" y="14305"/>
                    <a:pt x="47354" y="-1387"/>
                    <a:pt x="63170" y="96"/>
                  </a:cubicBezTo>
                  <a:cubicBezTo>
                    <a:pt x="75279" y="1208"/>
                    <a:pt x="82940" y="20730"/>
                    <a:pt x="82940" y="32839"/>
                  </a:cubicBezTo>
                  <a:lnTo>
                    <a:pt x="82940" y="32839"/>
                  </a:lnTo>
                  <a:cubicBezTo>
                    <a:pt x="82940" y="32839"/>
                    <a:pt x="299789" y="-8677"/>
                    <a:pt x="307696" y="80657"/>
                  </a:cubicBezTo>
                  <a:cubicBezTo>
                    <a:pt x="313998" y="152075"/>
                    <a:pt x="294599" y="168014"/>
                    <a:pt x="294599" y="168014"/>
                  </a:cubicBezTo>
                  <a:lnTo>
                    <a:pt x="288297" y="243757"/>
                  </a:lnTo>
                  <a:close/>
                </a:path>
              </a:pathLst>
            </a:custGeom>
            <a:solidFill>
              <a:srgbClr val="162836"/>
            </a:solidFill>
            <a:ln w="12353"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228DF8C5-AC53-47FF-9162-03C1C6C32543}"/>
                </a:ext>
              </a:extLst>
            </p:cNvPr>
            <p:cNvSpPr/>
            <p:nvPr/>
          </p:nvSpPr>
          <p:spPr>
            <a:xfrm>
              <a:off x="8251900" y="2913245"/>
              <a:ext cx="49424" cy="148272"/>
            </a:xfrm>
            <a:custGeom>
              <a:avLst/>
              <a:gdLst>
                <a:gd name="connsiteX0" fmla="*/ 3830 w 49424"/>
                <a:gd name="connsiteY0" fmla="*/ 31 h 148272"/>
                <a:gd name="connsiteX1" fmla="*/ 59309 w 49424"/>
                <a:gd name="connsiteY1" fmla="*/ 42783 h 148272"/>
                <a:gd name="connsiteX2" fmla="*/ 0 w 49424"/>
                <a:gd name="connsiteY2" fmla="*/ 159795 h 148272"/>
                <a:gd name="connsiteX3" fmla="*/ 989 w 49424"/>
                <a:gd name="connsiteY3" fmla="*/ 31045 h 148272"/>
                <a:gd name="connsiteX4" fmla="*/ 3830 w 49424"/>
                <a:gd name="connsiteY4" fmla="*/ 31 h 148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24" h="148272">
                  <a:moveTo>
                    <a:pt x="3830" y="31"/>
                  </a:moveTo>
                  <a:cubicBezTo>
                    <a:pt x="3830" y="31"/>
                    <a:pt x="55108" y="-2687"/>
                    <a:pt x="59309" y="42783"/>
                  </a:cubicBezTo>
                  <a:cubicBezTo>
                    <a:pt x="66476" y="121491"/>
                    <a:pt x="0" y="159795"/>
                    <a:pt x="0" y="159795"/>
                  </a:cubicBezTo>
                  <a:lnTo>
                    <a:pt x="989" y="31045"/>
                  </a:lnTo>
                  <a:lnTo>
                    <a:pt x="3830" y="31"/>
                  </a:lnTo>
                  <a:close/>
                </a:path>
              </a:pathLst>
            </a:custGeom>
            <a:solidFill>
              <a:srgbClr val="162836"/>
            </a:solidFill>
            <a:ln w="12353"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109F28AB-976C-4E50-A67C-88CBF01F3DB6}"/>
                </a:ext>
              </a:extLst>
            </p:cNvPr>
            <p:cNvSpPr/>
            <p:nvPr/>
          </p:nvSpPr>
          <p:spPr>
            <a:xfrm>
              <a:off x="8225793" y="3021355"/>
              <a:ext cx="74136" cy="74136"/>
            </a:xfrm>
            <a:custGeom>
              <a:avLst/>
              <a:gdLst>
                <a:gd name="connsiteX0" fmla="*/ 72813 w 74136"/>
                <a:gd name="connsiteY0" fmla="*/ 47607 h 74136"/>
                <a:gd name="connsiteX1" fmla="*/ 26725 w 74136"/>
                <a:gd name="connsiteY1" fmla="*/ 72813 h 74136"/>
                <a:gd name="connsiteX2" fmla="*/ 1519 w 74136"/>
                <a:gd name="connsiteY2" fmla="*/ 26725 h 74136"/>
                <a:gd name="connsiteX3" fmla="*/ 47607 w 74136"/>
                <a:gd name="connsiteY3" fmla="*/ 1519 h 74136"/>
                <a:gd name="connsiteX4" fmla="*/ 72813 w 74136"/>
                <a:gd name="connsiteY4" fmla="*/ 47607 h 74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36" h="74136">
                  <a:moveTo>
                    <a:pt x="72813" y="47607"/>
                  </a:moveTo>
                  <a:cubicBezTo>
                    <a:pt x="67006" y="67253"/>
                    <a:pt x="46371" y="78620"/>
                    <a:pt x="26725" y="72813"/>
                  </a:cubicBezTo>
                  <a:cubicBezTo>
                    <a:pt x="7079" y="67006"/>
                    <a:pt x="-4289" y="46371"/>
                    <a:pt x="1519" y="26725"/>
                  </a:cubicBezTo>
                  <a:cubicBezTo>
                    <a:pt x="7202" y="7079"/>
                    <a:pt x="27961" y="-4289"/>
                    <a:pt x="47607" y="1519"/>
                  </a:cubicBezTo>
                  <a:cubicBezTo>
                    <a:pt x="67253" y="7326"/>
                    <a:pt x="78497" y="27961"/>
                    <a:pt x="72813" y="47607"/>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F3473000-1560-4FD8-8DF6-E5D2192571C0}"/>
                </a:ext>
              </a:extLst>
            </p:cNvPr>
            <p:cNvSpPr/>
            <p:nvPr/>
          </p:nvSpPr>
          <p:spPr>
            <a:xfrm>
              <a:off x="8036658" y="2834695"/>
              <a:ext cx="37068" cy="37068"/>
            </a:xfrm>
            <a:custGeom>
              <a:avLst/>
              <a:gdLst>
                <a:gd name="connsiteX0" fmla="*/ 0 w 37068"/>
                <a:gd name="connsiteY0" fmla="*/ 39783 h 37068"/>
                <a:gd name="connsiteX1" fmla="*/ 35585 w 37068"/>
                <a:gd name="connsiteY1" fmla="*/ 120 h 37068"/>
                <a:gd name="connsiteX2" fmla="*/ 28048 w 37068"/>
                <a:gd name="connsiteY2" fmla="*/ 45961 h 37068"/>
                <a:gd name="connsiteX3" fmla="*/ 0 w 37068"/>
                <a:gd name="connsiteY3" fmla="*/ 39783 h 37068"/>
              </a:gdLst>
              <a:ahLst/>
              <a:cxnLst>
                <a:cxn ang="0">
                  <a:pos x="connsiteX0" y="connsiteY0"/>
                </a:cxn>
                <a:cxn ang="0">
                  <a:pos x="connsiteX1" y="connsiteY1"/>
                </a:cxn>
                <a:cxn ang="0">
                  <a:pos x="connsiteX2" y="connsiteY2"/>
                </a:cxn>
                <a:cxn ang="0">
                  <a:pos x="connsiteX3" y="connsiteY3"/>
                </a:cxn>
              </a:cxnLst>
              <a:rect l="l" t="t" r="r" b="b"/>
              <a:pathLst>
                <a:path w="37068" h="37068">
                  <a:moveTo>
                    <a:pt x="0" y="39783"/>
                  </a:moveTo>
                  <a:cubicBezTo>
                    <a:pt x="0" y="39783"/>
                    <a:pt x="18781" y="2962"/>
                    <a:pt x="35585" y="120"/>
                  </a:cubicBezTo>
                  <a:cubicBezTo>
                    <a:pt x="52389" y="-2722"/>
                    <a:pt x="28048" y="45961"/>
                    <a:pt x="28048" y="45961"/>
                  </a:cubicBezTo>
                  <a:lnTo>
                    <a:pt x="0" y="39783"/>
                  </a:lnTo>
                  <a:close/>
                </a:path>
              </a:pathLst>
            </a:custGeom>
            <a:solidFill>
              <a:srgbClr val="162836"/>
            </a:solidFill>
            <a:ln w="12353"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D04B9245-1C73-48F9-A296-8F25266429DC}"/>
                </a:ext>
              </a:extLst>
            </p:cNvPr>
            <p:cNvSpPr/>
            <p:nvPr/>
          </p:nvSpPr>
          <p:spPr>
            <a:xfrm>
              <a:off x="8252221" y="2874601"/>
              <a:ext cx="24712" cy="49424"/>
            </a:xfrm>
            <a:custGeom>
              <a:avLst/>
              <a:gdLst>
                <a:gd name="connsiteX0" fmla="*/ 3509 w 24712"/>
                <a:gd name="connsiteY0" fmla="*/ 59062 h 49424"/>
                <a:gd name="connsiteX1" fmla="*/ 791 w 24712"/>
                <a:gd name="connsiteY1" fmla="*/ 57703 h 49424"/>
                <a:gd name="connsiteX2" fmla="*/ 1285 w 24712"/>
                <a:gd name="connsiteY2" fmla="*/ 52760 h 49424"/>
                <a:gd name="connsiteX3" fmla="*/ 26492 w 24712"/>
                <a:gd name="connsiteY3" fmla="*/ 3583 h 49424"/>
                <a:gd name="connsiteX4" fmla="*/ 29828 w 24712"/>
                <a:gd name="connsiteY4" fmla="*/ 0 h 49424"/>
                <a:gd name="connsiteX5" fmla="*/ 29951 w 24712"/>
                <a:gd name="connsiteY5" fmla="*/ 0 h 49424"/>
                <a:gd name="connsiteX6" fmla="*/ 33411 w 24712"/>
                <a:gd name="connsiteY6" fmla="*/ 3336 h 49424"/>
                <a:gd name="connsiteX7" fmla="*/ 5610 w 24712"/>
                <a:gd name="connsiteY7" fmla="*/ 58321 h 49424"/>
                <a:gd name="connsiteX8" fmla="*/ 3509 w 24712"/>
                <a:gd name="connsiteY8" fmla="*/ 59062 h 49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12" h="49424">
                  <a:moveTo>
                    <a:pt x="3509" y="59062"/>
                  </a:moveTo>
                  <a:cubicBezTo>
                    <a:pt x="2521" y="59062"/>
                    <a:pt x="1533" y="58568"/>
                    <a:pt x="791" y="57703"/>
                  </a:cubicBezTo>
                  <a:cubicBezTo>
                    <a:pt x="-444" y="56220"/>
                    <a:pt x="-197" y="53996"/>
                    <a:pt x="1285" y="52760"/>
                  </a:cubicBezTo>
                  <a:cubicBezTo>
                    <a:pt x="27233" y="31755"/>
                    <a:pt x="26492" y="3830"/>
                    <a:pt x="26492" y="3583"/>
                  </a:cubicBezTo>
                  <a:cubicBezTo>
                    <a:pt x="26368" y="1606"/>
                    <a:pt x="27974" y="0"/>
                    <a:pt x="29828" y="0"/>
                  </a:cubicBezTo>
                  <a:lnTo>
                    <a:pt x="29951" y="0"/>
                  </a:lnTo>
                  <a:cubicBezTo>
                    <a:pt x="31805" y="0"/>
                    <a:pt x="33411" y="1483"/>
                    <a:pt x="33411" y="3336"/>
                  </a:cubicBezTo>
                  <a:cubicBezTo>
                    <a:pt x="33411" y="4572"/>
                    <a:pt x="34399" y="34968"/>
                    <a:pt x="5610" y="58321"/>
                  </a:cubicBezTo>
                  <a:cubicBezTo>
                    <a:pt x="4992" y="58815"/>
                    <a:pt x="4251" y="59062"/>
                    <a:pt x="3509" y="59062"/>
                  </a:cubicBezTo>
                </a:path>
              </a:pathLst>
            </a:custGeom>
            <a:solidFill>
              <a:srgbClr val="162836"/>
            </a:solidFill>
            <a:ln w="12353"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573C002C-4B32-4811-92A6-164BAE06BD6E}"/>
                </a:ext>
              </a:extLst>
            </p:cNvPr>
            <p:cNvSpPr/>
            <p:nvPr/>
          </p:nvSpPr>
          <p:spPr>
            <a:xfrm>
              <a:off x="8261881" y="2900796"/>
              <a:ext cx="49424" cy="24712"/>
            </a:xfrm>
            <a:custGeom>
              <a:avLst/>
              <a:gdLst>
                <a:gd name="connsiteX0" fmla="*/ 3610 w 49424"/>
                <a:gd name="connsiteY0" fmla="*/ 36080 h 24712"/>
                <a:gd name="connsiteX1" fmla="*/ 3116 w 49424"/>
                <a:gd name="connsiteY1" fmla="*/ 36080 h 24712"/>
                <a:gd name="connsiteX2" fmla="*/ 27 w 49424"/>
                <a:gd name="connsiteY2" fmla="*/ 32126 h 24712"/>
                <a:gd name="connsiteX3" fmla="*/ 45991 w 49424"/>
                <a:gd name="connsiteY3" fmla="*/ 0 h 24712"/>
                <a:gd name="connsiteX4" fmla="*/ 46362 w 49424"/>
                <a:gd name="connsiteY4" fmla="*/ 0 h 24712"/>
                <a:gd name="connsiteX5" fmla="*/ 49822 w 49424"/>
                <a:gd name="connsiteY5" fmla="*/ 3213 h 24712"/>
                <a:gd name="connsiteX6" fmla="*/ 46609 w 49424"/>
                <a:gd name="connsiteY6" fmla="*/ 7043 h 24712"/>
                <a:gd name="connsiteX7" fmla="*/ 6946 w 49424"/>
                <a:gd name="connsiteY7" fmla="*/ 33114 h 24712"/>
                <a:gd name="connsiteX8" fmla="*/ 3610 w 49424"/>
                <a:gd name="connsiteY8" fmla="*/ 36080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24" h="24712">
                  <a:moveTo>
                    <a:pt x="3610" y="36080"/>
                  </a:moveTo>
                  <a:cubicBezTo>
                    <a:pt x="3487" y="36080"/>
                    <a:pt x="3363" y="36080"/>
                    <a:pt x="3116" y="36080"/>
                  </a:cubicBezTo>
                  <a:cubicBezTo>
                    <a:pt x="1263" y="35832"/>
                    <a:pt x="-220" y="34103"/>
                    <a:pt x="27" y="32126"/>
                  </a:cubicBezTo>
                  <a:cubicBezTo>
                    <a:pt x="3363" y="4448"/>
                    <a:pt x="44138" y="123"/>
                    <a:pt x="45991" y="0"/>
                  </a:cubicBezTo>
                  <a:cubicBezTo>
                    <a:pt x="46115" y="0"/>
                    <a:pt x="46239" y="0"/>
                    <a:pt x="46362" y="0"/>
                  </a:cubicBezTo>
                  <a:cubicBezTo>
                    <a:pt x="48092" y="0"/>
                    <a:pt x="49698" y="1359"/>
                    <a:pt x="49822" y="3213"/>
                  </a:cubicBezTo>
                  <a:cubicBezTo>
                    <a:pt x="50069" y="5190"/>
                    <a:pt x="48587" y="6919"/>
                    <a:pt x="46609" y="7043"/>
                  </a:cubicBezTo>
                  <a:cubicBezTo>
                    <a:pt x="46239" y="7043"/>
                    <a:pt x="9665" y="10997"/>
                    <a:pt x="6946" y="33114"/>
                  </a:cubicBezTo>
                  <a:cubicBezTo>
                    <a:pt x="6946" y="34720"/>
                    <a:pt x="5464" y="36080"/>
                    <a:pt x="3610" y="36080"/>
                  </a:cubicBezTo>
                </a:path>
              </a:pathLst>
            </a:custGeom>
            <a:solidFill>
              <a:srgbClr val="162836"/>
            </a:solidFill>
            <a:ln w="12353"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BCEA60EE-2D76-4F2D-BF1E-AEB0EA5E71DA}"/>
                </a:ext>
              </a:extLst>
            </p:cNvPr>
            <p:cNvSpPr/>
            <p:nvPr/>
          </p:nvSpPr>
          <p:spPr>
            <a:xfrm>
              <a:off x="4583020" y="1612050"/>
              <a:ext cx="827855" cy="172985"/>
            </a:xfrm>
            <a:custGeom>
              <a:avLst/>
              <a:gdLst>
                <a:gd name="connsiteX0" fmla="*/ 0 w 827854"/>
                <a:gd name="connsiteY0" fmla="*/ 179420 h 172984"/>
                <a:gd name="connsiteX1" fmla="*/ 48189 w 827854"/>
                <a:gd name="connsiteY1" fmla="*/ 129255 h 172984"/>
                <a:gd name="connsiteX2" fmla="*/ 240078 w 827854"/>
                <a:gd name="connsiteY2" fmla="*/ 87738 h 172984"/>
                <a:gd name="connsiteX3" fmla="*/ 267632 w 827854"/>
                <a:gd name="connsiteY3" fmla="*/ 98241 h 172984"/>
                <a:gd name="connsiteX4" fmla="*/ 345228 w 827854"/>
                <a:gd name="connsiteY4" fmla="*/ 76000 h 172984"/>
                <a:gd name="connsiteX5" fmla="*/ 493747 w 827854"/>
                <a:gd name="connsiteY5" fmla="*/ 11 h 172984"/>
                <a:gd name="connsiteX6" fmla="*/ 659689 w 827854"/>
                <a:gd name="connsiteY6" fmla="*/ 133085 h 172984"/>
                <a:gd name="connsiteX7" fmla="*/ 837245 w 827854"/>
                <a:gd name="connsiteY7" fmla="*/ 175590 h 172984"/>
                <a:gd name="connsiteX8" fmla="*/ 0 w 827854"/>
                <a:gd name="connsiteY8" fmla="*/ 179420 h 17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7854" h="172984">
                  <a:moveTo>
                    <a:pt x="0" y="179420"/>
                  </a:moveTo>
                  <a:cubicBezTo>
                    <a:pt x="0" y="179420"/>
                    <a:pt x="29902" y="145071"/>
                    <a:pt x="48189" y="129255"/>
                  </a:cubicBezTo>
                  <a:cubicBezTo>
                    <a:pt x="81179" y="100836"/>
                    <a:pt x="119112" y="50670"/>
                    <a:pt x="240078" y="87738"/>
                  </a:cubicBezTo>
                  <a:cubicBezTo>
                    <a:pt x="249468" y="90580"/>
                    <a:pt x="258612" y="94411"/>
                    <a:pt x="267632" y="98241"/>
                  </a:cubicBezTo>
                  <a:cubicBezTo>
                    <a:pt x="278258" y="102813"/>
                    <a:pt x="311372" y="102936"/>
                    <a:pt x="345228" y="76000"/>
                  </a:cubicBezTo>
                  <a:cubicBezTo>
                    <a:pt x="399100" y="33248"/>
                    <a:pt x="420105" y="999"/>
                    <a:pt x="493747" y="11"/>
                  </a:cubicBezTo>
                  <a:cubicBezTo>
                    <a:pt x="579498" y="-1225"/>
                    <a:pt x="592967" y="105778"/>
                    <a:pt x="659689" y="133085"/>
                  </a:cubicBezTo>
                  <a:cubicBezTo>
                    <a:pt x="702070" y="150507"/>
                    <a:pt x="814016" y="167806"/>
                    <a:pt x="837245" y="175590"/>
                  </a:cubicBezTo>
                  <a:lnTo>
                    <a:pt x="0" y="179420"/>
                  </a:lnTo>
                  <a:close/>
                </a:path>
              </a:pathLst>
            </a:custGeom>
            <a:solidFill>
              <a:schemeClr val="bg1">
                <a:lumMod val="75000"/>
              </a:schemeClr>
            </a:solidFill>
            <a:ln w="12353"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3E16CD30-8B7E-4A78-A8C5-93F33C606F1A}"/>
                </a:ext>
              </a:extLst>
            </p:cNvPr>
            <p:cNvSpPr/>
            <p:nvPr/>
          </p:nvSpPr>
          <p:spPr>
            <a:xfrm>
              <a:off x="7327668" y="983864"/>
              <a:ext cx="1408589" cy="296545"/>
            </a:xfrm>
            <a:custGeom>
              <a:avLst/>
              <a:gdLst>
                <a:gd name="connsiteX0" fmla="*/ 0 w 1408588"/>
                <a:gd name="connsiteY0" fmla="*/ 302986 h 296544"/>
                <a:gd name="connsiteX1" fmla="*/ 81426 w 1408588"/>
                <a:gd name="connsiteY1" fmla="*/ 218347 h 296544"/>
                <a:gd name="connsiteX2" fmla="*/ 405402 w 1408588"/>
                <a:gd name="connsiteY2" fmla="*/ 148165 h 296544"/>
                <a:gd name="connsiteX3" fmla="*/ 451984 w 1408588"/>
                <a:gd name="connsiteY3" fmla="*/ 165958 h 296544"/>
                <a:gd name="connsiteX4" fmla="*/ 582958 w 1408588"/>
                <a:gd name="connsiteY4" fmla="*/ 128395 h 296544"/>
                <a:gd name="connsiteX5" fmla="*/ 833786 w 1408588"/>
                <a:gd name="connsiteY5" fmla="*/ 16 h 296544"/>
                <a:gd name="connsiteX6" fmla="*/ 1113897 w 1408588"/>
                <a:gd name="connsiteY6" fmla="*/ 224773 h 296544"/>
                <a:gd name="connsiteX7" fmla="*/ 1413531 w 1408588"/>
                <a:gd name="connsiteY7" fmla="*/ 296438 h 296544"/>
                <a:gd name="connsiteX8" fmla="*/ 0 w 1408588"/>
                <a:gd name="connsiteY8" fmla="*/ 302986 h 29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8588" h="296544">
                  <a:moveTo>
                    <a:pt x="0" y="302986"/>
                  </a:moveTo>
                  <a:cubicBezTo>
                    <a:pt x="0" y="302986"/>
                    <a:pt x="50536" y="244913"/>
                    <a:pt x="81426" y="218347"/>
                  </a:cubicBezTo>
                  <a:cubicBezTo>
                    <a:pt x="137152" y="170406"/>
                    <a:pt x="201033" y="85767"/>
                    <a:pt x="405402" y="148165"/>
                  </a:cubicBezTo>
                  <a:cubicBezTo>
                    <a:pt x="421341" y="152984"/>
                    <a:pt x="436662" y="159409"/>
                    <a:pt x="451984" y="165958"/>
                  </a:cubicBezTo>
                  <a:cubicBezTo>
                    <a:pt x="470024" y="173618"/>
                    <a:pt x="525873" y="173742"/>
                    <a:pt x="582958" y="128395"/>
                  </a:cubicBezTo>
                  <a:cubicBezTo>
                    <a:pt x="673899" y="56113"/>
                    <a:pt x="709360" y="1746"/>
                    <a:pt x="833786" y="16"/>
                  </a:cubicBezTo>
                  <a:cubicBezTo>
                    <a:pt x="978599" y="-1961"/>
                    <a:pt x="1001334" y="178561"/>
                    <a:pt x="1113897" y="224773"/>
                  </a:cubicBezTo>
                  <a:cubicBezTo>
                    <a:pt x="1185562" y="254180"/>
                    <a:pt x="1374486" y="283340"/>
                    <a:pt x="1413531" y="296438"/>
                  </a:cubicBezTo>
                  <a:lnTo>
                    <a:pt x="0" y="302986"/>
                  </a:lnTo>
                  <a:close/>
                </a:path>
              </a:pathLst>
            </a:custGeom>
            <a:solidFill>
              <a:schemeClr val="bg1">
                <a:lumMod val="85000"/>
              </a:schemeClr>
            </a:solidFill>
            <a:ln w="12353"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93C8CB18-445D-44D5-AE04-045F6CE82189}"/>
                </a:ext>
              </a:extLst>
            </p:cNvPr>
            <p:cNvSpPr/>
            <p:nvPr/>
          </p:nvSpPr>
          <p:spPr>
            <a:xfrm>
              <a:off x="5519858" y="1240268"/>
              <a:ext cx="1173824" cy="1593929"/>
            </a:xfrm>
            <a:custGeom>
              <a:avLst/>
              <a:gdLst>
                <a:gd name="connsiteX0" fmla="*/ 26069 w 1173823"/>
                <a:gd name="connsiteY0" fmla="*/ 1244253 h 1593929"/>
                <a:gd name="connsiteX1" fmla="*/ 619035 w 1173823"/>
                <a:gd name="connsiteY1" fmla="*/ 51278 h 1593929"/>
                <a:gd name="connsiteX2" fmla="*/ 726656 w 1173823"/>
                <a:gd name="connsiteY2" fmla="*/ 0 h 1593929"/>
                <a:gd name="connsiteX3" fmla="*/ 863932 w 1173823"/>
                <a:gd name="connsiteY3" fmla="*/ 364133 h 1593929"/>
                <a:gd name="connsiteX4" fmla="*/ 787201 w 1173823"/>
                <a:gd name="connsiteY4" fmla="*/ 388474 h 1593929"/>
                <a:gd name="connsiteX5" fmla="*/ 787201 w 1173823"/>
                <a:gd name="connsiteY5" fmla="*/ 388597 h 1593929"/>
                <a:gd name="connsiteX6" fmla="*/ 703550 w 1173823"/>
                <a:gd name="connsiteY6" fmla="*/ 401324 h 1593929"/>
                <a:gd name="connsiteX7" fmla="*/ 584191 w 1173823"/>
                <a:gd name="connsiteY7" fmla="*/ 665249 h 1593929"/>
                <a:gd name="connsiteX8" fmla="*/ 848116 w 1173823"/>
                <a:gd name="connsiteY8" fmla="*/ 784609 h 1593929"/>
                <a:gd name="connsiteX9" fmla="*/ 919287 w 1173823"/>
                <a:gd name="connsiteY9" fmla="*/ 739015 h 1593929"/>
                <a:gd name="connsiteX10" fmla="*/ 919287 w 1173823"/>
                <a:gd name="connsiteY10" fmla="*/ 739138 h 1593929"/>
                <a:gd name="connsiteX11" fmla="*/ 992929 w 1173823"/>
                <a:gd name="connsiteY11" fmla="*/ 706766 h 1593929"/>
                <a:gd name="connsiteX12" fmla="*/ 1184200 w 1173823"/>
                <a:gd name="connsiteY12" fmla="*/ 1214228 h 1593929"/>
                <a:gd name="connsiteX13" fmla="*/ 815249 w 1173823"/>
                <a:gd name="connsiteY13" fmla="*/ 1353234 h 1593929"/>
                <a:gd name="connsiteX14" fmla="*/ 774103 w 1173823"/>
                <a:gd name="connsiteY14" fmla="*/ 1267853 h 1593929"/>
                <a:gd name="connsiteX15" fmla="*/ 773980 w 1173823"/>
                <a:gd name="connsiteY15" fmla="*/ 1267853 h 1593929"/>
                <a:gd name="connsiteX16" fmla="*/ 761253 w 1173823"/>
                <a:gd name="connsiteY16" fmla="*/ 1184203 h 1593929"/>
                <a:gd name="connsiteX17" fmla="*/ 497328 w 1173823"/>
                <a:gd name="connsiteY17" fmla="*/ 1064844 h 1593929"/>
                <a:gd name="connsiteX18" fmla="*/ 377969 w 1173823"/>
                <a:gd name="connsiteY18" fmla="*/ 1328769 h 1593929"/>
                <a:gd name="connsiteX19" fmla="*/ 423562 w 1173823"/>
                <a:gd name="connsiteY19" fmla="*/ 1399939 h 1593929"/>
                <a:gd name="connsiteX20" fmla="*/ 423439 w 1173823"/>
                <a:gd name="connsiteY20" fmla="*/ 1399939 h 1593929"/>
                <a:gd name="connsiteX21" fmla="*/ 448892 w 1173823"/>
                <a:gd name="connsiteY21" fmla="*/ 1491251 h 1593929"/>
                <a:gd name="connsiteX22" fmla="*/ 161985 w 1173823"/>
                <a:gd name="connsiteY22" fmla="*/ 1599366 h 1593929"/>
                <a:gd name="connsiteX23" fmla="*/ 26069 w 1173823"/>
                <a:gd name="connsiteY23" fmla="*/ 1244253 h 1593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73823" h="1593929">
                  <a:moveTo>
                    <a:pt x="26069" y="1244253"/>
                  </a:moveTo>
                  <a:cubicBezTo>
                    <a:pt x="-85012" y="701329"/>
                    <a:pt x="167545" y="315079"/>
                    <a:pt x="619035" y="51278"/>
                  </a:cubicBezTo>
                  <a:cubicBezTo>
                    <a:pt x="653508" y="31137"/>
                    <a:pt x="689464" y="14086"/>
                    <a:pt x="726656" y="0"/>
                  </a:cubicBezTo>
                  <a:lnTo>
                    <a:pt x="863932" y="364133"/>
                  </a:lnTo>
                  <a:cubicBezTo>
                    <a:pt x="839590" y="396382"/>
                    <a:pt x="787201" y="388474"/>
                    <a:pt x="787201" y="388474"/>
                  </a:cubicBezTo>
                  <a:lnTo>
                    <a:pt x="787201" y="388597"/>
                  </a:lnTo>
                  <a:cubicBezTo>
                    <a:pt x="759523" y="386991"/>
                    <a:pt x="731228" y="390945"/>
                    <a:pt x="703550" y="401324"/>
                  </a:cubicBezTo>
                  <a:cubicBezTo>
                    <a:pt x="597659" y="441234"/>
                    <a:pt x="544281" y="559358"/>
                    <a:pt x="584191" y="665249"/>
                  </a:cubicBezTo>
                  <a:cubicBezTo>
                    <a:pt x="624101" y="771141"/>
                    <a:pt x="742225" y="824519"/>
                    <a:pt x="848116" y="784609"/>
                  </a:cubicBezTo>
                  <a:cubicBezTo>
                    <a:pt x="875670" y="774230"/>
                    <a:pt x="899641" y="758414"/>
                    <a:pt x="919287" y="739015"/>
                  </a:cubicBezTo>
                  <a:lnTo>
                    <a:pt x="919287" y="739138"/>
                  </a:lnTo>
                  <a:cubicBezTo>
                    <a:pt x="919287" y="739138"/>
                    <a:pt x="953389" y="698734"/>
                    <a:pt x="992929" y="706766"/>
                  </a:cubicBezTo>
                  <a:lnTo>
                    <a:pt x="1184200" y="1214228"/>
                  </a:lnTo>
                  <a:lnTo>
                    <a:pt x="815249" y="1353234"/>
                  </a:lnTo>
                  <a:cubicBezTo>
                    <a:pt x="763724" y="1336553"/>
                    <a:pt x="774103" y="1267853"/>
                    <a:pt x="774103" y="1267853"/>
                  </a:cubicBezTo>
                  <a:lnTo>
                    <a:pt x="773980" y="1267853"/>
                  </a:lnTo>
                  <a:cubicBezTo>
                    <a:pt x="775586" y="1240176"/>
                    <a:pt x="771632" y="1211881"/>
                    <a:pt x="761253" y="1184203"/>
                  </a:cubicBezTo>
                  <a:cubicBezTo>
                    <a:pt x="721343" y="1078312"/>
                    <a:pt x="603219" y="1024934"/>
                    <a:pt x="497328" y="1064844"/>
                  </a:cubicBezTo>
                  <a:cubicBezTo>
                    <a:pt x="391437" y="1104754"/>
                    <a:pt x="338059" y="1222877"/>
                    <a:pt x="377969" y="1328769"/>
                  </a:cubicBezTo>
                  <a:cubicBezTo>
                    <a:pt x="388348" y="1356323"/>
                    <a:pt x="404163" y="1380293"/>
                    <a:pt x="423562" y="1399939"/>
                  </a:cubicBezTo>
                  <a:lnTo>
                    <a:pt x="423439" y="1399939"/>
                  </a:lnTo>
                  <a:cubicBezTo>
                    <a:pt x="423439" y="1399939"/>
                    <a:pt x="476570" y="1444792"/>
                    <a:pt x="448892" y="1491251"/>
                  </a:cubicBezTo>
                  <a:lnTo>
                    <a:pt x="161985" y="1599366"/>
                  </a:lnTo>
                  <a:cubicBezTo>
                    <a:pt x="102800" y="1504224"/>
                    <a:pt x="55599" y="1388325"/>
                    <a:pt x="26069" y="1244253"/>
                  </a:cubicBezTo>
                </a:path>
              </a:pathLst>
            </a:custGeom>
            <a:solidFill>
              <a:schemeClr val="accent5"/>
            </a:solidFill>
            <a:ln w="12353"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6C3A0AEC-0563-42E0-9CB8-AFEFF967EC6E}"/>
                </a:ext>
              </a:extLst>
            </p:cNvPr>
            <p:cNvSpPr/>
            <p:nvPr/>
          </p:nvSpPr>
          <p:spPr>
            <a:xfrm>
              <a:off x="4589241" y="2301939"/>
              <a:ext cx="679582" cy="2644193"/>
            </a:xfrm>
            <a:custGeom>
              <a:avLst/>
              <a:gdLst>
                <a:gd name="connsiteX0" fmla="*/ 20468 w 679582"/>
                <a:gd name="connsiteY0" fmla="*/ 2656508 h 2644192"/>
                <a:gd name="connsiteX1" fmla="*/ 40361 w 679582"/>
                <a:gd name="connsiteY1" fmla="*/ 2642422 h 2644192"/>
                <a:gd name="connsiteX2" fmla="*/ 688930 w 679582"/>
                <a:gd name="connsiteY2" fmla="*/ 21583 h 2644192"/>
                <a:gd name="connsiteX3" fmla="*/ 673238 w 679582"/>
                <a:gd name="connsiteY3" fmla="*/ 454 h 2644192"/>
                <a:gd name="connsiteX4" fmla="*/ 648897 w 679582"/>
                <a:gd name="connsiteY4" fmla="*/ 14045 h 2644192"/>
                <a:gd name="connsiteX5" fmla="*/ 451 w 679582"/>
                <a:gd name="connsiteY5" fmla="*/ 2634885 h 2644192"/>
                <a:gd name="connsiteX6" fmla="*/ 16144 w 679582"/>
                <a:gd name="connsiteY6" fmla="*/ 2656014 h 2644192"/>
                <a:gd name="connsiteX7" fmla="*/ 20468 w 679582"/>
                <a:gd name="connsiteY7" fmla="*/ 2656508 h 264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582" h="2644192">
                  <a:moveTo>
                    <a:pt x="20468" y="2656508"/>
                  </a:moveTo>
                  <a:cubicBezTo>
                    <a:pt x="29859" y="2656508"/>
                    <a:pt x="38384" y="2650824"/>
                    <a:pt x="40361" y="2642422"/>
                  </a:cubicBezTo>
                  <a:lnTo>
                    <a:pt x="688930" y="21583"/>
                  </a:lnTo>
                  <a:cubicBezTo>
                    <a:pt x="691278" y="11945"/>
                    <a:pt x="684235" y="2554"/>
                    <a:pt x="673238" y="454"/>
                  </a:cubicBezTo>
                  <a:cubicBezTo>
                    <a:pt x="662241" y="-1770"/>
                    <a:pt x="651368" y="4408"/>
                    <a:pt x="648897" y="14045"/>
                  </a:cubicBezTo>
                  <a:lnTo>
                    <a:pt x="451" y="2634885"/>
                  </a:lnTo>
                  <a:cubicBezTo>
                    <a:pt x="-1896" y="2644523"/>
                    <a:pt x="5147" y="2653913"/>
                    <a:pt x="16144" y="2656014"/>
                  </a:cubicBezTo>
                  <a:cubicBezTo>
                    <a:pt x="17626" y="2656385"/>
                    <a:pt x="18985" y="2656508"/>
                    <a:pt x="20468" y="2656508"/>
                  </a:cubicBezTo>
                </a:path>
              </a:pathLst>
            </a:custGeom>
            <a:solidFill>
              <a:srgbClr val="860864"/>
            </a:solidFill>
            <a:ln w="12353"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D9347DE5-FAAC-4FAC-A9DC-45D348279E57}"/>
                </a:ext>
              </a:extLst>
            </p:cNvPr>
            <p:cNvSpPr/>
            <p:nvPr/>
          </p:nvSpPr>
          <p:spPr>
            <a:xfrm>
              <a:off x="5064449" y="2301939"/>
              <a:ext cx="679582" cy="2644193"/>
            </a:xfrm>
            <a:custGeom>
              <a:avLst/>
              <a:gdLst>
                <a:gd name="connsiteX0" fmla="*/ 20474 w 679582"/>
                <a:gd name="connsiteY0" fmla="*/ 2656508 h 2644192"/>
                <a:gd name="connsiteX1" fmla="*/ 40367 w 679582"/>
                <a:gd name="connsiteY1" fmla="*/ 2642422 h 2644192"/>
                <a:gd name="connsiteX2" fmla="*/ 691407 w 679582"/>
                <a:gd name="connsiteY2" fmla="*/ 21583 h 2644192"/>
                <a:gd name="connsiteX3" fmla="*/ 675715 w 679582"/>
                <a:gd name="connsiteY3" fmla="*/ 454 h 2644192"/>
                <a:gd name="connsiteX4" fmla="*/ 651373 w 679582"/>
                <a:gd name="connsiteY4" fmla="*/ 14045 h 2644192"/>
                <a:gd name="connsiteX5" fmla="*/ 457 w 679582"/>
                <a:gd name="connsiteY5" fmla="*/ 2634885 h 2644192"/>
                <a:gd name="connsiteX6" fmla="*/ 16149 w 679582"/>
                <a:gd name="connsiteY6" fmla="*/ 2656014 h 2644192"/>
                <a:gd name="connsiteX7" fmla="*/ 20474 w 679582"/>
                <a:gd name="connsiteY7" fmla="*/ 2656508 h 264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582" h="2644192">
                  <a:moveTo>
                    <a:pt x="20474" y="2656508"/>
                  </a:moveTo>
                  <a:cubicBezTo>
                    <a:pt x="29864" y="2656508"/>
                    <a:pt x="38390" y="2650824"/>
                    <a:pt x="40367" y="2642422"/>
                  </a:cubicBezTo>
                  <a:lnTo>
                    <a:pt x="691407" y="21583"/>
                  </a:lnTo>
                  <a:cubicBezTo>
                    <a:pt x="693754" y="11945"/>
                    <a:pt x="686835" y="2554"/>
                    <a:pt x="675715" y="454"/>
                  </a:cubicBezTo>
                  <a:cubicBezTo>
                    <a:pt x="664718" y="-1770"/>
                    <a:pt x="653844" y="4408"/>
                    <a:pt x="651373" y="14045"/>
                  </a:cubicBezTo>
                  <a:lnTo>
                    <a:pt x="457" y="2634885"/>
                  </a:lnTo>
                  <a:cubicBezTo>
                    <a:pt x="-1891" y="2644523"/>
                    <a:pt x="5029" y="2653913"/>
                    <a:pt x="16149" y="2656014"/>
                  </a:cubicBezTo>
                  <a:cubicBezTo>
                    <a:pt x="17508" y="2656385"/>
                    <a:pt x="18991" y="2656508"/>
                    <a:pt x="20474" y="2656508"/>
                  </a:cubicBezTo>
                </a:path>
              </a:pathLst>
            </a:custGeom>
            <a:solidFill>
              <a:srgbClr val="860864"/>
            </a:solidFill>
            <a:ln w="12353"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1008E628-D41B-4107-BB1B-38B6B8436325}"/>
                </a:ext>
              </a:extLst>
            </p:cNvPr>
            <p:cNvSpPr/>
            <p:nvPr/>
          </p:nvSpPr>
          <p:spPr>
            <a:xfrm>
              <a:off x="5203170" y="2442016"/>
              <a:ext cx="506598" cy="24712"/>
            </a:xfrm>
            <a:custGeom>
              <a:avLst/>
              <a:gdLst>
                <a:gd name="connsiteX0" fmla="*/ 20511 w 506597"/>
                <a:gd name="connsiteY0" fmla="*/ 35585 h 24712"/>
                <a:gd name="connsiteX1" fmla="*/ 497949 w 506597"/>
                <a:gd name="connsiteY1" fmla="*/ 35585 h 24712"/>
                <a:gd name="connsiteX2" fmla="*/ 518336 w 506597"/>
                <a:gd name="connsiteY2" fmla="*/ 17793 h 24712"/>
                <a:gd name="connsiteX3" fmla="*/ 497949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9" y="35585"/>
                  </a:lnTo>
                  <a:cubicBezTo>
                    <a:pt x="509192" y="35585"/>
                    <a:pt x="518336" y="27678"/>
                    <a:pt x="518336" y="17793"/>
                  </a:cubicBezTo>
                  <a:cubicBezTo>
                    <a:pt x="518336" y="8031"/>
                    <a:pt x="509192" y="0"/>
                    <a:pt x="497949" y="0"/>
                  </a:cubicBezTo>
                  <a:lnTo>
                    <a:pt x="20511" y="0"/>
                  </a:lnTo>
                  <a:cubicBezTo>
                    <a:pt x="9267" y="0"/>
                    <a:pt x="0" y="8031"/>
                    <a:pt x="0" y="17793"/>
                  </a:cubicBezTo>
                  <a:cubicBezTo>
                    <a:pt x="0" y="27554"/>
                    <a:pt x="9143" y="35585"/>
                    <a:pt x="20511" y="35585"/>
                  </a:cubicBezTo>
                </a:path>
              </a:pathLst>
            </a:custGeom>
            <a:solidFill>
              <a:srgbClr val="15636B"/>
            </a:solidFill>
            <a:ln w="12353"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644B0DFC-CB4D-466F-BA21-0132899C975E}"/>
                </a:ext>
              </a:extLst>
            </p:cNvPr>
            <p:cNvSpPr/>
            <p:nvPr/>
          </p:nvSpPr>
          <p:spPr>
            <a:xfrm>
              <a:off x="5151151" y="2651575"/>
              <a:ext cx="506598" cy="24712"/>
            </a:xfrm>
            <a:custGeom>
              <a:avLst/>
              <a:gdLst>
                <a:gd name="connsiteX0" fmla="*/ 20511 w 506597"/>
                <a:gd name="connsiteY0" fmla="*/ 35585 h 24712"/>
                <a:gd name="connsiteX1" fmla="*/ 497948 w 506597"/>
                <a:gd name="connsiteY1" fmla="*/ 35585 h 24712"/>
                <a:gd name="connsiteX2" fmla="*/ 518336 w 506597"/>
                <a:gd name="connsiteY2" fmla="*/ 17793 h 24712"/>
                <a:gd name="connsiteX3" fmla="*/ 497948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8" y="35585"/>
                  </a:lnTo>
                  <a:cubicBezTo>
                    <a:pt x="509192" y="35585"/>
                    <a:pt x="518336" y="27678"/>
                    <a:pt x="518336" y="17793"/>
                  </a:cubicBezTo>
                  <a:cubicBezTo>
                    <a:pt x="518336" y="8031"/>
                    <a:pt x="509192" y="0"/>
                    <a:pt x="497948" y="0"/>
                  </a:cubicBezTo>
                  <a:lnTo>
                    <a:pt x="20511" y="0"/>
                  </a:lnTo>
                  <a:cubicBezTo>
                    <a:pt x="9267" y="0"/>
                    <a:pt x="0" y="8031"/>
                    <a:pt x="0" y="17793"/>
                  </a:cubicBezTo>
                  <a:cubicBezTo>
                    <a:pt x="0" y="27554"/>
                    <a:pt x="9143" y="35585"/>
                    <a:pt x="20511" y="35585"/>
                  </a:cubicBezTo>
                </a:path>
              </a:pathLst>
            </a:custGeom>
            <a:solidFill>
              <a:srgbClr val="15636B"/>
            </a:solidFill>
            <a:ln w="12353"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DD6F015-A112-4EE8-AEE1-2B0026ABF390}"/>
                </a:ext>
              </a:extLst>
            </p:cNvPr>
            <p:cNvSpPr/>
            <p:nvPr/>
          </p:nvSpPr>
          <p:spPr>
            <a:xfrm>
              <a:off x="5099132" y="2861133"/>
              <a:ext cx="506598" cy="24712"/>
            </a:xfrm>
            <a:custGeom>
              <a:avLst/>
              <a:gdLst>
                <a:gd name="connsiteX0" fmla="*/ 20511 w 506597"/>
                <a:gd name="connsiteY0" fmla="*/ 35585 h 24712"/>
                <a:gd name="connsiteX1" fmla="*/ 497948 w 506597"/>
                <a:gd name="connsiteY1" fmla="*/ 35585 h 24712"/>
                <a:gd name="connsiteX2" fmla="*/ 518336 w 506597"/>
                <a:gd name="connsiteY2" fmla="*/ 17793 h 24712"/>
                <a:gd name="connsiteX3" fmla="*/ 497948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8" y="35585"/>
                  </a:lnTo>
                  <a:cubicBezTo>
                    <a:pt x="509192" y="35585"/>
                    <a:pt x="518336" y="27678"/>
                    <a:pt x="518336" y="17793"/>
                  </a:cubicBezTo>
                  <a:cubicBezTo>
                    <a:pt x="518336" y="8032"/>
                    <a:pt x="509192" y="0"/>
                    <a:pt x="497948" y="0"/>
                  </a:cubicBezTo>
                  <a:lnTo>
                    <a:pt x="20511" y="0"/>
                  </a:lnTo>
                  <a:cubicBezTo>
                    <a:pt x="9267" y="0"/>
                    <a:pt x="0" y="8032"/>
                    <a:pt x="0" y="17793"/>
                  </a:cubicBezTo>
                  <a:cubicBezTo>
                    <a:pt x="0" y="27554"/>
                    <a:pt x="9143" y="35585"/>
                    <a:pt x="20511" y="35585"/>
                  </a:cubicBezTo>
                </a:path>
              </a:pathLst>
            </a:custGeom>
            <a:solidFill>
              <a:srgbClr val="15636B"/>
            </a:solidFill>
            <a:ln w="12353"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240645F1-0769-4BDC-B7AF-B18E238B98FE}"/>
                </a:ext>
              </a:extLst>
            </p:cNvPr>
            <p:cNvSpPr/>
            <p:nvPr/>
          </p:nvSpPr>
          <p:spPr>
            <a:xfrm>
              <a:off x="5047113" y="3070692"/>
              <a:ext cx="506598" cy="24712"/>
            </a:xfrm>
            <a:custGeom>
              <a:avLst/>
              <a:gdLst>
                <a:gd name="connsiteX0" fmla="*/ 20511 w 506597"/>
                <a:gd name="connsiteY0" fmla="*/ 35585 h 24712"/>
                <a:gd name="connsiteX1" fmla="*/ 497948 w 506597"/>
                <a:gd name="connsiteY1" fmla="*/ 35585 h 24712"/>
                <a:gd name="connsiteX2" fmla="*/ 518336 w 506597"/>
                <a:gd name="connsiteY2" fmla="*/ 17793 h 24712"/>
                <a:gd name="connsiteX3" fmla="*/ 497948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8" y="35585"/>
                  </a:lnTo>
                  <a:cubicBezTo>
                    <a:pt x="509193" y="35585"/>
                    <a:pt x="518336" y="27678"/>
                    <a:pt x="518336" y="17793"/>
                  </a:cubicBezTo>
                  <a:cubicBezTo>
                    <a:pt x="518336" y="8031"/>
                    <a:pt x="509193" y="0"/>
                    <a:pt x="497948" y="0"/>
                  </a:cubicBezTo>
                  <a:lnTo>
                    <a:pt x="20511" y="0"/>
                  </a:lnTo>
                  <a:cubicBezTo>
                    <a:pt x="9267" y="0"/>
                    <a:pt x="0" y="8031"/>
                    <a:pt x="0" y="17793"/>
                  </a:cubicBezTo>
                  <a:cubicBezTo>
                    <a:pt x="0" y="27678"/>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6A5153FE-B982-4FBE-A523-6C944683C1F3}"/>
                </a:ext>
              </a:extLst>
            </p:cNvPr>
            <p:cNvSpPr/>
            <p:nvPr/>
          </p:nvSpPr>
          <p:spPr>
            <a:xfrm>
              <a:off x="4995094" y="3280374"/>
              <a:ext cx="506598" cy="24712"/>
            </a:xfrm>
            <a:custGeom>
              <a:avLst/>
              <a:gdLst>
                <a:gd name="connsiteX0" fmla="*/ 20511 w 506597"/>
                <a:gd name="connsiteY0" fmla="*/ 35585 h 24712"/>
                <a:gd name="connsiteX1" fmla="*/ 497948 w 506597"/>
                <a:gd name="connsiteY1" fmla="*/ 35585 h 24712"/>
                <a:gd name="connsiteX2" fmla="*/ 518336 w 506597"/>
                <a:gd name="connsiteY2" fmla="*/ 17793 h 24712"/>
                <a:gd name="connsiteX3" fmla="*/ 497948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8" y="35585"/>
                  </a:lnTo>
                  <a:cubicBezTo>
                    <a:pt x="509193" y="35585"/>
                    <a:pt x="518336" y="27554"/>
                    <a:pt x="518336" y="17793"/>
                  </a:cubicBezTo>
                  <a:cubicBezTo>
                    <a:pt x="518336" y="8031"/>
                    <a:pt x="509193" y="0"/>
                    <a:pt x="497948" y="0"/>
                  </a:cubicBezTo>
                  <a:lnTo>
                    <a:pt x="20511" y="0"/>
                  </a:lnTo>
                  <a:cubicBezTo>
                    <a:pt x="9267" y="0"/>
                    <a:pt x="0" y="8031"/>
                    <a:pt x="0" y="17793"/>
                  </a:cubicBezTo>
                  <a:cubicBezTo>
                    <a:pt x="0" y="27554"/>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430232EF-8928-432B-974B-13A96127F9A3}"/>
                </a:ext>
              </a:extLst>
            </p:cNvPr>
            <p:cNvSpPr/>
            <p:nvPr/>
          </p:nvSpPr>
          <p:spPr>
            <a:xfrm>
              <a:off x="4943075" y="3489932"/>
              <a:ext cx="506598" cy="24712"/>
            </a:xfrm>
            <a:custGeom>
              <a:avLst/>
              <a:gdLst>
                <a:gd name="connsiteX0" fmla="*/ 20511 w 506597"/>
                <a:gd name="connsiteY0" fmla="*/ 35585 h 24712"/>
                <a:gd name="connsiteX1" fmla="*/ 497948 w 506597"/>
                <a:gd name="connsiteY1" fmla="*/ 35585 h 24712"/>
                <a:gd name="connsiteX2" fmla="*/ 518336 w 506597"/>
                <a:gd name="connsiteY2" fmla="*/ 17793 h 24712"/>
                <a:gd name="connsiteX3" fmla="*/ 497948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8" y="35585"/>
                  </a:lnTo>
                  <a:cubicBezTo>
                    <a:pt x="509193" y="35585"/>
                    <a:pt x="518336" y="27554"/>
                    <a:pt x="518336" y="17793"/>
                  </a:cubicBezTo>
                  <a:cubicBezTo>
                    <a:pt x="518336" y="8031"/>
                    <a:pt x="509193" y="0"/>
                    <a:pt x="497948" y="0"/>
                  </a:cubicBezTo>
                  <a:lnTo>
                    <a:pt x="20511" y="0"/>
                  </a:lnTo>
                  <a:cubicBezTo>
                    <a:pt x="9267" y="0"/>
                    <a:pt x="0" y="8031"/>
                    <a:pt x="0" y="17793"/>
                  </a:cubicBezTo>
                  <a:cubicBezTo>
                    <a:pt x="0" y="27554"/>
                    <a:pt x="9143" y="35585"/>
                    <a:pt x="20511" y="35585"/>
                  </a:cubicBezTo>
                </a:path>
              </a:pathLst>
            </a:custGeom>
            <a:solidFill>
              <a:srgbClr val="15636B"/>
            </a:solidFill>
            <a:ln w="12353"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1EC5B97D-9D7C-4360-9F51-E2865E2E57F7}"/>
                </a:ext>
              </a:extLst>
            </p:cNvPr>
            <p:cNvSpPr/>
            <p:nvPr/>
          </p:nvSpPr>
          <p:spPr>
            <a:xfrm>
              <a:off x="4891057" y="3699491"/>
              <a:ext cx="506598" cy="24712"/>
            </a:xfrm>
            <a:custGeom>
              <a:avLst/>
              <a:gdLst>
                <a:gd name="connsiteX0" fmla="*/ 20511 w 506597"/>
                <a:gd name="connsiteY0" fmla="*/ 35585 h 24712"/>
                <a:gd name="connsiteX1" fmla="*/ 498072 w 506597"/>
                <a:gd name="connsiteY1" fmla="*/ 35585 h 24712"/>
                <a:gd name="connsiteX2" fmla="*/ 518459 w 506597"/>
                <a:gd name="connsiteY2" fmla="*/ 17793 h 24712"/>
                <a:gd name="connsiteX3" fmla="*/ 498072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8072" y="35585"/>
                  </a:lnTo>
                  <a:cubicBezTo>
                    <a:pt x="509316" y="35585"/>
                    <a:pt x="518459" y="27554"/>
                    <a:pt x="518459" y="17793"/>
                  </a:cubicBezTo>
                  <a:cubicBezTo>
                    <a:pt x="518459" y="8031"/>
                    <a:pt x="509316" y="0"/>
                    <a:pt x="498072" y="0"/>
                  </a:cubicBezTo>
                  <a:lnTo>
                    <a:pt x="20511" y="0"/>
                  </a:lnTo>
                  <a:cubicBezTo>
                    <a:pt x="9267" y="0"/>
                    <a:pt x="0" y="8031"/>
                    <a:pt x="0" y="17793"/>
                  </a:cubicBezTo>
                  <a:cubicBezTo>
                    <a:pt x="124" y="27678"/>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D26692D7-84CC-4292-A34F-2CC2B55BDB1B}"/>
                </a:ext>
              </a:extLst>
            </p:cNvPr>
            <p:cNvSpPr/>
            <p:nvPr/>
          </p:nvSpPr>
          <p:spPr>
            <a:xfrm>
              <a:off x="4839038" y="3909049"/>
              <a:ext cx="506598" cy="24712"/>
            </a:xfrm>
            <a:custGeom>
              <a:avLst/>
              <a:gdLst>
                <a:gd name="connsiteX0" fmla="*/ 20511 w 506597"/>
                <a:gd name="connsiteY0" fmla="*/ 35585 h 24712"/>
                <a:gd name="connsiteX1" fmla="*/ 497949 w 506597"/>
                <a:gd name="connsiteY1" fmla="*/ 35585 h 24712"/>
                <a:gd name="connsiteX2" fmla="*/ 518460 w 506597"/>
                <a:gd name="connsiteY2" fmla="*/ 17793 h 24712"/>
                <a:gd name="connsiteX3" fmla="*/ 497949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9" y="35585"/>
                  </a:lnTo>
                  <a:cubicBezTo>
                    <a:pt x="509192" y="35585"/>
                    <a:pt x="518460" y="27677"/>
                    <a:pt x="518460" y="17793"/>
                  </a:cubicBezTo>
                  <a:cubicBezTo>
                    <a:pt x="518460" y="8031"/>
                    <a:pt x="509316" y="0"/>
                    <a:pt x="497949" y="0"/>
                  </a:cubicBezTo>
                  <a:lnTo>
                    <a:pt x="20511" y="0"/>
                  </a:lnTo>
                  <a:cubicBezTo>
                    <a:pt x="9267" y="0"/>
                    <a:pt x="0" y="8031"/>
                    <a:pt x="0" y="17793"/>
                  </a:cubicBezTo>
                  <a:cubicBezTo>
                    <a:pt x="0" y="27677"/>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1226E3AC-EFE5-4F08-88AE-2B2B98C277D9}"/>
                </a:ext>
              </a:extLst>
            </p:cNvPr>
            <p:cNvSpPr/>
            <p:nvPr/>
          </p:nvSpPr>
          <p:spPr>
            <a:xfrm>
              <a:off x="4787019" y="4118607"/>
              <a:ext cx="506598" cy="24712"/>
            </a:xfrm>
            <a:custGeom>
              <a:avLst/>
              <a:gdLst>
                <a:gd name="connsiteX0" fmla="*/ 20511 w 506597"/>
                <a:gd name="connsiteY0" fmla="*/ 35585 h 24712"/>
                <a:gd name="connsiteX1" fmla="*/ 497949 w 506597"/>
                <a:gd name="connsiteY1" fmla="*/ 35585 h 24712"/>
                <a:gd name="connsiteX2" fmla="*/ 518336 w 506597"/>
                <a:gd name="connsiteY2" fmla="*/ 17793 h 24712"/>
                <a:gd name="connsiteX3" fmla="*/ 497949 w 506597"/>
                <a:gd name="connsiteY3" fmla="*/ 0 h 24712"/>
                <a:gd name="connsiteX4" fmla="*/ 20511 w 506597"/>
                <a:gd name="connsiteY4" fmla="*/ 0 h 24712"/>
                <a:gd name="connsiteX5" fmla="*/ 0 w 506597"/>
                <a:gd name="connsiteY5" fmla="*/ 17793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9" y="35585"/>
                  </a:lnTo>
                  <a:cubicBezTo>
                    <a:pt x="509192" y="35585"/>
                    <a:pt x="518336" y="27678"/>
                    <a:pt x="518336" y="17793"/>
                  </a:cubicBezTo>
                  <a:cubicBezTo>
                    <a:pt x="518336" y="8032"/>
                    <a:pt x="509192" y="0"/>
                    <a:pt x="497949" y="0"/>
                  </a:cubicBezTo>
                  <a:lnTo>
                    <a:pt x="20511" y="0"/>
                  </a:lnTo>
                  <a:cubicBezTo>
                    <a:pt x="9267" y="0"/>
                    <a:pt x="0" y="8032"/>
                    <a:pt x="0" y="17793"/>
                  </a:cubicBezTo>
                  <a:cubicBezTo>
                    <a:pt x="124" y="27678"/>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E77F1990-35A0-47CC-B657-5CF55D566513}"/>
                </a:ext>
              </a:extLst>
            </p:cNvPr>
            <p:cNvSpPr/>
            <p:nvPr/>
          </p:nvSpPr>
          <p:spPr>
            <a:xfrm>
              <a:off x="4735000" y="4328290"/>
              <a:ext cx="506598" cy="24712"/>
            </a:xfrm>
            <a:custGeom>
              <a:avLst/>
              <a:gdLst>
                <a:gd name="connsiteX0" fmla="*/ 20511 w 506597"/>
                <a:gd name="connsiteY0" fmla="*/ 35585 h 24712"/>
                <a:gd name="connsiteX1" fmla="*/ 497949 w 506597"/>
                <a:gd name="connsiteY1" fmla="*/ 35585 h 24712"/>
                <a:gd name="connsiteX2" fmla="*/ 518336 w 506597"/>
                <a:gd name="connsiteY2" fmla="*/ 17792 h 24712"/>
                <a:gd name="connsiteX3" fmla="*/ 497949 w 506597"/>
                <a:gd name="connsiteY3" fmla="*/ 0 h 24712"/>
                <a:gd name="connsiteX4" fmla="*/ 20511 w 506597"/>
                <a:gd name="connsiteY4" fmla="*/ 0 h 24712"/>
                <a:gd name="connsiteX5" fmla="*/ 0 w 506597"/>
                <a:gd name="connsiteY5" fmla="*/ 17792 h 24712"/>
                <a:gd name="connsiteX6" fmla="*/ 20511 w 506597"/>
                <a:gd name="connsiteY6" fmla="*/ 35585 h 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597" h="24712">
                  <a:moveTo>
                    <a:pt x="20511" y="35585"/>
                  </a:moveTo>
                  <a:lnTo>
                    <a:pt x="497949" y="35585"/>
                  </a:lnTo>
                  <a:cubicBezTo>
                    <a:pt x="509192" y="35585"/>
                    <a:pt x="518336" y="27677"/>
                    <a:pt x="518336" y="17792"/>
                  </a:cubicBezTo>
                  <a:cubicBezTo>
                    <a:pt x="518336" y="8031"/>
                    <a:pt x="509192" y="0"/>
                    <a:pt x="497949" y="0"/>
                  </a:cubicBezTo>
                  <a:lnTo>
                    <a:pt x="20511" y="0"/>
                  </a:lnTo>
                  <a:cubicBezTo>
                    <a:pt x="9267" y="0"/>
                    <a:pt x="0" y="8031"/>
                    <a:pt x="0" y="17792"/>
                  </a:cubicBezTo>
                  <a:cubicBezTo>
                    <a:pt x="124" y="27554"/>
                    <a:pt x="9267" y="35585"/>
                    <a:pt x="20511" y="35585"/>
                  </a:cubicBezTo>
                </a:path>
              </a:pathLst>
            </a:custGeom>
            <a:solidFill>
              <a:srgbClr val="15636B"/>
            </a:solidFill>
            <a:ln w="12353"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8CF859C5-84B8-4BDF-9BF6-FC0C32AD7DA2}"/>
                </a:ext>
              </a:extLst>
            </p:cNvPr>
            <p:cNvSpPr/>
            <p:nvPr/>
          </p:nvSpPr>
          <p:spPr>
            <a:xfrm>
              <a:off x="5070590" y="2437939"/>
              <a:ext cx="111204" cy="222409"/>
            </a:xfrm>
            <a:custGeom>
              <a:avLst/>
              <a:gdLst>
                <a:gd name="connsiteX0" fmla="*/ 0 w 111204"/>
                <a:gd name="connsiteY0" fmla="*/ 219073 h 222408"/>
                <a:gd name="connsiteX1" fmla="*/ 108610 w 111204"/>
                <a:gd name="connsiteY1" fmla="*/ 223274 h 222408"/>
                <a:gd name="connsiteX2" fmla="*/ 119730 w 111204"/>
                <a:gd name="connsiteY2" fmla="*/ 4325 h 222408"/>
                <a:gd name="connsiteX3" fmla="*/ 11120 w 111204"/>
                <a:gd name="connsiteY3" fmla="*/ 0 h 222408"/>
              </a:gdLst>
              <a:ahLst/>
              <a:cxnLst>
                <a:cxn ang="0">
                  <a:pos x="connsiteX0" y="connsiteY0"/>
                </a:cxn>
                <a:cxn ang="0">
                  <a:pos x="connsiteX1" y="connsiteY1"/>
                </a:cxn>
                <a:cxn ang="0">
                  <a:pos x="connsiteX2" y="connsiteY2"/>
                </a:cxn>
                <a:cxn ang="0">
                  <a:pos x="connsiteX3" y="connsiteY3"/>
                </a:cxn>
              </a:cxnLst>
              <a:rect l="l" t="t" r="r" b="b"/>
              <a:pathLst>
                <a:path w="111204" h="222408">
                  <a:moveTo>
                    <a:pt x="0" y="219073"/>
                  </a:moveTo>
                  <a:lnTo>
                    <a:pt x="108610" y="223274"/>
                  </a:lnTo>
                  <a:lnTo>
                    <a:pt x="119730" y="4325"/>
                  </a:lnTo>
                  <a:lnTo>
                    <a:pt x="11120" y="0"/>
                  </a:lnTo>
                  <a:close/>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298C5F69-1875-49D5-AB79-3E58629DB0F5}"/>
                </a:ext>
              </a:extLst>
            </p:cNvPr>
            <p:cNvSpPr/>
            <p:nvPr/>
          </p:nvSpPr>
          <p:spPr>
            <a:xfrm>
              <a:off x="5088910" y="2486622"/>
              <a:ext cx="86492" cy="135916"/>
            </a:xfrm>
            <a:custGeom>
              <a:avLst/>
              <a:gdLst>
                <a:gd name="connsiteX0" fmla="*/ 90 w 86492"/>
                <a:gd name="connsiteY0" fmla="*/ 0 h 135916"/>
                <a:gd name="connsiteX1" fmla="*/ 92019 w 86492"/>
                <a:gd name="connsiteY1" fmla="*/ 139253 h 135916"/>
                <a:gd name="connsiteX2" fmla="*/ 95850 w 86492"/>
                <a:gd name="connsiteY2" fmla="*/ 81797 h 135916"/>
                <a:gd name="connsiteX3" fmla="*/ 90 w 86492"/>
                <a:gd name="connsiteY3" fmla="*/ 0 h 135916"/>
              </a:gdLst>
              <a:ahLst/>
              <a:cxnLst>
                <a:cxn ang="0">
                  <a:pos x="connsiteX0" y="connsiteY0"/>
                </a:cxn>
                <a:cxn ang="0">
                  <a:pos x="connsiteX1" y="connsiteY1"/>
                </a:cxn>
                <a:cxn ang="0">
                  <a:pos x="connsiteX2" y="connsiteY2"/>
                </a:cxn>
                <a:cxn ang="0">
                  <a:pos x="connsiteX3" y="connsiteY3"/>
                </a:cxn>
              </a:cxnLst>
              <a:rect l="l" t="t" r="r" b="b"/>
              <a:pathLst>
                <a:path w="86492" h="135916">
                  <a:moveTo>
                    <a:pt x="90" y="0"/>
                  </a:moveTo>
                  <a:cubicBezTo>
                    <a:pt x="90" y="0"/>
                    <a:pt x="-6458" y="120842"/>
                    <a:pt x="92019" y="139253"/>
                  </a:cubicBezTo>
                  <a:lnTo>
                    <a:pt x="95850" y="81797"/>
                  </a:lnTo>
                  <a:lnTo>
                    <a:pt x="90" y="0"/>
                  </a:lnTo>
                  <a:close/>
                </a:path>
              </a:pathLst>
            </a:custGeom>
            <a:solidFill>
              <a:schemeClr val="accent4">
                <a:lumMod val="40000"/>
                <a:lumOff val="60000"/>
              </a:schemeClr>
            </a:solidFill>
            <a:ln w="12353"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44407586-137A-473E-96FA-333C33EB2F86}"/>
                </a:ext>
              </a:extLst>
            </p:cNvPr>
            <p:cNvSpPr/>
            <p:nvPr/>
          </p:nvSpPr>
          <p:spPr>
            <a:xfrm>
              <a:off x="5024547" y="2330194"/>
              <a:ext cx="61780" cy="111204"/>
            </a:xfrm>
            <a:custGeom>
              <a:avLst/>
              <a:gdLst>
                <a:gd name="connsiteX0" fmla="*/ 71249 w 61780"/>
                <a:gd name="connsiteY0" fmla="*/ 0 h 111204"/>
                <a:gd name="connsiteX1" fmla="*/ 49874 w 61780"/>
                <a:gd name="connsiteY1" fmla="*/ 122819 h 111204"/>
                <a:gd name="connsiteX2" fmla="*/ 71249 w 61780"/>
                <a:gd name="connsiteY2" fmla="*/ 0 h 111204"/>
              </a:gdLst>
              <a:ahLst/>
              <a:cxnLst>
                <a:cxn ang="0">
                  <a:pos x="connsiteX0" y="connsiteY0"/>
                </a:cxn>
                <a:cxn ang="0">
                  <a:pos x="connsiteX1" y="connsiteY1"/>
                </a:cxn>
                <a:cxn ang="0">
                  <a:pos x="connsiteX2" y="connsiteY2"/>
                </a:cxn>
              </a:cxnLst>
              <a:rect l="l" t="t" r="r" b="b"/>
              <a:pathLst>
                <a:path w="61780" h="111204">
                  <a:moveTo>
                    <a:pt x="71249" y="0"/>
                  </a:moveTo>
                  <a:cubicBezTo>
                    <a:pt x="71249" y="0"/>
                    <a:pt x="-73687" y="19399"/>
                    <a:pt x="49874" y="122819"/>
                  </a:cubicBezTo>
                  <a:lnTo>
                    <a:pt x="71249" y="0"/>
                  </a:lnTo>
                  <a:close/>
                </a:path>
              </a:pathLst>
            </a:custGeom>
            <a:solidFill>
              <a:srgbClr val="4701A7"/>
            </a:solidFill>
            <a:ln w="12353"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AB46E9A9-0C04-48C8-8CCD-355E29BB6A3B}"/>
                </a:ext>
              </a:extLst>
            </p:cNvPr>
            <p:cNvSpPr/>
            <p:nvPr/>
          </p:nvSpPr>
          <p:spPr>
            <a:xfrm>
              <a:off x="5088322" y="2314378"/>
              <a:ext cx="247121" cy="284189"/>
            </a:xfrm>
            <a:custGeom>
              <a:avLst/>
              <a:gdLst>
                <a:gd name="connsiteX0" fmla="*/ 117690 w 247120"/>
                <a:gd name="connsiteY0" fmla="*/ 285054 h 284188"/>
                <a:gd name="connsiteX1" fmla="*/ 117690 w 247120"/>
                <a:gd name="connsiteY1" fmla="*/ 285054 h 284188"/>
                <a:gd name="connsiteX2" fmla="*/ 248417 w 247120"/>
                <a:gd name="connsiteY2" fmla="*/ 167424 h 284188"/>
                <a:gd name="connsiteX3" fmla="*/ 256572 w 247120"/>
                <a:gd name="connsiteY3" fmla="*/ 13097 h 284188"/>
                <a:gd name="connsiteX4" fmla="*/ 8339 w 247120"/>
                <a:gd name="connsiteY4" fmla="*/ 0 h 284188"/>
                <a:gd name="connsiteX5" fmla="*/ 184 w 247120"/>
                <a:gd name="connsiteY5" fmla="*/ 154327 h 284188"/>
                <a:gd name="connsiteX6" fmla="*/ 117690 w 247120"/>
                <a:gd name="connsiteY6" fmla="*/ 285054 h 28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120" h="284188">
                  <a:moveTo>
                    <a:pt x="117690" y="285054"/>
                  </a:moveTo>
                  <a:lnTo>
                    <a:pt x="117690" y="285054"/>
                  </a:lnTo>
                  <a:cubicBezTo>
                    <a:pt x="186266" y="288637"/>
                    <a:pt x="244710" y="236000"/>
                    <a:pt x="248417" y="167424"/>
                  </a:cubicBezTo>
                  <a:lnTo>
                    <a:pt x="256572" y="13097"/>
                  </a:lnTo>
                  <a:lnTo>
                    <a:pt x="8339" y="0"/>
                  </a:lnTo>
                  <a:lnTo>
                    <a:pt x="184" y="154327"/>
                  </a:lnTo>
                  <a:cubicBezTo>
                    <a:pt x="-3522" y="222903"/>
                    <a:pt x="49114" y="281471"/>
                    <a:pt x="117690" y="285054"/>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F0B59018-3D9D-4483-B704-73B2909A523D}"/>
                </a:ext>
              </a:extLst>
            </p:cNvPr>
            <p:cNvSpPr/>
            <p:nvPr/>
          </p:nvSpPr>
          <p:spPr>
            <a:xfrm>
              <a:off x="5228464" y="2302247"/>
              <a:ext cx="135916" cy="98848"/>
            </a:xfrm>
            <a:custGeom>
              <a:avLst/>
              <a:gdLst>
                <a:gd name="connsiteX0" fmla="*/ 86158 w 135916"/>
                <a:gd name="connsiteY0" fmla="*/ 41415 h 98848"/>
                <a:gd name="connsiteX1" fmla="*/ 112106 w 135916"/>
                <a:gd name="connsiteY1" fmla="*/ 107026 h 98848"/>
                <a:gd name="connsiteX2" fmla="*/ 132493 w 135916"/>
                <a:gd name="connsiteY2" fmla="*/ 12749 h 98848"/>
                <a:gd name="connsiteX3" fmla="*/ 101356 w 135916"/>
                <a:gd name="connsiteY3" fmla="*/ 23 h 98848"/>
                <a:gd name="connsiteX4" fmla="*/ 15605 w 135916"/>
                <a:gd name="connsiteY4" fmla="*/ 33507 h 98848"/>
                <a:gd name="connsiteX5" fmla="*/ 86158 w 135916"/>
                <a:gd name="connsiteY5" fmla="*/ 41415 h 9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916" h="98848">
                  <a:moveTo>
                    <a:pt x="86158" y="41415"/>
                  </a:moveTo>
                  <a:cubicBezTo>
                    <a:pt x="86158" y="41415"/>
                    <a:pt x="114701" y="59455"/>
                    <a:pt x="112106" y="107026"/>
                  </a:cubicBezTo>
                  <a:cubicBezTo>
                    <a:pt x="112106" y="107026"/>
                    <a:pt x="162766" y="47840"/>
                    <a:pt x="132493" y="12749"/>
                  </a:cubicBezTo>
                  <a:cubicBezTo>
                    <a:pt x="124833" y="3853"/>
                    <a:pt x="113094" y="-348"/>
                    <a:pt x="101356" y="23"/>
                  </a:cubicBezTo>
                  <a:cubicBezTo>
                    <a:pt x="83687" y="517"/>
                    <a:pt x="53044" y="6201"/>
                    <a:pt x="15605" y="33507"/>
                  </a:cubicBezTo>
                  <a:cubicBezTo>
                    <a:pt x="-43951" y="77124"/>
                    <a:pt x="86158" y="41415"/>
                    <a:pt x="86158" y="41415"/>
                  </a:cubicBezTo>
                </a:path>
              </a:pathLst>
            </a:custGeom>
            <a:solidFill>
              <a:srgbClr val="4701A7"/>
            </a:solidFill>
            <a:ln w="12353"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93AF5D2B-0A1E-4068-9C67-E4AFBA76D0A8}"/>
                </a:ext>
              </a:extLst>
            </p:cNvPr>
            <p:cNvSpPr/>
            <p:nvPr/>
          </p:nvSpPr>
          <p:spPr>
            <a:xfrm>
              <a:off x="5057669" y="2223751"/>
              <a:ext cx="259477" cy="210053"/>
            </a:xfrm>
            <a:custGeom>
              <a:avLst/>
              <a:gdLst>
                <a:gd name="connsiteX0" fmla="*/ 265107 w 259476"/>
                <a:gd name="connsiteY0" fmla="*/ 96558 h 210052"/>
                <a:gd name="connsiteX1" fmla="*/ 119800 w 259476"/>
                <a:gd name="connsiteY1" fmla="*/ 1416 h 210052"/>
                <a:gd name="connsiteX2" fmla="*/ 38745 w 259476"/>
                <a:gd name="connsiteY2" fmla="*/ 213446 h 210052"/>
                <a:gd name="connsiteX3" fmla="*/ 68770 w 259476"/>
                <a:gd name="connsiteY3" fmla="*/ 193429 h 210052"/>
                <a:gd name="connsiteX4" fmla="*/ 265107 w 259476"/>
                <a:gd name="connsiteY4" fmla="*/ 96558 h 210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476" h="210052">
                  <a:moveTo>
                    <a:pt x="265107" y="96558"/>
                  </a:moveTo>
                  <a:cubicBezTo>
                    <a:pt x="265107" y="96558"/>
                    <a:pt x="268073" y="-13658"/>
                    <a:pt x="119800" y="1416"/>
                  </a:cubicBezTo>
                  <a:cubicBezTo>
                    <a:pt x="-33168" y="16985"/>
                    <a:pt x="-14757" y="158709"/>
                    <a:pt x="38745" y="213446"/>
                  </a:cubicBezTo>
                  <a:lnTo>
                    <a:pt x="68770" y="193429"/>
                  </a:lnTo>
                  <a:lnTo>
                    <a:pt x="265107" y="96558"/>
                  </a:lnTo>
                  <a:close/>
                </a:path>
              </a:pathLst>
            </a:custGeom>
            <a:solidFill>
              <a:srgbClr val="4701A7"/>
            </a:solidFill>
            <a:ln w="12353"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E319CB8E-6F8A-4873-B443-C4B47B595250}"/>
                </a:ext>
              </a:extLst>
            </p:cNvPr>
            <p:cNvSpPr/>
            <p:nvPr/>
          </p:nvSpPr>
          <p:spPr>
            <a:xfrm>
              <a:off x="5046937" y="2410950"/>
              <a:ext cx="74136" cy="74136"/>
            </a:xfrm>
            <a:custGeom>
              <a:avLst/>
              <a:gdLst>
                <a:gd name="connsiteX0" fmla="*/ 53 w 74136"/>
                <a:gd name="connsiteY0" fmla="*/ 36997 h 74136"/>
                <a:gd name="connsiteX1" fmla="*/ 36997 w 74136"/>
                <a:gd name="connsiteY1" fmla="*/ 78019 h 74136"/>
                <a:gd name="connsiteX2" fmla="*/ 78019 w 74136"/>
                <a:gd name="connsiteY2" fmla="*/ 41075 h 74136"/>
                <a:gd name="connsiteX3" fmla="*/ 41075 w 74136"/>
                <a:gd name="connsiteY3" fmla="*/ 53 h 74136"/>
                <a:gd name="connsiteX4" fmla="*/ 53 w 74136"/>
                <a:gd name="connsiteY4" fmla="*/ 36997 h 74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36" h="74136">
                  <a:moveTo>
                    <a:pt x="53" y="36997"/>
                  </a:moveTo>
                  <a:cubicBezTo>
                    <a:pt x="-1059" y="58497"/>
                    <a:pt x="15498" y="76907"/>
                    <a:pt x="36997" y="78019"/>
                  </a:cubicBezTo>
                  <a:cubicBezTo>
                    <a:pt x="58497" y="79132"/>
                    <a:pt x="76907" y="62574"/>
                    <a:pt x="78019" y="41075"/>
                  </a:cubicBezTo>
                  <a:cubicBezTo>
                    <a:pt x="79132" y="19575"/>
                    <a:pt x="62574" y="1165"/>
                    <a:pt x="41075" y="53"/>
                  </a:cubicBezTo>
                  <a:cubicBezTo>
                    <a:pt x="19575" y="-1059"/>
                    <a:pt x="1165" y="15498"/>
                    <a:pt x="53" y="36997"/>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8690176B-81E6-4AF9-83B9-CEA66F2286E3}"/>
                </a:ext>
              </a:extLst>
            </p:cNvPr>
            <p:cNvSpPr/>
            <p:nvPr/>
          </p:nvSpPr>
          <p:spPr>
            <a:xfrm>
              <a:off x="5084266" y="2293685"/>
              <a:ext cx="234765" cy="172985"/>
            </a:xfrm>
            <a:custGeom>
              <a:avLst/>
              <a:gdLst>
                <a:gd name="connsiteX0" fmla="*/ 31176 w 234764"/>
                <a:gd name="connsiteY0" fmla="*/ 112375 h 172984"/>
                <a:gd name="connsiteX1" fmla="*/ 34389 w 234764"/>
                <a:gd name="connsiteY1" fmla="*/ 173167 h 172984"/>
                <a:gd name="connsiteX2" fmla="*/ 66762 w 234764"/>
                <a:gd name="connsiteY2" fmla="*/ 174526 h 172984"/>
                <a:gd name="connsiteX3" fmla="*/ 69480 w 234764"/>
                <a:gd name="connsiteY3" fmla="*/ 112746 h 172984"/>
                <a:gd name="connsiteX4" fmla="*/ 244936 w 234764"/>
                <a:gd name="connsiteY4" fmla="*/ 32926 h 172984"/>
                <a:gd name="connsiteX5" fmla="*/ 31176 w 234764"/>
                <a:gd name="connsiteY5" fmla="*/ 2654 h 172984"/>
                <a:gd name="connsiteX6" fmla="*/ 3870 w 234764"/>
                <a:gd name="connsiteY6" fmla="*/ 117194 h 172984"/>
                <a:gd name="connsiteX7" fmla="*/ 29570 w 234764"/>
                <a:gd name="connsiteY7" fmla="*/ 91988 h 172984"/>
                <a:gd name="connsiteX8" fmla="*/ 31176 w 234764"/>
                <a:gd name="connsiteY8" fmla="*/ 112375 h 17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764" h="172984">
                  <a:moveTo>
                    <a:pt x="31176" y="112375"/>
                  </a:moveTo>
                  <a:lnTo>
                    <a:pt x="34389" y="173167"/>
                  </a:lnTo>
                  <a:lnTo>
                    <a:pt x="66762" y="174526"/>
                  </a:lnTo>
                  <a:lnTo>
                    <a:pt x="69480" y="112746"/>
                  </a:lnTo>
                  <a:cubicBezTo>
                    <a:pt x="196006" y="125596"/>
                    <a:pt x="244936" y="32926"/>
                    <a:pt x="244936" y="32926"/>
                  </a:cubicBezTo>
                  <a:cubicBezTo>
                    <a:pt x="229244" y="32061"/>
                    <a:pt x="77388" y="-10938"/>
                    <a:pt x="31176" y="2654"/>
                  </a:cubicBezTo>
                  <a:cubicBezTo>
                    <a:pt x="-15159" y="16369"/>
                    <a:pt x="3870" y="117194"/>
                    <a:pt x="3870" y="117194"/>
                  </a:cubicBezTo>
                  <a:lnTo>
                    <a:pt x="29570" y="91988"/>
                  </a:lnTo>
                  <a:lnTo>
                    <a:pt x="31176" y="112375"/>
                  </a:lnTo>
                  <a:close/>
                </a:path>
              </a:pathLst>
            </a:custGeom>
            <a:solidFill>
              <a:srgbClr val="4701A7"/>
            </a:solidFill>
            <a:ln w="12353"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F84D31CE-6D25-4803-B2AC-35B07E39AC42}"/>
                </a:ext>
              </a:extLst>
            </p:cNvPr>
            <p:cNvSpPr/>
            <p:nvPr/>
          </p:nvSpPr>
          <p:spPr>
            <a:xfrm>
              <a:off x="5246293" y="3745826"/>
              <a:ext cx="222409" cy="135916"/>
            </a:xfrm>
            <a:custGeom>
              <a:avLst/>
              <a:gdLst>
                <a:gd name="connsiteX0" fmla="*/ 116023 w 222408"/>
                <a:gd name="connsiteY0" fmla="*/ 14580 h 135916"/>
                <a:gd name="connsiteX1" fmla="*/ 35709 w 222408"/>
                <a:gd name="connsiteY1" fmla="*/ 0 h 135916"/>
                <a:gd name="connsiteX2" fmla="*/ 0 w 222408"/>
                <a:gd name="connsiteY2" fmla="*/ 131715 h 135916"/>
                <a:gd name="connsiteX3" fmla="*/ 228463 w 222408"/>
                <a:gd name="connsiteY3" fmla="*/ 145925 h 135916"/>
                <a:gd name="connsiteX4" fmla="*/ 231799 w 222408"/>
                <a:gd name="connsiteY4" fmla="*/ 128132 h 135916"/>
                <a:gd name="connsiteX5" fmla="*/ 206840 w 222408"/>
                <a:gd name="connsiteY5" fmla="*/ 85998 h 135916"/>
                <a:gd name="connsiteX6" fmla="*/ 98601 w 222408"/>
                <a:gd name="connsiteY6" fmla="*/ 66723 h 135916"/>
                <a:gd name="connsiteX7" fmla="*/ 116023 w 222408"/>
                <a:gd name="connsiteY7" fmla="*/ 14580 h 13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408" h="135916">
                  <a:moveTo>
                    <a:pt x="116023" y="14580"/>
                  </a:moveTo>
                  <a:lnTo>
                    <a:pt x="35709" y="0"/>
                  </a:lnTo>
                  <a:lnTo>
                    <a:pt x="0" y="131715"/>
                  </a:lnTo>
                  <a:lnTo>
                    <a:pt x="228463" y="145925"/>
                  </a:lnTo>
                  <a:lnTo>
                    <a:pt x="231799" y="128132"/>
                  </a:lnTo>
                  <a:cubicBezTo>
                    <a:pt x="233406" y="109722"/>
                    <a:pt x="223644" y="93412"/>
                    <a:pt x="206840" y="85998"/>
                  </a:cubicBezTo>
                  <a:lnTo>
                    <a:pt x="98601" y="66723"/>
                  </a:lnTo>
                  <a:lnTo>
                    <a:pt x="116023" y="14580"/>
                  </a:lnTo>
                  <a:close/>
                </a:path>
              </a:pathLst>
            </a:custGeom>
            <a:solidFill>
              <a:schemeClr val="accent4"/>
            </a:solidFill>
            <a:ln w="12353"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7A3406D3-F54E-4C99-BF4A-2371FBE4F3A8}"/>
                </a:ext>
              </a:extLst>
            </p:cNvPr>
            <p:cNvSpPr/>
            <p:nvPr/>
          </p:nvSpPr>
          <p:spPr>
            <a:xfrm>
              <a:off x="4768237" y="3979231"/>
              <a:ext cx="222409" cy="135916"/>
            </a:xfrm>
            <a:custGeom>
              <a:avLst/>
              <a:gdLst>
                <a:gd name="connsiteX0" fmla="*/ 121089 w 222408"/>
                <a:gd name="connsiteY0" fmla="*/ 11244 h 135916"/>
                <a:gd name="connsiteX1" fmla="*/ 40281 w 222408"/>
                <a:gd name="connsiteY1" fmla="*/ 0 h 135916"/>
                <a:gd name="connsiteX2" fmla="*/ 0 w 222408"/>
                <a:gd name="connsiteY2" fmla="*/ 138882 h 135916"/>
                <a:gd name="connsiteX3" fmla="*/ 228957 w 222408"/>
                <a:gd name="connsiteY3" fmla="*/ 143701 h 135916"/>
                <a:gd name="connsiteX4" fmla="*/ 231429 w 222408"/>
                <a:gd name="connsiteY4" fmla="*/ 125785 h 135916"/>
                <a:gd name="connsiteX5" fmla="*/ 204740 w 222408"/>
                <a:gd name="connsiteY5" fmla="*/ 84762 h 135916"/>
                <a:gd name="connsiteX6" fmla="*/ 102061 w 222408"/>
                <a:gd name="connsiteY6" fmla="*/ 70800 h 135916"/>
                <a:gd name="connsiteX7" fmla="*/ 121089 w 222408"/>
                <a:gd name="connsiteY7" fmla="*/ 11244 h 13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408" h="135916">
                  <a:moveTo>
                    <a:pt x="121089" y="11244"/>
                  </a:moveTo>
                  <a:lnTo>
                    <a:pt x="40281" y="0"/>
                  </a:lnTo>
                  <a:lnTo>
                    <a:pt x="0" y="138882"/>
                  </a:lnTo>
                  <a:lnTo>
                    <a:pt x="228957" y="143701"/>
                  </a:lnTo>
                  <a:lnTo>
                    <a:pt x="231429" y="125785"/>
                  </a:lnTo>
                  <a:cubicBezTo>
                    <a:pt x="232170" y="107374"/>
                    <a:pt x="221915" y="91435"/>
                    <a:pt x="204740" y="84762"/>
                  </a:cubicBezTo>
                  <a:lnTo>
                    <a:pt x="102061" y="70800"/>
                  </a:lnTo>
                  <a:lnTo>
                    <a:pt x="121089" y="11244"/>
                  </a:lnTo>
                  <a:close/>
                </a:path>
              </a:pathLst>
            </a:custGeom>
            <a:solidFill>
              <a:schemeClr val="accent4"/>
            </a:solidFill>
            <a:ln w="12353"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DBB68913-6143-4826-A3E5-86FDE39C4E9C}"/>
                </a:ext>
              </a:extLst>
            </p:cNvPr>
            <p:cNvSpPr/>
            <p:nvPr/>
          </p:nvSpPr>
          <p:spPr>
            <a:xfrm>
              <a:off x="4763666" y="3191163"/>
              <a:ext cx="407749" cy="815499"/>
            </a:xfrm>
            <a:custGeom>
              <a:avLst/>
              <a:gdLst>
                <a:gd name="connsiteX0" fmla="*/ 220679 w 407749"/>
                <a:gd name="connsiteY0" fmla="*/ 0 h 815498"/>
                <a:gd name="connsiteX1" fmla="*/ 153956 w 407749"/>
                <a:gd name="connsiteY1" fmla="*/ 340285 h 815498"/>
                <a:gd name="connsiteX2" fmla="*/ 0 w 407749"/>
                <a:gd name="connsiteY2" fmla="*/ 816240 h 815498"/>
                <a:gd name="connsiteX3" fmla="*/ 145554 w 407749"/>
                <a:gd name="connsiteY3" fmla="*/ 824642 h 815498"/>
                <a:gd name="connsiteX4" fmla="*/ 315450 w 407749"/>
                <a:gd name="connsiteY4" fmla="*/ 353754 h 815498"/>
                <a:gd name="connsiteX5" fmla="*/ 417016 w 407749"/>
                <a:gd name="connsiteY5" fmla="*/ 0 h 81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749" h="815498">
                  <a:moveTo>
                    <a:pt x="220679" y="0"/>
                  </a:moveTo>
                  <a:lnTo>
                    <a:pt x="153956" y="340285"/>
                  </a:lnTo>
                  <a:lnTo>
                    <a:pt x="0" y="816240"/>
                  </a:lnTo>
                  <a:lnTo>
                    <a:pt x="145554" y="824642"/>
                  </a:lnTo>
                  <a:lnTo>
                    <a:pt x="315450" y="353754"/>
                  </a:lnTo>
                  <a:lnTo>
                    <a:pt x="417016" y="0"/>
                  </a:lnTo>
                  <a:close/>
                </a:path>
              </a:pathLst>
            </a:custGeom>
            <a:solidFill>
              <a:schemeClr val="accent5"/>
            </a:solidFill>
            <a:ln w="12353"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3252FE9C-7849-428B-936E-B0A767461C97}"/>
                </a:ext>
              </a:extLst>
            </p:cNvPr>
            <p:cNvSpPr/>
            <p:nvPr/>
          </p:nvSpPr>
          <p:spPr>
            <a:xfrm>
              <a:off x="4973471" y="3222300"/>
              <a:ext cx="172985" cy="111204"/>
            </a:xfrm>
            <a:custGeom>
              <a:avLst/>
              <a:gdLst>
                <a:gd name="connsiteX0" fmla="*/ 4695 w 172984"/>
                <a:gd name="connsiteY0" fmla="*/ 0 h 111204"/>
                <a:gd name="connsiteX1" fmla="*/ 183982 w 172984"/>
                <a:gd name="connsiteY1" fmla="*/ 49671 h 111204"/>
                <a:gd name="connsiteX2" fmla="*/ 163470 w 172984"/>
                <a:gd name="connsiteY2" fmla="*/ 121336 h 111204"/>
                <a:gd name="connsiteX3" fmla="*/ 0 w 172984"/>
                <a:gd name="connsiteY3" fmla="*/ 23971 h 111204"/>
              </a:gdLst>
              <a:ahLst/>
              <a:cxnLst>
                <a:cxn ang="0">
                  <a:pos x="connsiteX0" y="connsiteY0"/>
                </a:cxn>
                <a:cxn ang="0">
                  <a:pos x="connsiteX1" y="connsiteY1"/>
                </a:cxn>
                <a:cxn ang="0">
                  <a:pos x="connsiteX2" y="connsiteY2"/>
                </a:cxn>
                <a:cxn ang="0">
                  <a:pos x="connsiteX3" y="connsiteY3"/>
                </a:cxn>
              </a:cxnLst>
              <a:rect l="l" t="t" r="r" b="b"/>
              <a:pathLst>
                <a:path w="172984" h="111204">
                  <a:moveTo>
                    <a:pt x="4695" y="0"/>
                  </a:moveTo>
                  <a:lnTo>
                    <a:pt x="183982" y="49671"/>
                  </a:lnTo>
                  <a:lnTo>
                    <a:pt x="163470" y="121336"/>
                  </a:lnTo>
                  <a:lnTo>
                    <a:pt x="0" y="23971"/>
                  </a:lnTo>
                  <a:close/>
                </a:path>
              </a:pathLst>
            </a:custGeom>
            <a:solidFill>
              <a:schemeClr val="accent5">
                <a:lumMod val="75000"/>
              </a:schemeClr>
            </a:solidFill>
            <a:ln w="12353"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DC66C758-EBAC-42DF-98FD-7EAB20F3DBA0}"/>
                </a:ext>
              </a:extLst>
            </p:cNvPr>
            <p:cNvSpPr/>
            <p:nvPr/>
          </p:nvSpPr>
          <p:spPr>
            <a:xfrm>
              <a:off x="4943570" y="3132348"/>
              <a:ext cx="580734" cy="642514"/>
            </a:xfrm>
            <a:custGeom>
              <a:avLst/>
              <a:gdLst>
                <a:gd name="connsiteX0" fmla="*/ 301364 w 580733"/>
                <a:gd name="connsiteY0" fmla="*/ 123 h 642514"/>
                <a:gd name="connsiteX1" fmla="*/ 531928 w 580733"/>
                <a:gd name="connsiteY1" fmla="*/ 71665 h 642514"/>
                <a:gd name="connsiteX2" fmla="*/ 586171 w 580733"/>
                <a:gd name="connsiteY2" fmla="*/ 158899 h 642514"/>
                <a:gd name="connsiteX3" fmla="*/ 441852 w 580733"/>
                <a:gd name="connsiteY3" fmla="*/ 646097 h 642514"/>
                <a:gd name="connsiteX4" fmla="*/ 290985 w 580733"/>
                <a:gd name="connsiteY4" fmla="*/ 644985 h 642514"/>
                <a:gd name="connsiteX5" fmla="*/ 427519 w 580733"/>
                <a:gd name="connsiteY5" fmla="*/ 186082 h 642514"/>
                <a:gd name="connsiteX6" fmla="*/ 88099 w 580733"/>
                <a:gd name="connsiteY6" fmla="*/ 112193 h 642514"/>
                <a:gd name="connsiteX7" fmla="*/ 0 w 580733"/>
                <a:gd name="connsiteY7" fmla="*/ 15816 h 642514"/>
                <a:gd name="connsiteX8" fmla="*/ 0 w 580733"/>
                <a:gd name="connsiteY8" fmla="*/ 0 h 642514"/>
                <a:gd name="connsiteX9" fmla="*/ 301364 w 580733"/>
                <a:gd name="connsiteY9" fmla="*/ 0 h 64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0733" h="642514">
                  <a:moveTo>
                    <a:pt x="301364" y="123"/>
                  </a:moveTo>
                  <a:lnTo>
                    <a:pt x="531928" y="71665"/>
                  </a:lnTo>
                  <a:cubicBezTo>
                    <a:pt x="572579" y="78461"/>
                    <a:pt x="598156" y="119359"/>
                    <a:pt x="586171" y="158899"/>
                  </a:cubicBezTo>
                  <a:lnTo>
                    <a:pt x="441852" y="646097"/>
                  </a:lnTo>
                  <a:lnTo>
                    <a:pt x="290985" y="644985"/>
                  </a:lnTo>
                  <a:lnTo>
                    <a:pt x="427519" y="186082"/>
                  </a:lnTo>
                  <a:lnTo>
                    <a:pt x="88099" y="112193"/>
                  </a:lnTo>
                  <a:cubicBezTo>
                    <a:pt x="38180" y="107745"/>
                    <a:pt x="0" y="65858"/>
                    <a:pt x="0" y="15816"/>
                  </a:cubicBezTo>
                  <a:lnTo>
                    <a:pt x="0" y="0"/>
                  </a:lnTo>
                  <a:lnTo>
                    <a:pt x="301364" y="0"/>
                  </a:lnTo>
                  <a:close/>
                </a:path>
              </a:pathLst>
            </a:custGeom>
            <a:solidFill>
              <a:schemeClr val="accent5"/>
            </a:solidFill>
            <a:ln w="12353"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B203BF61-F4A6-4A5D-A7D8-2BC94D7A9276}"/>
                </a:ext>
              </a:extLst>
            </p:cNvPr>
            <p:cNvSpPr/>
            <p:nvPr/>
          </p:nvSpPr>
          <p:spPr>
            <a:xfrm>
              <a:off x="4915522" y="2639837"/>
              <a:ext cx="345969" cy="506598"/>
            </a:xfrm>
            <a:custGeom>
              <a:avLst/>
              <a:gdLst>
                <a:gd name="connsiteX0" fmla="*/ 238348 w 345969"/>
                <a:gd name="connsiteY0" fmla="*/ 0 h 506597"/>
                <a:gd name="connsiteX1" fmla="*/ 238348 w 345969"/>
                <a:gd name="connsiteY1" fmla="*/ 0 h 506597"/>
                <a:gd name="connsiteX2" fmla="*/ 354989 w 345969"/>
                <a:gd name="connsiteY2" fmla="*/ 168042 h 506597"/>
                <a:gd name="connsiteX3" fmla="*/ 329536 w 345969"/>
                <a:gd name="connsiteY3" fmla="*/ 492635 h 506597"/>
                <a:gd name="connsiteX4" fmla="*/ 0 w 345969"/>
                <a:gd name="connsiteY4" fmla="*/ 506721 h 506597"/>
                <a:gd name="connsiteX5" fmla="*/ 52760 w 345969"/>
                <a:gd name="connsiteY5" fmla="*/ 120348 h 506597"/>
                <a:gd name="connsiteX6" fmla="*/ 157910 w 345969"/>
                <a:gd name="connsiteY6" fmla="*/ 247 h 506597"/>
                <a:gd name="connsiteX7" fmla="*/ 238348 w 345969"/>
                <a:gd name="connsiteY7" fmla="*/ 0 h 506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969" h="506597">
                  <a:moveTo>
                    <a:pt x="238348" y="0"/>
                  </a:moveTo>
                  <a:lnTo>
                    <a:pt x="238348" y="0"/>
                  </a:lnTo>
                  <a:cubicBezTo>
                    <a:pt x="304329" y="247"/>
                    <a:pt x="354989" y="94153"/>
                    <a:pt x="354989" y="168042"/>
                  </a:cubicBezTo>
                  <a:lnTo>
                    <a:pt x="329536" y="492635"/>
                  </a:lnTo>
                  <a:lnTo>
                    <a:pt x="0" y="506721"/>
                  </a:lnTo>
                  <a:lnTo>
                    <a:pt x="52760" y="120348"/>
                  </a:lnTo>
                  <a:cubicBezTo>
                    <a:pt x="60545" y="49671"/>
                    <a:pt x="104903" y="0"/>
                    <a:pt x="157910" y="247"/>
                  </a:cubicBezTo>
                  <a:lnTo>
                    <a:pt x="238348" y="0"/>
                  </a:lnTo>
                  <a:close/>
                </a:path>
              </a:pathLst>
            </a:custGeom>
            <a:solidFill>
              <a:srgbClr val="CB2980"/>
            </a:solidFill>
            <a:ln w="12353"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A50E8753-3BCC-4438-981D-ABD44A74CD22}"/>
                </a:ext>
              </a:extLst>
            </p:cNvPr>
            <p:cNvSpPr/>
            <p:nvPr/>
          </p:nvSpPr>
          <p:spPr>
            <a:xfrm>
              <a:off x="5732390" y="2617730"/>
              <a:ext cx="135916" cy="135916"/>
            </a:xfrm>
            <a:custGeom>
              <a:avLst/>
              <a:gdLst>
                <a:gd name="connsiteX0" fmla="*/ 22107 w 135916"/>
                <a:gd name="connsiteY0" fmla="*/ 119596 h 135916"/>
                <a:gd name="connsiteX1" fmla="*/ 119596 w 135916"/>
                <a:gd name="connsiteY1" fmla="*/ 115889 h 135916"/>
                <a:gd name="connsiteX2" fmla="*/ 115889 w 135916"/>
                <a:gd name="connsiteY2" fmla="*/ 18400 h 135916"/>
                <a:gd name="connsiteX3" fmla="*/ 18400 w 135916"/>
                <a:gd name="connsiteY3" fmla="*/ 22107 h 135916"/>
                <a:gd name="connsiteX4" fmla="*/ 22107 w 135916"/>
                <a:gd name="connsiteY4" fmla="*/ 119596 h 135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916" h="135916">
                  <a:moveTo>
                    <a:pt x="22107" y="119596"/>
                  </a:moveTo>
                  <a:cubicBezTo>
                    <a:pt x="50032" y="145544"/>
                    <a:pt x="93648" y="143814"/>
                    <a:pt x="119596" y="115889"/>
                  </a:cubicBezTo>
                  <a:cubicBezTo>
                    <a:pt x="145544" y="87965"/>
                    <a:pt x="143814" y="44224"/>
                    <a:pt x="115889" y="18400"/>
                  </a:cubicBezTo>
                  <a:cubicBezTo>
                    <a:pt x="87965" y="-7548"/>
                    <a:pt x="44348" y="-5818"/>
                    <a:pt x="18400" y="22107"/>
                  </a:cubicBezTo>
                  <a:cubicBezTo>
                    <a:pt x="-7548" y="50032"/>
                    <a:pt x="-5818" y="93648"/>
                    <a:pt x="22107" y="119596"/>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1E0F731F-7396-4643-AE4B-4F13C754F790}"/>
                </a:ext>
              </a:extLst>
            </p:cNvPr>
            <p:cNvSpPr/>
            <p:nvPr/>
          </p:nvSpPr>
          <p:spPr>
            <a:xfrm>
              <a:off x="5107411" y="2646385"/>
              <a:ext cx="716650" cy="284189"/>
            </a:xfrm>
            <a:custGeom>
              <a:avLst/>
              <a:gdLst>
                <a:gd name="connsiteX0" fmla="*/ 341027 w 716650"/>
                <a:gd name="connsiteY0" fmla="*/ 286413 h 284188"/>
                <a:gd name="connsiteX1" fmla="*/ 320639 w 716650"/>
                <a:gd name="connsiteY1" fmla="*/ 282212 h 284188"/>
                <a:gd name="connsiteX2" fmla="*/ 0 w 716650"/>
                <a:gd name="connsiteY2" fmla="*/ 141971 h 284188"/>
                <a:gd name="connsiteX3" fmla="*/ 40651 w 716650"/>
                <a:gd name="connsiteY3" fmla="*/ 48930 h 284188"/>
                <a:gd name="connsiteX4" fmla="*/ 344610 w 716650"/>
                <a:gd name="connsiteY4" fmla="*/ 181881 h 284188"/>
                <a:gd name="connsiteX5" fmla="*/ 689838 w 716650"/>
                <a:gd name="connsiteY5" fmla="*/ 0 h 284188"/>
                <a:gd name="connsiteX6" fmla="*/ 717392 w 716650"/>
                <a:gd name="connsiteY6" fmla="*/ 71789 h 284188"/>
                <a:gd name="connsiteX7" fmla="*/ 354618 w 716650"/>
                <a:gd name="connsiteY7" fmla="*/ 284436 h 284188"/>
                <a:gd name="connsiteX8" fmla="*/ 341027 w 716650"/>
                <a:gd name="connsiteY8" fmla="*/ 286413 h 28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6650" h="284188">
                  <a:moveTo>
                    <a:pt x="341027" y="286413"/>
                  </a:moveTo>
                  <a:cubicBezTo>
                    <a:pt x="334107" y="286413"/>
                    <a:pt x="327188" y="284930"/>
                    <a:pt x="320639" y="282212"/>
                  </a:cubicBezTo>
                  <a:lnTo>
                    <a:pt x="0" y="141971"/>
                  </a:lnTo>
                  <a:lnTo>
                    <a:pt x="40651" y="48930"/>
                  </a:lnTo>
                  <a:lnTo>
                    <a:pt x="344610" y="181881"/>
                  </a:lnTo>
                  <a:lnTo>
                    <a:pt x="689838" y="0"/>
                  </a:lnTo>
                  <a:lnTo>
                    <a:pt x="717392" y="71789"/>
                  </a:lnTo>
                  <a:lnTo>
                    <a:pt x="354618" y="284436"/>
                  </a:lnTo>
                  <a:cubicBezTo>
                    <a:pt x="350170" y="285795"/>
                    <a:pt x="345599" y="286413"/>
                    <a:pt x="341027" y="286413"/>
                  </a:cubicBezTo>
                </a:path>
              </a:pathLst>
            </a:custGeom>
            <a:solidFill>
              <a:schemeClr val="accent4">
                <a:lumMod val="20000"/>
                <a:lumOff val="80000"/>
              </a:schemeClr>
            </a:solidFill>
            <a:ln w="12353"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D95E08A4-A7B4-48DE-BCD2-441294A45C7E}"/>
                </a:ext>
              </a:extLst>
            </p:cNvPr>
            <p:cNvSpPr/>
            <p:nvPr/>
          </p:nvSpPr>
          <p:spPr>
            <a:xfrm>
              <a:off x="5073212" y="2672341"/>
              <a:ext cx="234765" cy="222409"/>
            </a:xfrm>
            <a:custGeom>
              <a:avLst/>
              <a:gdLst>
                <a:gd name="connsiteX0" fmla="*/ 246723 w 234764"/>
                <a:gd name="connsiteY0" fmla="*/ 83395 h 222408"/>
                <a:gd name="connsiteX1" fmla="*/ 180741 w 234764"/>
                <a:gd name="connsiteY1" fmla="*/ 222524 h 222408"/>
                <a:gd name="connsiteX2" fmla="*/ 39512 w 234764"/>
                <a:gd name="connsiteY2" fmla="*/ 143940 h 222408"/>
                <a:gd name="connsiteX3" fmla="*/ 10969 w 234764"/>
                <a:gd name="connsiteY3" fmla="*/ 37307 h 222408"/>
                <a:gd name="connsiteX4" fmla="*/ 102528 w 234764"/>
                <a:gd name="connsiteY4" fmla="*/ 4440 h 222408"/>
                <a:gd name="connsiteX5" fmla="*/ 246723 w 234764"/>
                <a:gd name="connsiteY5" fmla="*/ 83395 h 2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764" h="222408">
                  <a:moveTo>
                    <a:pt x="246723" y="83395"/>
                  </a:moveTo>
                  <a:lnTo>
                    <a:pt x="180741" y="222524"/>
                  </a:lnTo>
                  <a:lnTo>
                    <a:pt x="39512" y="143940"/>
                  </a:lnTo>
                  <a:cubicBezTo>
                    <a:pt x="1579" y="122811"/>
                    <a:pt x="-11395" y="74499"/>
                    <a:pt x="10969" y="37307"/>
                  </a:cubicBezTo>
                  <a:cubicBezTo>
                    <a:pt x="29751" y="5923"/>
                    <a:pt x="68054" y="-7792"/>
                    <a:pt x="102528" y="4440"/>
                  </a:cubicBezTo>
                  <a:lnTo>
                    <a:pt x="246723" y="83395"/>
                  </a:lnTo>
                  <a:close/>
                </a:path>
              </a:pathLst>
            </a:custGeom>
            <a:solidFill>
              <a:srgbClr val="860864"/>
            </a:solidFill>
            <a:ln w="12353"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7114769B-9254-4B26-B46A-DB1B3BA586CF}"/>
                </a:ext>
              </a:extLst>
            </p:cNvPr>
            <p:cNvSpPr/>
            <p:nvPr/>
          </p:nvSpPr>
          <p:spPr>
            <a:xfrm>
              <a:off x="5100615" y="2807755"/>
              <a:ext cx="160629" cy="135916"/>
            </a:xfrm>
            <a:custGeom>
              <a:avLst/>
              <a:gdLst>
                <a:gd name="connsiteX0" fmla="*/ 164953 w 160628"/>
                <a:gd name="connsiteY0" fmla="*/ 62645 h 135916"/>
                <a:gd name="connsiteX1" fmla="*/ 158775 w 160628"/>
                <a:gd name="connsiteY1" fmla="*/ 141229 h 135916"/>
                <a:gd name="connsiteX2" fmla="*/ 0 w 160628"/>
                <a:gd name="connsiteY2" fmla="*/ 0 h 135916"/>
                <a:gd name="connsiteX3" fmla="*/ 153339 w 160628"/>
                <a:gd name="connsiteY3" fmla="*/ 86986 h 135916"/>
              </a:gdLst>
              <a:ahLst/>
              <a:cxnLst>
                <a:cxn ang="0">
                  <a:pos x="connsiteX0" y="connsiteY0"/>
                </a:cxn>
                <a:cxn ang="0">
                  <a:pos x="connsiteX1" y="connsiteY1"/>
                </a:cxn>
                <a:cxn ang="0">
                  <a:pos x="connsiteX2" y="connsiteY2"/>
                </a:cxn>
                <a:cxn ang="0">
                  <a:pos x="connsiteX3" y="connsiteY3"/>
                </a:cxn>
              </a:cxnLst>
              <a:rect l="l" t="t" r="r" b="b"/>
              <a:pathLst>
                <a:path w="160628" h="135916">
                  <a:moveTo>
                    <a:pt x="164953" y="62645"/>
                  </a:moveTo>
                  <a:lnTo>
                    <a:pt x="158775" y="141229"/>
                  </a:lnTo>
                  <a:lnTo>
                    <a:pt x="0" y="0"/>
                  </a:lnTo>
                  <a:lnTo>
                    <a:pt x="153339" y="86986"/>
                  </a:lnTo>
                  <a:close/>
                </a:path>
              </a:pathLst>
            </a:custGeom>
            <a:solidFill>
              <a:srgbClr val="4701A7"/>
            </a:solidFill>
            <a:ln w="12353"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D6D8B7FA-A8DF-4F49-A43F-220E3B68AC05}"/>
                </a:ext>
              </a:extLst>
            </p:cNvPr>
            <p:cNvSpPr/>
            <p:nvPr/>
          </p:nvSpPr>
          <p:spPr>
            <a:xfrm>
              <a:off x="7811475" y="4835352"/>
              <a:ext cx="261816" cy="124674"/>
            </a:xfrm>
            <a:custGeom>
              <a:avLst/>
              <a:gdLst>
                <a:gd name="connsiteX0" fmla="*/ 172923 w 261816"/>
                <a:gd name="connsiteY0" fmla="*/ 0 h 124674"/>
                <a:gd name="connsiteX1" fmla="*/ 265432 w 261816"/>
                <a:gd name="connsiteY1" fmla="*/ 2618 h 124674"/>
                <a:gd name="connsiteX2" fmla="*/ 263063 w 261816"/>
                <a:gd name="connsiteY2" fmla="*/ 135272 h 124674"/>
                <a:gd name="connsiteX3" fmla="*/ 0 w 261816"/>
                <a:gd name="connsiteY3" fmla="*/ 127667 h 124674"/>
                <a:gd name="connsiteX4" fmla="*/ 37652 w 261816"/>
                <a:gd name="connsiteY4" fmla="*/ 86773 h 124674"/>
                <a:gd name="connsiteX5" fmla="*/ 169059 w 261816"/>
                <a:gd name="connsiteY5" fmla="*/ 59470 h 124674"/>
                <a:gd name="connsiteX6" fmla="*/ 172923 w 261816"/>
                <a:gd name="connsiteY6" fmla="*/ 0 h 12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816" h="124674">
                  <a:moveTo>
                    <a:pt x="172923" y="0"/>
                  </a:moveTo>
                  <a:lnTo>
                    <a:pt x="265432" y="2618"/>
                  </a:lnTo>
                  <a:lnTo>
                    <a:pt x="263063" y="135272"/>
                  </a:lnTo>
                  <a:lnTo>
                    <a:pt x="0" y="127667"/>
                  </a:lnTo>
                  <a:cubicBezTo>
                    <a:pt x="2618" y="106971"/>
                    <a:pt x="17205" y="91012"/>
                    <a:pt x="37652" y="86773"/>
                  </a:cubicBezTo>
                  <a:lnTo>
                    <a:pt x="169059" y="59470"/>
                  </a:lnTo>
                  <a:lnTo>
                    <a:pt x="172923" y="0"/>
                  </a:lnTo>
                  <a:close/>
                </a:path>
              </a:pathLst>
            </a:custGeom>
            <a:solidFill>
              <a:schemeClr val="accent5"/>
            </a:solidFill>
            <a:ln w="12431"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2468A7FC-653A-42AC-A4EE-9A2C7A94F218}"/>
                </a:ext>
              </a:extLst>
            </p:cNvPr>
            <p:cNvSpPr/>
            <p:nvPr/>
          </p:nvSpPr>
          <p:spPr>
            <a:xfrm>
              <a:off x="8275887" y="4847445"/>
              <a:ext cx="236881" cy="124674"/>
            </a:xfrm>
            <a:custGeom>
              <a:avLst/>
              <a:gdLst>
                <a:gd name="connsiteX0" fmla="*/ 147490 w 236881"/>
                <a:gd name="connsiteY0" fmla="*/ 8478 h 124674"/>
                <a:gd name="connsiteX1" fmla="*/ 235261 w 236881"/>
                <a:gd name="connsiteY1" fmla="*/ 0 h 124674"/>
                <a:gd name="connsiteX2" fmla="*/ 248850 w 236881"/>
                <a:gd name="connsiteY2" fmla="*/ 125672 h 124674"/>
                <a:gd name="connsiteX3" fmla="*/ 0 w 236881"/>
                <a:gd name="connsiteY3" fmla="*/ 129287 h 124674"/>
                <a:gd name="connsiteX4" fmla="*/ 30795 w 236881"/>
                <a:gd name="connsiteY4" fmla="*/ 86150 h 124674"/>
                <a:gd name="connsiteX5" fmla="*/ 150981 w 236881"/>
                <a:gd name="connsiteY5" fmla="*/ 65205 h 124674"/>
                <a:gd name="connsiteX6" fmla="*/ 147490 w 236881"/>
                <a:gd name="connsiteY6" fmla="*/ 8478 h 12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881" h="124674">
                  <a:moveTo>
                    <a:pt x="147490" y="8478"/>
                  </a:moveTo>
                  <a:lnTo>
                    <a:pt x="235261" y="0"/>
                  </a:lnTo>
                  <a:lnTo>
                    <a:pt x="248850" y="125672"/>
                  </a:lnTo>
                  <a:lnTo>
                    <a:pt x="0" y="129287"/>
                  </a:lnTo>
                  <a:cubicBezTo>
                    <a:pt x="0" y="109339"/>
                    <a:pt x="11844" y="92633"/>
                    <a:pt x="30795" y="86150"/>
                  </a:cubicBezTo>
                  <a:lnTo>
                    <a:pt x="150981" y="65205"/>
                  </a:lnTo>
                  <a:lnTo>
                    <a:pt x="147490" y="8478"/>
                  </a:lnTo>
                  <a:close/>
                </a:path>
              </a:pathLst>
            </a:custGeom>
            <a:solidFill>
              <a:schemeClr val="accent5"/>
            </a:solidFill>
            <a:ln w="12431"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23BF14CA-89E4-450E-9C24-4394251E038F}"/>
                </a:ext>
              </a:extLst>
            </p:cNvPr>
            <p:cNvSpPr/>
            <p:nvPr/>
          </p:nvSpPr>
          <p:spPr>
            <a:xfrm>
              <a:off x="7947111" y="4776336"/>
              <a:ext cx="162077" cy="62337"/>
            </a:xfrm>
            <a:custGeom>
              <a:avLst/>
              <a:gdLst>
                <a:gd name="connsiteX0" fmla="*/ 0 w 162076"/>
                <a:gd name="connsiteY0" fmla="*/ 59309 h 62337"/>
                <a:gd name="connsiteX1" fmla="*/ 2101 w 162076"/>
                <a:gd name="connsiteY1" fmla="*/ 0 h 62337"/>
                <a:gd name="connsiteX2" fmla="*/ 172055 w 162076"/>
                <a:gd name="connsiteY2" fmla="*/ 6020 h 62337"/>
                <a:gd name="connsiteX3" fmla="*/ 169954 w 162076"/>
                <a:gd name="connsiteY3" fmla="*/ 65329 h 62337"/>
              </a:gdLst>
              <a:ahLst/>
              <a:cxnLst>
                <a:cxn ang="0">
                  <a:pos x="connsiteX0" y="connsiteY0"/>
                </a:cxn>
                <a:cxn ang="0">
                  <a:pos x="connsiteX1" y="connsiteY1"/>
                </a:cxn>
                <a:cxn ang="0">
                  <a:pos x="connsiteX2" y="connsiteY2"/>
                </a:cxn>
                <a:cxn ang="0">
                  <a:pos x="connsiteX3" y="connsiteY3"/>
                </a:cxn>
              </a:cxnLst>
              <a:rect l="l" t="t" r="r" b="b"/>
              <a:pathLst>
                <a:path w="162076" h="62337">
                  <a:moveTo>
                    <a:pt x="0" y="59309"/>
                  </a:moveTo>
                  <a:lnTo>
                    <a:pt x="2101" y="0"/>
                  </a:lnTo>
                  <a:lnTo>
                    <a:pt x="172055" y="6020"/>
                  </a:lnTo>
                  <a:lnTo>
                    <a:pt x="169954" y="65329"/>
                  </a:lnTo>
                  <a:close/>
                </a:path>
              </a:pathLst>
            </a:custGeom>
            <a:solidFill>
              <a:schemeClr val="accent3">
                <a:lumMod val="75000"/>
                <a:lumOff val="25000"/>
              </a:schemeClr>
            </a:solidFill>
            <a:ln w="12431"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AE60E147-E4E5-4025-85CF-FAB558D6F7E7}"/>
                </a:ext>
              </a:extLst>
            </p:cNvPr>
            <p:cNvSpPr/>
            <p:nvPr/>
          </p:nvSpPr>
          <p:spPr>
            <a:xfrm>
              <a:off x="8370640" y="4788599"/>
              <a:ext cx="174544" cy="62337"/>
            </a:xfrm>
            <a:custGeom>
              <a:avLst/>
              <a:gdLst>
                <a:gd name="connsiteX0" fmla="*/ 0 w 174544"/>
                <a:gd name="connsiteY0" fmla="*/ 10223 h 62337"/>
                <a:gd name="connsiteX1" fmla="*/ 173048 w 174544"/>
                <a:gd name="connsiteY1" fmla="*/ 0 h 62337"/>
                <a:gd name="connsiteX2" fmla="*/ 182399 w 174544"/>
                <a:gd name="connsiteY2" fmla="*/ 58597 h 62337"/>
                <a:gd name="connsiteX3" fmla="*/ 9351 w 174544"/>
                <a:gd name="connsiteY3" fmla="*/ 68820 h 62337"/>
              </a:gdLst>
              <a:ahLst/>
              <a:cxnLst>
                <a:cxn ang="0">
                  <a:pos x="connsiteX0" y="connsiteY0"/>
                </a:cxn>
                <a:cxn ang="0">
                  <a:pos x="connsiteX1" y="connsiteY1"/>
                </a:cxn>
                <a:cxn ang="0">
                  <a:pos x="connsiteX2" y="connsiteY2"/>
                </a:cxn>
                <a:cxn ang="0">
                  <a:pos x="connsiteX3" y="connsiteY3"/>
                </a:cxn>
              </a:cxnLst>
              <a:rect l="l" t="t" r="r" b="b"/>
              <a:pathLst>
                <a:path w="174544" h="62337">
                  <a:moveTo>
                    <a:pt x="0" y="10223"/>
                  </a:moveTo>
                  <a:lnTo>
                    <a:pt x="173048" y="0"/>
                  </a:lnTo>
                  <a:lnTo>
                    <a:pt x="182399" y="58597"/>
                  </a:lnTo>
                  <a:lnTo>
                    <a:pt x="9351" y="68820"/>
                  </a:lnTo>
                  <a:close/>
                </a:path>
              </a:pathLst>
            </a:custGeom>
            <a:solidFill>
              <a:schemeClr val="accent3">
                <a:lumMod val="75000"/>
                <a:lumOff val="25000"/>
              </a:schemeClr>
            </a:solidFill>
            <a:ln w="12431" cap="flat">
              <a:noFill/>
              <a:prstDash val="solid"/>
              <a:miter/>
            </a:ln>
          </p:spPr>
          <p:txBody>
            <a:bodyPr rtlCol="0" anchor="ctr"/>
            <a:lstStyle/>
            <a:p>
              <a:endParaRPr lang="en-US"/>
            </a:p>
          </p:txBody>
        </p:sp>
      </p:grpSp>
    </p:spTree>
    <p:extLst>
      <p:ext uri="{BB962C8B-B14F-4D97-AF65-F5344CB8AC3E}">
        <p14:creationId xmlns:p14="http://schemas.microsoft.com/office/powerpoint/2010/main" val="7466386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4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62049" y="2312504"/>
            <a:ext cx="12833350" cy="4247664"/>
          </a:xfrm>
          <a:prstGeom prst="rect">
            <a:avLst/>
          </a:prstGeom>
        </p:spPr>
      </p:pic>
      <p:grpSp>
        <p:nvGrpSpPr>
          <p:cNvPr id="45" name="Group 44"/>
          <p:cNvGrpSpPr/>
          <p:nvPr/>
        </p:nvGrpSpPr>
        <p:grpSpPr>
          <a:xfrm>
            <a:off x="415132" y="282945"/>
            <a:ext cx="4637802" cy="631882"/>
            <a:chOff x="415132" y="282945"/>
            <a:chExt cx="4637802" cy="631882"/>
          </a:xfrm>
        </p:grpSpPr>
        <p:grpSp>
          <p:nvGrpSpPr>
            <p:cNvPr id="34" name="Group 33"/>
            <p:cNvGrpSpPr/>
            <p:nvPr/>
          </p:nvGrpSpPr>
          <p:grpSpPr>
            <a:xfrm>
              <a:off x="415132" y="319088"/>
              <a:ext cx="2491377" cy="595160"/>
              <a:chOff x="407988" y="978574"/>
              <a:chExt cx="2491377" cy="595160"/>
            </a:xfrm>
          </p:grpSpPr>
          <p:pic>
            <p:nvPicPr>
              <p:cNvPr id="32" name="Graphic 9">
                <a:extLst>
                  <a:ext uri="{FF2B5EF4-FFF2-40B4-BE49-F238E27FC236}">
                    <a16:creationId xmlns:a16="http://schemas.microsoft.com/office/drawing/2014/main" id="{863705AF-E406-4555-84F3-D7D85A8B5D6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07988" y="1063721"/>
                <a:ext cx="2286000" cy="510013"/>
              </a:xfrm>
              <a:prstGeom prst="rect">
                <a:avLst/>
              </a:prstGeom>
            </p:spPr>
          </p:pic>
          <p:cxnSp>
            <p:nvCxnSpPr>
              <p:cNvPr id="33" name="Straight Connector 32">
                <a:extLst>
                  <a:ext uri="{FF2B5EF4-FFF2-40B4-BE49-F238E27FC236}">
                    <a16:creationId xmlns:a16="http://schemas.microsoft.com/office/drawing/2014/main" id="{5BC8EDD5-8762-403D-B2A8-54B05A5E905C}"/>
                  </a:ext>
                </a:extLst>
              </p:cNvPr>
              <p:cNvCxnSpPr/>
              <p:nvPr/>
            </p:nvCxnSpPr>
            <p:spPr>
              <a:xfrm>
                <a:off x="2899365" y="978574"/>
                <a:ext cx="0" cy="55562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2" name="Picture 11"/>
            <p:cNvPicPr>
              <a:picLocks noChangeAspect="1"/>
            </p:cNvPicPr>
            <p:nvPr/>
          </p:nvPicPr>
          <p:blipFill rotWithShape="1">
            <a:blip r:embed="rId5" cstate="email">
              <a:extLst>
                <a:ext uri="{28A0092B-C50C-407E-A947-70E740481C1C}">
                  <a14:useLocalDpi xmlns:a14="http://schemas.microsoft.com/office/drawing/2010/main"/>
                </a:ext>
              </a:extLst>
            </a:blip>
            <a:srcRect l="57972"/>
            <a:stretch/>
          </p:blipFill>
          <p:spPr>
            <a:xfrm>
              <a:off x="3106738" y="282945"/>
              <a:ext cx="1946196" cy="631882"/>
            </a:xfrm>
            <a:prstGeom prst="rect">
              <a:avLst/>
            </a:prstGeom>
          </p:spPr>
        </p:pic>
      </p:grpSp>
      <p:sp>
        <p:nvSpPr>
          <p:cNvPr id="16" name="Title 1">
            <a:extLst>
              <a:ext uri="{FF2B5EF4-FFF2-40B4-BE49-F238E27FC236}">
                <a16:creationId xmlns:a16="http://schemas.microsoft.com/office/drawing/2014/main" id="{7D6F175B-45C3-462F-A5E7-3F3AD5266C08}"/>
              </a:ext>
            </a:extLst>
          </p:cNvPr>
          <p:cNvSpPr>
            <a:spLocks noGrp="1"/>
          </p:cNvSpPr>
          <p:nvPr>
            <p:ph type="ctrTitle" hasCustomPrompt="1"/>
          </p:nvPr>
        </p:nvSpPr>
        <p:spPr>
          <a:xfrm>
            <a:off x="381000" y="216538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1" dirty="0">
                <a:solidFill>
                  <a:srgbClr val="0070AD"/>
                </a:solidFill>
              </a:defRPr>
            </a:lvl1pPr>
          </a:lstStyle>
          <a:p>
            <a:pPr marL="0" lvl="0"/>
            <a:r>
              <a:rPr lang="en-US" dirty="0"/>
              <a:t>Click to insert title</a:t>
            </a:r>
          </a:p>
        </p:txBody>
      </p:sp>
      <p:sp>
        <p:nvSpPr>
          <p:cNvPr id="17" name="Subtitle 2">
            <a:extLst>
              <a:ext uri="{FF2B5EF4-FFF2-40B4-BE49-F238E27FC236}">
                <a16:creationId xmlns:a16="http://schemas.microsoft.com/office/drawing/2014/main" id="{9AA2A9A7-D42C-4DBF-AFDD-FCD88B72168D}"/>
              </a:ext>
            </a:extLst>
          </p:cNvPr>
          <p:cNvSpPr>
            <a:spLocks noGrp="1"/>
          </p:cNvSpPr>
          <p:nvPr>
            <p:ph type="subTitle" idx="1" hasCustomPrompt="1"/>
          </p:nvPr>
        </p:nvSpPr>
        <p:spPr>
          <a:xfrm>
            <a:off x="381000" y="3012440"/>
            <a:ext cx="4967932" cy="393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rgbClr val="0070AD"/>
                </a:solidFill>
              </a:defRPr>
            </a:lvl1pPr>
          </a:lstStyle>
          <a:p>
            <a:pPr marL="0" lvl="0"/>
            <a:r>
              <a:rPr lang="en-US" dirty="0"/>
              <a:t>Click to insert presenter, location, and date</a:t>
            </a:r>
          </a:p>
        </p:txBody>
      </p:sp>
      <p:sp>
        <p:nvSpPr>
          <p:cNvPr id="11" name="Rectangle 10">
            <a:extLst>
              <a:ext uri="{FF2B5EF4-FFF2-40B4-BE49-F238E27FC236}">
                <a16:creationId xmlns:a16="http://schemas.microsoft.com/office/drawing/2014/main" id="{5827DC25-6CD7-9F46-A74D-241D75A9DD5E}"/>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982FB3A3-A1F6-9B42-80DA-DA22C4A6B7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82748" y="2204916"/>
            <a:ext cx="12833350" cy="4247664"/>
          </a:xfrm>
          <a:prstGeom prst="rect">
            <a:avLst/>
          </a:prstGeom>
        </p:spPr>
      </p:pic>
      <p:grpSp>
        <p:nvGrpSpPr>
          <p:cNvPr id="14" name="Group 13">
            <a:extLst>
              <a:ext uri="{FF2B5EF4-FFF2-40B4-BE49-F238E27FC236}">
                <a16:creationId xmlns:a16="http://schemas.microsoft.com/office/drawing/2014/main" id="{140E4388-20D6-0C44-A75C-5F1DC5F5EB95}"/>
              </a:ext>
            </a:extLst>
          </p:cNvPr>
          <p:cNvGrpSpPr/>
          <p:nvPr userDrawn="1"/>
        </p:nvGrpSpPr>
        <p:grpSpPr>
          <a:xfrm>
            <a:off x="415132" y="282945"/>
            <a:ext cx="4637802" cy="631882"/>
            <a:chOff x="415132" y="282945"/>
            <a:chExt cx="4637802" cy="631882"/>
          </a:xfrm>
        </p:grpSpPr>
        <p:grpSp>
          <p:nvGrpSpPr>
            <p:cNvPr id="15" name="Group 14">
              <a:extLst>
                <a:ext uri="{FF2B5EF4-FFF2-40B4-BE49-F238E27FC236}">
                  <a16:creationId xmlns:a16="http://schemas.microsoft.com/office/drawing/2014/main" id="{CFCA8C57-6924-4641-8598-80D02BAC813A}"/>
                </a:ext>
              </a:extLst>
            </p:cNvPr>
            <p:cNvGrpSpPr/>
            <p:nvPr userDrawn="1"/>
          </p:nvGrpSpPr>
          <p:grpSpPr>
            <a:xfrm>
              <a:off x="415132" y="319088"/>
              <a:ext cx="2491377" cy="595160"/>
              <a:chOff x="407988" y="978574"/>
              <a:chExt cx="2491377" cy="595160"/>
            </a:xfrm>
          </p:grpSpPr>
          <p:pic>
            <p:nvPicPr>
              <p:cNvPr id="19" name="Graphic 9">
                <a:extLst>
                  <a:ext uri="{FF2B5EF4-FFF2-40B4-BE49-F238E27FC236}">
                    <a16:creationId xmlns:a16="http://schemas.microsoft.com/office/drawing/2014/main" id="{2235DC85-E14C-F44A-A511-429CA64ABF2A}"/>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07988" y="1063721"/>
                <a:ext cx="2286000" cy="510013"/>
              </a:xfrm>
              <a:prstGeom prst="rect">
                <a:avLst/>
              </a:prstGeom>
            </p:spPr>
          </p:pic>
          <p:cxnSp>
            <p:nvCxnSpPr>
              <p:cNvPr id="20" name="Straight Connector 19">
                <a:extLst>
                  <a:ext uri="{FF2B5EF4-FFF2-40B4-BE49-F238E27FC236}">
                    <a16:creationId xmlns:a16="http://schemas.microsoft.com/office/drawing/2014/main" id="{718A6A81-ECEE-5C41-AE1C-719E9F4E44B1}"/>
                  </a:ext>
                </a:extLst>
              </p:cNvPr>
              <p:cNvCxnSpPr/>
              <p:nvPr userDrawn="1"/>
            </p:nvCxnSpPr>
            <p:spPr>
              <a:xfrm>
                <a:off x="2899365" y="978574"/>
                <a:ext cx="0" cy="55562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E88901-7525-8E4F-8C0B-C55BE0C2678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7972"/>
            <a:stretch/>
          </p:blipFill>
          <p:spPr>
            <a:xfrm>
              <a:off x="3106738" y="282945"/>
              <a:ext cx="1946196" cy="631882"/>
            </a:xfrm>
            <a:prstGeom prst="rect">
              <a:avLst/>
            </a:prstGeom>
          </p:spPr>
        </p:pic>
      </p:grpSp>
    </p:spTree>
    <p:extLst>
      <p:ext uri="{BB962C8B-B14F-4D97-AF65-F5344CB8AC3E}">
        <p14:creationId xmlns:p14="http://schemas.microsoft.com/office/powerpoint/2010/main" val="1358419915"/>
      </p:ext>
    </p:extLst>
  </p:cSld>
  <p:clrMapOvr>
    <a:masterClrMapping/>
  </p:clrMapOvr>
  <p:extLst>
    <p:ext uri="{DCECCB84-F9BA-43D5-87BE-67443E8EF086}">
      <p15:sldGuideLst xmlns:p15="http://schemas.microsoft.com/office/powerpoint/2012/main">
        <p15:guide id="1" pos="240">
          <p15:clr>
            <a:srgbClr val="FBAE40"/>
          </p15:clr>
        </p15:guide>
        <p15:guide id="2" orient="horz" pos="520">
          <p15:clr>
            <a:srgbClr val="FBAE40"/>
          </p15:clr>
        </p15:guide>
        <p15:guide id="3" orient="horz" pos="2152">
          <p15:clr>
            <a:srgbClr val="FBAE40"/>
          </p15:clr>
        </p15:guide>
        <p15:guide id="0" pos="74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98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10855143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436379" y="6431005"/>
            <a:ext cx="11326085" cy="94962"/>
            <a:chOff x="445128" y="6559056"/>
            <a:chExt cx="11553197" cy="96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79453" cy="96853"/>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1305738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403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11241589"/>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5059"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4293888792"/>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6083"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52444246"/>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7107"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9711157"/>
      </p:ext>
    </p:extLst>
  </p:cSld>
  <p:clrMapOvr>
    <a:masterClrMapping/>
  </p:clrMapOvr>
  <p:extLst>
    <p:ext uri="{DCECCB84-F9BA-43D5-87BE-67443E8EF086}">
      <p15:sldGuideLst xmlns:p15="http://schemas.microsoft.com/office/powerpoint/2012/main">
        <p15:guide id="1" pos="240">
          <p15:clr>
            <a:srgbClr val="FBAE40"/>
          </p15:clr>
        </p15:guide>
        <p15:guide id="2" orient="horz" pos="93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7_Cover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2049" y="2312504"/>
            <a:ext cx="12833350" cy="4247664"/>
          </a:xfrm>
          <a:prstGeom prst="rect">
            <a:avLst/>
          </a:prstGeom>
        </p:spPr>
      </p:pic>
      <p:grpSp>
        <p:nvGrpSpPr>
          <p:cNvPr id="45" name="Group 44"/>
          <p:cNvGrpSpPr/>
          <p:nvPr userDrawn="1"/>
        </p:nvGrpSpPr>
        <p:grpSpPr>
          <a:xfrm>
            <a:off x="415132" y="282945"/>
            <a:ext cx="4637802" cy="631882"/>
            <a:chOff x="415132" y="282945"/>
            <a:chExt cx="4637802" cy="631882"/>
          </a:xfrm>
        </p:grpSpPr>
        <p:grpSp>
          <p:nvGrpSpPr>
            <p:cNvPr id="34" name="Group 33"/>
            <p:cNvGrpSpPr/>
            <p:nvPr userDrawn="1"/>
          </p:nvGrpSpPr>
          <p:grpSpPr>
            <a:xfrm>
              <a:off x="415132" y="319088"/>
              <a:ext cx="2491377" cy="595160"/>
              <a:chOff x="407988" y="978574"/>
              <a:chExt cx="2491377" cy="595160"/>
            </a:xfrm>
          </p:grpSpPr>
          <p:pic>
            <p:nvPicPr>
              <p:cNvPr id="32" name="Graphic 9">
                <a:extLst>
                  <a:ext uri="{FF2B5EF4-FFF2-40B4-BE49-F238E27FC236}">
                    <a16:creationId xmlns:a16="http://schemas.microsoft.com/office/drawing/2014/main" id="{863705AF-E406-4555-84F3-D7D85A8B5D61}"/>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07988" y="1063721"/>
                <a:ext cx="2286000" cy="510013"/>
              </a:xfrm>
              <a:prstGeom prst="rect">
                <a:avLst/>
              </a:prstGeom>
            </p:spPr>
          </p:pic>
          <p:cxnSp>
            <p:nvCxnSpPr>
              <p:cNvPr id="33" name="Straight Connector 32">
                <a:extLst>
                  <a:ext uri="{FF2B5EF4-FFF2-40B4-BE49-F238E27FC236}">
                    <a16:creationId xmlns:a16="http://schemas.microsoft.com/office/drawing/2014/main" id="{5BC8EDD5-8762-403D-B2A8-54B05A5E905C}"/>
                  </a:ext>
                </a:extLst>
              </p:cNvPr>
              <p:cNvCxnSpPr/>
              <p:nvPr userDrawn="1"/>
            </p:nvCxnSpPr>
            <p:spPr>
              <a:xfrm>
                <a:off x="2899365" y="978574"/>
                <a:ext cx="0" cy="55562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2" name="Picture 11"/>
            <p:cNvPicPr>
              <a:picLocks noChangeAspect="1"/>
            </p:cNvPicPr>
            <p:nvPr userDrawn="1"/>
          </p:nvPicPr>
          <p:blipFill rotWithShape="1">
            <a:blip r:embed="rId5" cstate="email">
              <a:extLst>
                <a:ext uri="{28A0092B-C50C-407E-A947-70E740481C1C}">
                  <a14:useLocalDpi xmlns:a14="http://schemas.microsoft.com/office/drawing/2010/main"/>
                </a:ext>
              </a:extLst>
            </a:blip>
            <a:srcRect l="57972"/>
            <a:stretch/>
          </p:blipFill>
          <p:spPr>
            <a:xfrm>
              <a:off x="3106738" y="282945"/>
              <a:ext cx="1946196" cy="631882"/>
            </a:xfrm>
            <a:prstGeom prst="rect">
              <a:avLst/>
            </a:prstGeom>
          </p:spPr>
        </p:pic>
      </p:grpSp>
      <p:sp>
        <p:nvSpPr>
          <p:cNvPr id="16" name="Title 1">
            <a:extLst>
              <a:ext uri="{FF2B5EF4-FFF2-40B4-BE49-F238E27FC236}">
                <a16:creationId xmlns:a16="http://schemas.microsoft.com/office/drawing/2014/main" id="{7D6F175B-45C3-462F-A5E7-3F3AD5266C08}"/>
              </a:ext>
            </a:extLst>
          </p:cNvPr>
          <p:cNvSpPr>
            <a:spLocks noGrp="1"/>
          </p:cNvSpPr>
          <p:nvPr>
            <p:ph type="ctrTitle" hasCustomPrompt="1"/>
          </p:nvPr>
        </p:nvSpPr>
        <p:spPr>
          <a:xfrm>
            <a:off x="381000" y="216538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1" dirty="0">
                <a:solidFill>
                  <a:srgbClr val="0070AD"/>
                </a:solidFill>
              </a:defRPr>
            </a:lvl1pPr>
          </a:lstStyle>
          <a:p>
            <a:pPr marL="0" lvl="0"/>
            <a:r>
              <a:rPr lang="en-US" dirty="0"/>
              <a:t>Click to insert title</a:t>
            </a:r>
          </a:p>
        </p:txBody>
      </p:sp>
      <p:sp>
        <p:nvSpPr>
          <p:cNvPr id="17" name="Subtitle 2">
            <a:extLst>
              <a:ext uri="{FF2B5EF4-FFF2-40B4-BE49-F238E27FC236}">
                <a16:creationId xmlns:a16="http://schemas.microsoft.com/office/drawing/2014/main" id="{9AA2A9A7-D42C-4DBF-AFDD-FCD88B72168D}"/>
              </a:ext>
            </a:extLst>
          </p:cNvPr>
          <p:cNvSpPr>
            <a:spLocks noGrp="1"/>
          </p:cNvSpPr>
          <p:nvPr>
            <p:ph type="subTitle" idx="1" hasCustomPrompt="1"/>
          </p:nvPr>
        </p:nvSpPr>
        <p:spPr>
          <a:xfrm>
            <a:off x="381000" y="3012440"/>
            <a:ext cx="4967932" cy="393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2654298002"/>
      </p:ext>
    </p:extLst>
  </p:cSld>
  <p:clrMapOvr>
    <a:masterClrMapping/>
  </p:clrMapOvr>
  <p:extLst>
    <p:ext uri="{DCECCB84-F9BA-43D5-87BE-67443E8EF086}">
      <p15:sldGuideLst xmlns:p15="http://schemas.microsoft.com/office/powerpoint/2012/main">
        <p15:guide id="1" pos="240">
          <p15:clr>
            <a:srgbClr val="FBAE40"/>
          </p15:clr>
        </p15:guide>
        <p15:guide id="2" orient="horz" pos="520">
          <p15:clr>
            <a:srgbClr val="FBAE40"/>
          </p15:clr>
        </p15:guide>
        <p15:guide id="3" orient="horz" pos="2152">
          <p15:clr>
            <a:srgbClr val="FBAE40"/>
          </p15:clr>
        </p15:guide>
        <p15:guide id="0" pos="74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8_Cover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2049" y="2312504"/>
            <a:ext cx="12833350" cy="4247664"/>
          </a:xfrm>
          <a:prstGeom prst="rect">
            <a:avLst/>
          </a:prstGeom>
        </p:spPr>
      </p:pic>
      <p:sp>
        <p:nvSpPr>
          <p:cNvPr id="16" name="Title 1">
            <a:extLst>
              <a:ext uri="{FF2B5EF4-FFF2-40B4-BE49-F238E27FC236}">
                <a16:creationId xmlns:a16="http://schemas.microsoft.com/office/drawing/2014/main" id="{7D6F175B-45C3-462F-A5E7-3F3AD5266C08}"/>
              </a:ext>
            </a:extLst>
          </p:cNvPr>
          <p:cNvSpPr>
            <a:spLocks noGrp="1"/>
          </p:cNvSpPr>
          <p:nvPr>
            <p:ph type="ctrTitle" hasCustomPrompt="1"/>
          </p:nvPr>
        </p:nvSpPr>
        <p:spPr>
          <a:xfrm>
            <a:off x="381000" y="216538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1" dirty="0">
                <a:solidFill>
                  <a:srgbClr val="0070AD"/>
                </a:solidFill>
              </a:defRPr>
            </a:lvl1pPr>
          </a:lstStyle>
          <a:p>
            <a:pPr marL="0" lvl="0"/>
            <a:r>
              <a:rPr lang="en-US" dirty="0"/>
              <a:t>Click to insert title</a:t>
            </a:r>
          </a:p>
        </p:txBody>
      </p:sp>
      <p:sp>
        <p:nvSpPr>
          <p:cNvPr id="17" name="Subtitle 2">
            <a:extLst>
              <a:ext uri="{FF2B5EF4-FFF2-40B4-BE49-F238E27FC236}">
                <a16:creationId xmlns:a16="http://schemas.microsoft.com/office/drawing/2014/main" id="{9AA2A9A7-D42C-4DBF-AFDD-FCD88B72168D}"/>
              </a:ext>
            </a:extLst>
          </p:cNvPr>
          <p:cNvSpPr>
            <a:spLocks noGrp="1"/>
          </p:cNvSpPr>
          <p:nvPr>
            <p:ph type="subTitle" idx="1" hasCustomPrompt="1"/>
          </p:nvPr>
        </p:nvSpPr>
        <p:spPr>
          <a:xfrm>
            <a:off x="381000" y="3012440"/>
            <a:ext cx="4967932" cy="393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3931629800"/>
      </p:ext>
    </p:extLst>
  </p:cSld>
  <p:clrMapOvr>
    <a:masterClrMapping/>
  </p:clrMapOvr>
  <p:extLst>
    <p:ext uri="{DCECCB84-F9BA-43D5-87BE-67443E8EF086}">
      <p15:sldGuideLst xmlns:p15="http://schemas.microsoft.com/office/powerpoint/2012/main">
        <p15:guide id="1" pos="240">
          <p15:clr>
            <a:srgbClr val="FBAE40"/>
          </p15:clr>
        </p15:guide>
        <p15:guide id="2" orient="horz" pos="520">
          <p15:clr>
            <a:srgbClr val="FBAE40"/>
          </p15:clr>
        </p15:guide>
        <p15:guide id="3" orient="horz" pos="2152">
          <p15:clr>
            <a:srgbClr val="FBAE40"/>
          </p15:clr>
        </p15:guide>
        <p15:guide id="4" pos="74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9_Cover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45556" y="2127283"/>
            <a:ext cx="13316857" cy="4432885"/>
          </a:xfrm>
          <a:prstGeom prst="rect">
            <a:avLst/>
          </a:prstGeom>
        </p:spPr>
      </p:pic>
      <p:sp>
        <p:nvSpPr>
          <p:cNvPr id="16" name="Title 1">
            <a:extLst>
              <a:ext uri="{FF2B5EF4-FFF2-40B4-BE49-F238E27FC236}">
                <a16:creationId xmlns:a16="http://schemas.microsoft.com/office/drawing/2014/main" id="{7D6F175B-45C3-462F-A5E7-3F3AD5266C08}"/>
              </a:ext>
            </a:extLst>
          </p:cNvPr>
          <p:cNvSpPr>
            <a:spLocks noGrp="1"/>
          </p:cNvSpPr>
          <p:nvPr>
            <p:ph type="ctrTitle" hasCustomPrompt="1"/>
          </p:nvPr>
        </p:nvSpPr>
        <p:spPr>
          <a:xfrm>
            <a:off x="381000" y="216538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1" dirty="0">
                <a:solidFill>
                  <a:schemeClr val="tx1"/>
                </a:solidFill>
              </a:defRPr>
            </a:lvl1pPr>
          </a:lstStyle>
          <a:p>
            <a:pPr marL="0" lvl="0"/>
            <a:r>
              <a:rPr lang="en-US" dirty="0"/>
              <a:t>Click to insert title</a:t>
            </a:r>
          </a:p>
        </p:txBody>
      </p:sp>
    </p:spTree>
    <p:extLst>
      <p:ext uri="{BB962C8B-B14F-4D97-AF65-F5344CB8AC3E}">
        <p14:creationId xmlns:p14="http://schemas.microsoft.com/office/powerpoint/2010/main" val="1183125717"/>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Section Opener2">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E851BE-ACC6-4AF3-9537-4958EFAC4F2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userDrawn="1"/>
        </p:nvPicPr>
        <p:blipFill rotWithShape="1">
          <a:blip r:embed="rId2" cstate="email">
            <a:extLst>
              <a:ext uri="{28A0092B-C50C-407E-A947-70E740481C1C}">
                <a14:useLocalDpi xmlns:a14="http://schemas.microsoft.com/office/drawing/2010/main"/>
              </a:ext>
            </a:extLst>
          </a:blip>
          <a:srcRect l="164"/>
          <a:stretch/>
        </p:blipFill>
        <p:spPr>
          <a:xfrm>
            <a:off x="-1629647" y="2125328"/>
            <a:ext cx="13300948" cy="4434840"/>
          </a:xfrm>
          <a:prstGeom prst="rect">
            <a:avLst/>
          </a:prstGeom>
        </p:spPr>
      </p:pic>
      <p:sp>
        <p:nvSpPr>
          <p:cNvPr id="9" name="Title 1">
            <a:extLst>
              <a:ext uri="{FF2B5EF4-FFF2-40B4-BE49-F238E27FC236}">
                <a16:creationId xmlns:a16="http://schemas.microsoft.com/office/drawing/2014/main" id="{7D6F175B-45C3-462F-A5E7-3F3AD5266C08}"/>
              </a:ext>
            </a:extLst>
          </p:cNvPr>
          <p:cNvSpPr>
            <a:spLocks noGrp="1"/>
          </p:cNvSpPr>
          <p:nvPr>
            <p:ph type="ctrTitle" hasCustomPrompt="1"/>
          </p:nvPr>
        </p:nvSpPr>
        <p:spPr>
          <a:xfrm>
            <a:off x="381000" y="216538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1" dirty="0">
                <a:solidFill>
                  <a:schemeClr val="tx1"/>
                </a:solidFill>
              </a:defRPr>
            </a:lvl1pPr>
          </a:lstStyle>
          <a:p>
            <a:pPr marL="0" lvl="0"/>
            <a:r>
              <a:rPr lang="en-US" dirty="0"/>
              <a:t>Click to insert title</a:t>
            </a:r>
          </a:p>
        </p:txBody>
      </p:sp>
    </p:spTree>
    <p:extLst>
      <p:ext uri="{BB962C8B-B14F-4D97-AF65-F5344CB8AC3E}">
        <p14:creationId xmlns:p14="http://schemas.microsoft.com/office/powerpoint/2010/main" val="105202746"/>
      </p:ext>
    </p:extLst>
  </p:cSld>
  <p:clrMapOvr>
    <a:masterClrMapping/>
  </p:clrMapOvr>
  <p:extLst>
    <p:ext uri="{DCECCB84-F9BA-43D5-87BE-67443E8EF086}">
      <p15:sldGuideLst xmlns:p15="http://schemas.microsoft.com/office/powerpoint/2012/main">
        <p15:guide id="1" pos="734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p:nvGrpSpPr>
        <p:grpSpPr>
          <a:xfrm>
            <a:off x="416888" y="4537346"/>
            <a:ext cx="5040000" cy="1123654"/>
            <a:chOff x="728663" y="4465638"/>
            <a:chExt cx="5354637" cy="1193801"/>
          </a:xfrm>
        </p:grpSpPr>
        <p:sp>
          <p:nvSpPr>
            <p:cNvPr id="14" name="Freeform 11"/>
            <p:cNvSpPr>
              <a:spLocks/>
            </p:cNvSpPr>
            <p:nvPr/>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Freeform 7">
            <a:extLst>
              <a:ext uri="{FF2B5EF4-FFF2-40B4-BE49-F238E27FC236}">
                <a16:creationId xmlns:a16="http://schemas.microsoft.com/office/drawing/2014/main" id="{980C9992-FE24-FF49-85A3-40B9A9C0EBFA}"/>
              </a:ext>
            </a:extLst>
          </p:cNvPr>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20" name="Group 14">
            <a:extLst>
              <a:ext uri="{FF2B5EF4-FFF2-40B4-BE49-F238E27FC236}">
                <a16:creationId xmlns:a16="http://schemas.microsoft.com/office/drawing/2014/main" id="{4A8D34A0-F336-7142-A71C-1C5A45A79F41}"/>
              </a:ext>
            </a:extLst>
          </p:cNvPr>
          <p:cNvGrpSpPr>
            <a:grpSpLocks noChangeAspect="1"/>
          </p:cNvGrpSpPr>
          <p:nvPr userDrawn="1"/>
        </p:nvGrpSpPr>
        <p:grpSpPr>
          <a:xfrm>
            <a:off x="416888" y="4537346"/>
            <a:ext cx="5040000" cy="1123654"/>
            <a:chOff x="728663" y="4465638"/>
            <a:chExt cx="5354637" cy="1193801"/>
          </a:xfrm>
        </p:grpSpPr>
        <p:sp>
          <p:nvSpPr>
            <p:cNvPr id="21" name="Freeform 11">
              <a:extLst>
                <a:ext uri="{FF2B5EF4-FFF2-40B4-BE49-F238E27FC236}">
                  <a16:creationId xmlns:a16="http://schemas.microsoft.com/office/drawing/2014/main" id="{921164D6-9AED-5548-B30F-E95376F983A8}"/>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2">
              <a:extLst>
                <a:ext uri="{FF2B5EF4-FFF2-40B4-BE49-F238E27FC236}">
                  <a16:creationId xmlns:a16="http://schemas.microsoft.com/office/drawing/2014/main" id="{AA63D08D-7BA2-4047-ADF3-5ABEBD584A3D}"/>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13">
              <a:extLst>
                <a:ext uri="{FF2B5EF4-FFF2-40B4-BE49-F238E27FC236}">
                  <a16:creationId xmlns:a16="http://schemas.microsoft.com/office/drawing/2014/main" id="{1965E1D3-802F-ED4B-A2C1-60EE29182173}"/>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56E76E72-E667-854B-B510-8DF088E0C877}"/>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5">
              <a:extLst>
                <a:ext uri="{FF2B5EF4-FFF2-40B4-BE49-F238E27FC236}">
                  <a16:creationId xmlns:a16="http://schemas.microsoft.com/office/drawing/2014/main" id="{3E412B45-C41B-F642-9904-C1B4C6568BF2}"/>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50550078"/>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9_Section Opener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E851BE-ACC6-4AF3-9537-4958EFAC4F2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a:ext>
            </a:extLst>
          </a:blip>
          <a:srcRect l="-408" r="-62" b="-100"/>
          <a:stretch/>
        </p:blipFill>
        <p:spPr>
          <a:xfrm>
            <a:off x="-1714353" y="2125328"/>
            <a:ext cx="13385654" cy="4434840"/>
          </a:xfrm>
          <a:prstGeom prst="rect">
            <a:avLst/>
          </a:prstGeom>
        </p:spPr>
      </p:pic>
      <p:sp>
        <p:nvSpPr>
          <p:cNvPr id="6" name="Title 1">
            <a:extLst>
              <a:ext uri="{FF2B5EF4-FFF2-40B4-BE49-F238E27FC236}">
                <a16:creationId xmlns:a16="http://schemas.microsoft.com/office/drawing/2014/main" id="{7D6F175B-45C3-462F-A5E7-3F3AD5266C08}"/>
              </a:ext>
            </a:extLst>
          </p:cNvPr>
          <p:cNvSpPr>
            <a:spLocks noGrp="1"/>
          </p:cNvSpPr>
          <p:nvPr>
            <p:ph type="ctrTitle" hasCustomPrompt="1"/>
          </p:nvPr>
        </p:nvSpPr>
        <p:spPr>
          <a:xfrm>
            <a:off x="381000" y="216538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1" dirty="0">
                <a:solidFill>
                  <a:schemeClr val="tx1"/>
                </a:solidFill>
              </a:defRPr>
            </a:lvl1pPr>
          </a:lstStyle>
          <a:p>
            <a:pPr marL="0" lvl="0"/>
            <a:r>
              <a:rPr lang="en-US" dirty="0"/>
              <a:t>Click to insert title</a:t>
            </a:r>
          </a:p>
        </p:txBody>
      </p:sp>
    </p:spTree>
    <p:extLst>
      <p:ext uri="{BB962C8B-B14F-4D97-AF65-F5344CB8AC3E}">
        <p14:creationId xmlns:p14="http://schemas.microsoft.com/office/powerpoint/2010/main" val="291845423"/>
      </p:ext>
    </p:extLst>
  </p:cSld>
  <p:clrMapOvr>
    <a:masterClrMapping/>
  </p:clrMapOvr>
  <p:extLst>
    <p:ext uri="{DCECCB84-F9BA-43D5-87BE-67443E8EF086}">
      <p15:sldGuideLst xmlns:p15="http://schemas.microsoft.com/office/powerpoint/2012/main">
        <p15:guide id="1" pos="734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grpSp>
        <p:nvGrpSpPr>
          <p:cNvPr id="31" name="Group 30"/>
          <p:cNvGrpSpPr/>
          <p:nvPr userDrawn="1"/>
        </p:nvGrpSpPr>
        <p:grpSpPr>
          <a:xfrm>
            <a:off x="407988" y="2118167"/>
            <a:ext cx="11376025" cy="2683397"/>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sp>
        <p:nvSpPr>
          <p:cNvPr id="41" name="Rectangle 40"/>
          <p:cNvSpPr/>
          <p:nvPr userDrawn="1"/>
        </p:nvSpPr>
        <p:spPr>
          <a:xfrm>
            <a:off x="407988" y="4020686"/>
            <a:ext cx="3634857" cy="23222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2" name="Rectangle 41"/>
          <p:cNvSpPr/>
          <p:nvPr userDrawn="1"/>
        </p:nvSpPr>
        <p:spPr>
          <a:xfrm>
            <a:off x="4278571" y="4020686"/>
            <a:ext cx="3634857" cy="23222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3" name="Rectangle 42"/>
          <p:cNvSpPr/>
          <p:nvPr userDrawn="1"/>
        </p:nvSpPr>
        <p:spPr>
          <a:xfrm>
            <a:off x="8149156" y="4020686"/>
            <a:ext cx="3634857" cy="23222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nvGrpSpPr>
          <p:cNvPr id="44" name="Group 43"/>
          <p:cNvGrpSpPr/>
          <p:nvPr userDrawn="1"/>
        </p:nvGrpSpPr>
        <p:grpSpPr>
          <a:xfrm>
            <a:off x="8373319" y="3927105"/>
            <a:ext cx="1060048" cy="656220"/>
            <a:chOff x="402908" y="4604216"/>
            <a:chExt cx="920734" cy="569978"/>
          </a:xfrm>
        </p:grpSpPr>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46" name="TextBox 45"/>
            <p:cNvSpPr txBox="1"/>
            <p:nvPr/>
          </p:nvSpPr>
          <p:spPr>
            <a:xfrm>
              <a:off x="588264" y="4685498"/>
              <a:ext cx="477849" cy="347527"/>
            </a:xfrm>
            <a:prstGeom prst="rect">
              <a:avLst/>
            </a:prstGeom>
            <a:noFill/>
          </p:spPr>
          <p:txBody>
            <a:bodyPr wrap="none" rtlCol="0">
              <a:spAutoFit/>
            </a:bodyPr>
            <a:lstStyle/>
            <a:p>
              <a:r>
                <a:rPr lang="en-US" sz="2000" b="1">
                  <a:solidFill>
                    <a:schemeClr val="accent1"/>
                  </a:solidFill>
                </a:rPr>
                <a:t>03</a:t>
              </a:r>
            </a:p>
          </p:txBody>
        </p:sp>
      </p:grpSp>
      <p:grpSp>
        <p:nvGrpSpPr>
          <p:cNvPr id="47" name="Group 46"/>
          <p:cNvGrpSpPr/>
          <p:nvPr userDrawn="1"/>
        </p:nvGrpSpPr>
        <p:grpSpPr>
          <a:xfrm>
            <a:off x="4391628" y="3927105"/>
            <a:ext cx="1060048" cy="656220"/>
            <a:chOff x="402908" y="4604216"/>
            <a:chExt cx="920734" cy="569978"/>
          </a:xfrm>
        </p:grpSpPr>
        <p:pic>
          <p:nvPicPr>
            <p:cNvPr id="49"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3" name="TextBox 52"/>
            <p:cNvSpPr txBox="1"/>
            <p:nvPr/>
          </p:nvSpPr>
          <p:spPr>
            <a:xfrm>
              <a:off x="588264" y="4685498"/>
              <a:ext cx="477849" cy="347527"/>
            </a:xfrm>
            <a:prstGeom prst="rect">
              <a:avLst/>
            </a:prstGeom>
            <a:noFill/>
          </p:spPr>
          <p:txBody>
            <a:bodyPr wrap="none" rtlCol="0">
              <a:spAutoFit/>
            </a:bodyPr>
            <a:lstStyle/>
            <a:p>
              <a:r>
                <a:rPr lang="en-US" sz="2000" b="1">
                  <a:solidFill>
                    <a:schemeClr val="accent1"/>
                  </a:solidFill>
                </a:rPr>
                <a:t>02</a:t>
              </a:r>
            </a:p>
          </p:txBody>
        </p:sp>
      </p:grpSp>
      <p:grpSp>
        <p:nvGrpSpPr>
          <p:cNvPr id="54" name="Group 53"/>
          <p:cNvGrpSpPr/>
          <p:nvPr userDrawn="1"/>
        </p:nvGrpSpPr>
        <p:grpSpPr>
          <a:xfrm>
            <a:off x="617317" y="3927105"/>
            <a:ext cx="1060048" cy="656220"/>
            <a:chOff x="402908" y="4604216"/>
            <a:chExt cx="920734" cy="569978"/>
          </a:xfrm>
        </p:grpSpPr>
        <p:pic>
          <p:nvPicPr>
            <p:cNvPr id="55" name="Picture 5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6" name="TextBox 55"/>
            <p:cNvSpPr txBox="1"/>
            <p:nvPr/>
          </p:nvSpPr>
          <p:spPr>
            <a:xfrm>
              <a:off x="588264" y="4685498"/>
              <a:ext cx="477849" cy="347527"/>
            </a:xfrm>
            <a:prstGeom prst="rect">
              <a:avLst/>
            </a:prstGeom>
            <a:noFill/>
          </p:spPr>
          <p:txBody>
            <a:bodyPr wrap="none" rtlCol="0">
              <a:spAutoFit/>
            </a:bodyPr>
            <a:lstStyle/>
            <a:p>
              <a:r>
                <a:rPr lang="en-US" sz="2000" b="1">
                  <a:solidFill>
                    <a:schemeClr val="accent1"/>
                  </a:solidFill>
                </a:rPr>
                <a:t>01</a:t>
              </a:r>
            </a:p>
          </p:txBody>
        </p:sp>
      </p:grpSp>
      <p:pic>
        <p:nvPicPr>
          <p:cNvPr id="57" name="Picture 5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7741" y="1862571"/>
            <a:ext cx="3193059" cy="1978701"/>
          </a:xfrm>
          <a:prstGeom prst="rect">
            <a:avLst/>
          </a:prstGeom>
        </p:spPr>
      </p:pic>
      <p:pic>
        <p:nvPicPr>
          <p:cNvPr id="58" name="Picture 5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1384726" y="1360456"/>
            <a:ext cx="1694139" cy="1933432"/>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28541" y="1862571"/>
            <a:ext cx="3193059" cy="1978701"/>
          </a:xfrm>
          <a:prstGeom prst="rect">
            <a:avLst/>
          </a:prstGeom>
        </p:spPr>
      </p:pic>
      <p:pic>
        <p:nvPicPr>
          <p:cNvPr id="60" name="Picture 5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56701" y="1395468"/>
            <a:ext cx="2168659" cy="2008131"/>
          </a:xfrm>
          <a:prstGeom prst="rect">
            <a:avLst/>
          </a:prstGeom>
        </p:spPr>
      </p:pic>
      <p:pic>
        <p:nvPicPr>
          <p:cNvPr id="61" name="Picture 6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28381" y="1862571"/>
            <a:ext cx="3193059" cy="1978701"/>
          </a:xfrm>
          <a:prstGeom prst="rect">
            <a:avLst/>
          </a:prstGeom>
        </p:spPr>
      </p:pic>
      <p:pic>
        <p:nvPicPr>
          <p:cNvPr id="62" name="Picture 6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976360" y="1578863"/>
            <a:ext cx="1996972" cy="1727697"/>
          </a:xfrm>
          <a:prstGeom prst="rect">
            <a:avLst/>
          </a:prstGeom>
        </p:spPr>
      </p:pic>
      <p:sp>
        <p:nvSpPr>
          <p:cNvPr id="36" name="Text Placeholder 7">
            <a:extLst>
              <a:ext uri="{FF2B5EF4-FFF2-40B4-BE49-F238E27FC236}">
                <a16:creationId xmlns:a16="http://schemas.microsoft.com/office/drawing/2014/main" id="{4E956B68-B273-4648-AC4B-C9A05A745160}"/>
              </a:ext>
            </a:extLst>
          </p:cNvPr>
          <p:cNvSpPr>
            <a:spLocks noGrp="1"/>
          </p:cNvSpPr>
          <p:nvPr userDrawn="1">
            <p:ph type="body" sz="quarter" idx="32" hasCustomPrompt="1"/>
          </p:nvPr>
        </p:nvSpPr>
        <p:spPr>
          <a:xfrm>
            <a:off x="54843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userDrawn="1">
            <p:ph type="body" sz="quarter" idx="33" hasCustomPrompt="1"/>
          </p:nvPr>
        </p:nvSpPr>
        <p:spPr>
          <a:xfrm>
            <a:off x="43990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userDrawn="1">
            <p:ph type="body" sz="quarter" idx="34" hasCustomPrompt="1"/>
          </p:nvPr>
        </p:nvSpPr>
        <p:spPr>
          <a:xfrm>
            <a:off x="82598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Tree>
    <p:extLst>
      <p:ext uri="{BB962C8B-B14F-4D97-AF65-F5344CB8AC3E}">
        <p14:creationId xmlns:p14="http://schemas.microsoft.com/office/powerpoint/2010/main" val="4126750698"/>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Slide Master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 y="7"/>
          <a:ext cx="180997" cy="143985"/>
        </p:xfrm>
        <a:graphic>
          <a:graphicData uri="http://schemas.openxmlformats.org/presentationml/2006/ole">
            <mc:AlternateContent xmlns:mc="http://schemas.openxmlformats.org/markup-compatibility/2006">
              <mc:Choice xmlns:v="urn:schemas-microsoft-com:vml" Requires="v">
                <p:oleObj spid="_x0000_s5427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7"/>
                        <a:ext cx="180997"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a:xfrm>
            <a:off x="413068" y="418452"/>
            <a:ext cx="11083532" cy="859536"/>
          </a:xfrm>
          <a:prstGeom prst="rect">
            <a:avLst/>
          </a:prstGeom>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445631" y="1178866"/>
            <a:ext cx="11543057" cy="4643752"/>
          </a:xfrm>
          <a:prstGeom prst="rect">
            <a:avLst/>
          </a:prstGeom>
        </p:spPr>
        <p:txBody>
          <a:bodyPr/>
          <a:lstStyle>
            <a:lvl1pPr>
              <a:defRPr b="0"/>
            </a:lvl1pPr>
            <a:lvl5pPr>
              <a:buNone/>
              <a:defRPr/>
            </a:lvl5pPr>
          </a:lstStyle>
          <a:p>
            <a:pPr lvl="0"/>
            <a:r>
              <a:rPr lang="en-US" noProof="0" dirty="0"/>
              <a:t>Click to edit Ma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8931014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Autofit/>
          </a:bodyPr>
          <a:lstStyle>
            <a:lvl1pPr>
              <a:defRPr lang="pt-PT" dirty="0"/>
            </a:lvl1pPr>
          </a:lstStyle>
          <a:p>
            <a:pPr lvl="0">
              <a:lnSpc>
                <a:spcPts val="3000"/>
              </a:lnSpc>
            </a:pPr>
            <a:r>
              <a:rPr lang="en-US" dirty="0"/>
              <a:t>Click to add title</a:t>
            </a:r>
            <a:endParaRPr lang="pt-PT" dirty="0"/>
          </a:p>
        </p:txBody>
      </p:sp>
      <p:sp>
        <p:nvSpPr>
          <p:cNvPr id="8"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cxnSp>
        <p:nvCxnSpPr>
          <p:cNvPr id="13" name="Conector reto 49">
            <a:extLst>
              <a:ext uri="{FF2B5EF4-FFF2-40B4-BE49-F238E27FC236}">
                <a16:creationId xmlns:a16="http://schemas.microsoft.com/office/drawing/2014/main" id="{4A1076DA-E5DF-470B-AA53-2AFC63758F58}"/>
              </a:ext>
            </a:extLst>
          </p:cNvPr>
          <p:cNvCxnSpPr>
            <a:cxnSpLocks/>
          </p:cNvCxnSpPr>
          <p:nvPr userDrawn="1"/>
        </p:nvCxnSpPr>
        <p:spPr>
          <a:xfrm flipV="1">
            <a:off x="3990517"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tângulo 43">
            <a:extLst>
              <a:ext uri="{FF2B5EF4-FFF2-40B4-BE49-F238E27FC236}">
                <a16:creationId xmlns:a16="http://schemas.microsoft.com/office/drawing/2014/main" id="{4FABE650-7D07-4504-8BEF-3D36876E019C}"/>
              </a:ext>
            </a:extLst>
          </p:cNvPr>
          <p:cNvSpPr/>
          <p:nvPr userDrawn="1"/>
        </p:nvSpPr>
        <p:spPr>
          <a:xfrm>
            <a:off x="4161857" y="6603930"/>
            <a:ext cx="2039020" cy="123111"/>
          </a:xfrm>
          <a:prstGeom prst="rect">
            <a:avLst/>
          </a:prstGeom>
        </p:spPr>
        <p:txBody>
          <a:bodyPr wrap="none" lIns="0" tIns="0" rIns="0" bIns="0" anchor="ctr" anchorCtr="0">
            <a:spAutoFit/>
          </a:bodyPr>
          <a:lstStyle/>
          <a:p>
            <a:pPr algn="l">
              <a:lnSpc>
                <a:spcPct val="100000"/>
              </a:lnSpc>
            </a:pPr>
            <a:r>
              <a:rPr lang="en-US" sz="800">
                <a:solidFill>
                  <a:schemeClr val="bg2">
                    <a:lumMod val="50000"/>
                  </a:schemeClr>
                </a:solidFill>
                <a:cs typeface="Arial" panose="020B0604020202020204" pitchFamily="34" charset="0"/>
              </a:rPr>
              <a:t>© 2019 Capgemini. All rights reserved.</a:t>
            </a:r>
          </a:p>
        </p:txBody>
      </p:sp>
    </p:spTree>
    <p:extLst>
      <p:ext uri="{BB962C8B-B14F-4D97-AF65-F5344CB8AC3E}">
        <p14:creationId xmlns:p14="http://schemas.microsoft.com/office/powerpoint/2010/main" val="29385380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userDrawn="1"/>
        </p:nvSpPr>
        <p:spPr bwMode="auto">
          <a:xfrm>
            <a:off x="0" y="0"/>
            <a:ext cx="51816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151699833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750"/>
                                        <p:tgtEl>
                                          <p:spTgt spid="39"/>
                                        </p:tgtEl>
                                      </p:cBhvr>
                                    </p:animEffect>
                                  </p:childTnLst>
                                </p:cTn>
                              </p:par>
                              <p:par>
                                <p:cTn id="8" presetID="42" presetClass="path" presetSubtype="0" decel="100000" fill="hold" grpId="1" nodeType="withEffect">
                                  <p:stCondLst>
                                    <p:cond delay="250"/>
                                  </p:stCondLst>
                                  <p:childTnLst>
                                    <p:animMotion origin="layout" path="M 2.77556E-17 -0.15116 L 2.77556E-17 2.60209E-18 " pathEditMode="relative" rAng="0" ptsTypes="AA">
                                      <p:cBhvr>
                                        <p:cTn id="9" dur="2000" fill="hold"/>
                                        <p:tgtEl>
                                          <p:spTgt spid="39"/>
                                        </p:tgtEl>
                                        <p:attrNameLst>
                                          <p:attrName>ppt_x</p:attrName>
                                          <p:attrName>ppt_y</p:attrName>
                                        </p:attrNameLst>
                                      </p:cBhvr>
                                      <p:rCtr x="0" y="777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9" grpId="1" animBg="1"/>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Opener2">
    <p:bg>
      <p:bgPr>
        <a:solidFill>
          <a:schemeClr val="bg1"/>
        </a:solidFill>
        <a:effectLst/>
      </p:bgPr>
    </p:bg>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0218296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Title Only-white">
    <p:bg>
      <p:bgPr>
        <a:solidFill>
          <a:schemeClr val="bg2">
            <a:alpha val="0"/>
          </a:schemeClr>
        </a:solidFill>
        <a:effectLst/>
      </p:bgPr>
    </p:bg>
    <p:spTree>
      <p:nvGrpSpPr>
        <p:cNvPr id="1" name=""/>
        <p:cNvGrpSpPr/>
        <p:nvPr/>
      </p:nvGrpSpPr>
      <p:grpSpPr>
        <a:xfrm>
          <a:off x="0" y="0"/>
          <a:ext cx="0" cy="0"/>
          <a:chOff x="0" y="0"/>
          <a:chExt cx="0" cy="0"/>
        </a:xfrm>
      </p:grpSpPr>
      <p:sp>
        <p:nvSpPr>
          <p:cNvPr id="12" name="Freeform 11"/>
          <p:cNvSpPr>
            <a:spLocks noChangeAspect="1"/>
          </p:cNvSpPr>
          <p:nvPr userDrawn="1"/>
        </p:nvSpPr>
        <p:spPr bwMode="gray">
          <a:xfrm rot="10800000" flipH="1">
            <a:off x="1" y="1432501"/>
            <a:ext cx="5715000" cy="5433811"/>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837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0" rIns="0" bIns="0" rtlCol="0" anchor="t">
            <a:normAutofit/>
          </a:bodyPr>
          <a:lstStyle>
            <a:lvl1pPr>
              <a:defRPr lang="en-GB" dirty="0">
                <a:solidFill>
                  <a:schemeClr val="tx2"/>
                </a:solidFill>
              </a:defRPr>
            </a:lvl1pPr>
          </a:lstStyle>
          <a:p>
            <a:pPr lvl="0">
              <a:lnSpc>
                <a:spcPts val="3000"/>
              </a:lnSpc>
            </a:pPr>
            <a:endParaRPr lang="en-GB" dirty="0"/>
          </a:p>
        </p:txBody>
      </p:sp>
      <p:sp>
        <p:nvSpPr>
          <p:cNvPr id="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
        <p:nvSpPr>
          <p:cNvPr id="11" name="Rectangle 27">
            <a:extLst>
              <a:ext uri="{FF2B5EF4-FFF2-40B4-BE49-F238E27FC236}">
                <a16:creationId xmlns:a16="http://schemas.microsoft.com/office/drawing/2014/main" id="{3584817C-6B9D-4956-A404-AC2BA07AEDF9}"/>
              </a:ext>
            </a:extLst>
          </p:cNvPr>
          <p:cNvSpPr/>
          <p:nvPr userDrawn="1"/>
        </p:nvSpPr>
        <p:spPr>
          <a:xfrm>
            <a:off x="399153" y="65559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0">
                <a:solidFill>
                  <a:schemeClr val="bg2">
                    <a:lumMod val="75000"/>
                  </a:schemeClr>
                </a:solidFill>
                <a:latin typeface="Ubuntu" panose="020B0504030602030204" pitchFamily="34" charset="0"/>
                <a:cs typeface="Arial" panose="020B0604020202020204" pitchFamily="34" charset="0"/>
              </a:rPr>
              <a:t>Sogeti Global Overview   </a:t>
            </a:r>
            <a:r>
              <a:rPr lang="en-GB" sz="800" kern="0">
                <a:solidFill>
                  <a:schemeClr val="bg2">
                    <a:lumMod val="75000"/>
                  </a:schemeClr>
                </a:solidFill>
                <a:latin typeface="Ubuntu" panose="020B0504030602030204" pitchFamily="34" charset="0"/>
                <a:cs typeface="Arial" panose="020B0604020202020204" pitchFamily="34" charset="0"/>
              </a:rPr>
              <a:t>|   </a:t>
            </a:r>
            <a:r>
              <a:rPr lang="en-US" sz="800">
                <a:solidFill>
                  <a:schemeClr val="bg2">
                    <a:lumMod val="75000"/>
                  </a:schemeClr>
                </a:solidFill>
                <a:latin typeface="Ubuntu" panose="020B0504030602030204" pitchFamily="34" charset="0"/>
                <a:cs typeface="Arial" panose="020B0604020202020204" pitchFamily="34" charset="0"/>
              </a:rPr>
              <a:t>© 2019 Sogeti. All rights reserved.</a:t>
            </a:r>
            <a:endParaRPr lang="en-GB" sz="800" kern="0">
              <a:solidFill>
                <a:schemeClr val="bg2">
                  <a:lumMod val="75000"/>
                </a:schemeClr>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8223019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9395"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en-US"/>
              <a:t>Click to edit Master title style</a:t>
            </a:r>
            <a:endParaRPr lang="en-GB"/>
          </a:p>
        </p:txBody>
      </p:sp>
      <p:sp>
        <p:nvSpPr>
          <p:cNvPr id="14"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231351" y="3420284"/>
            <a:ext cx="4286594" cy="2993216"/>
          </a:xfrm>
          <a:prstGeom prst="rect">
            <a:avLst/>
          </a:prstGeom>
        </p:spPr>
        <p:txBody>
          <a:bodyPr>
            <a:noAutofit/>
          </a:bodyPr>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3F6EE60C-2261-45A0-AD6F-B5F767C57B57}"/>
              </a:ext>
            </a:extLst>
          </p:cNvPr>
          <p:cNvSpPr>
            <a:spLocks noGrp="1"/>
          </p:cNvSpPr>
          <p:nvPr>
            <p:ph type="body" sz="quarter" idx="29" hasCustomPrompt="1"/>
          </p:nvPr>
        </p:nvSpPr>
        <p:spPr>
          <a:xfrm>
            <a:off x="6981371" y="518014"/>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a:t>Click to insert title</a:t>
            </a:r>
          </a:p>
        </p:txBody>
      </p:sp>
      <p:sp>
        <p:nvSpPr>
          <p:cNvPr id="16" name="Text Placeholder 7">
            <a:extLst>
              <a:ext uri="{FF2B5EF4-FFF2-40B4-BE49-F238E27FC236}">
                <a16:creationId xmlns:a16="http://schemas.microsoft.com/office/drawing/2014/main" id="{ABE7F41D-73F9-4353-AE3F-71AB8377048D}"/>
              </a:ext>
            </a:extLst>
          </p:cNvPr>
          <p:cNvSpPr>
            <a:spLocks noGrp="1"/>
          </p:cNvSpPr>
          <p:nvPr>
            <p:ph type="body" sz="quarter" idx="30" hasCustomPrompt="1"/>
          </p:nvPr>
        </p:nvSpPr>
        <p:spPr>
          <a:xfrm>
            <a:off x="6981372" y="936969"/>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17" name="Text Placeholder 4">
            <a:extLst>
              <a:ext uri="{FF2B5EF4-FFF2-40B4-BE49-F238E27FC236}">
                <a16:creationId xmlns:a16="http://schemas.microsoft.com/office/drawing/2014/main" id="{83D9B326-443F-495A-B788-21C48AC85AE2}"/>
              </a:ext>
            </a:extLst>
          </p:cNvPr>
          <p:cNvSpPr>
            <a:spLocks noGrp="1"/>
          </p:cNvSpPr>
          <p:nvPr>
            <p:ph type="body" sz="quarter" idx="31" hasCustomPrompt="1"/>
          </p:nvPr>
        </p:nvSpPr>
        <p:spPr>
          <a:xfrm>
            <a:off x="6981371" y="4647262"/>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a:t>Click to insert title</a:t>
            </a:r>
          </a:p>
        </p:txBody>
      </p:sp>
      <p:sp>
        <p:nvSpPr>
          <p:cNvPr id="18" name="Text Placeholder 7">
            <a:extLst>
              <a:ext uri="{FF2B5EF4-FFF2-40B4-BE49-F238E27FC236}">
                <a16:creationId xmlns:a16="http://schemas.microsoft.com/office/drawing/2014/main" id="{00358894-025F-4D0E-AF6E-F99EDF29800A}"/>
              </a:ext>
            </a:extLst>
          </p:cNvPr>
          <p:cNvSpPr>
            <a:spLocks noGrp="1"/>
          </p:cNvSpPr>
          <p:nvPr>
            <p:ph type="body" sz="quarter" idx="32" hasCustomPrompt="1"/>
          </p:nvPr>
        </p:nvSpPr>
        <p:spPr>
          <a:xfrm>
            <a:off x="6981372" y="5066217"/>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19" name="Text Placeholder 4">
            <a:extLst>
              <a:ext uri="{FF2B5EF4-FFF2-40B4-BE49-F238E27FC236}">
                <a16:creationId xmlns:a16="http://schemas.microsoft.com/office/drawing/2014/main" id="{EE5AF299-5A92-48E3-B18F-F7FE7AB9EED4}"/>
              </a:ext>
            </a:extLst>
          </p:cNvPr>
          <p:cNvSpPr>
            <a:spLocks noGrp="1"/>
          </p:cNvSpPr>
          <p:nvPr>
            <p:ph type="body" sz="quarter" idx="33" hasCustomPrompt="1"/>
          </p:nvPr>
        </p:nvSpPr>
        <p:spPr>
          <a:xfrm>
            <a:off x="6981371" y="2563381"/>
            <a:ext cx="4020458" cy="412363"/>
          </a:xfrm>
          <a:prstGeom prst="rect">
            <a:avLst/>
          </a:prstGeom>
          <a:noFill/>
        </p:spPr>
        <p:txBody>
          <a:bodyPr anchor="ctr">
            <a:noAutofit/>
          </a:bodyPr>
          <a:lstStyle>
            <a:lvl1pPr algn="l">
              <a:defRPr sz="1600" b="1">
                <a:solidFill>
                  <a:srgbClr val="0070AD"/>
                </a:solidFill>
              </a:defRPr>
            </a:lvl1pPr>
            <a:lvl2pPr>
              <a:defRPr sz="1400"/>
            </a:lvl2pPr>
            <a:lvl3pPr>
              <a:defRPr sz="1200"/>
            </a:lvl3pPr>
            <a:lvl4pPr>
              <a:defRPr sz="1100"/>
            </a:lvl4pPr>
            <a:lvl5pPr>
              <a:defRPr sz="1100"/>
            </a:lvl5pPr>
          </a:lstStyle>
          <a:p>
            <a:pPr lvl="0"/>
            <a:r>
              <a:rPr lang="en-US"/>
              <a:t>Click to insert title</a:t>
            </a:r>
          </a:p>
        </p:txBody>
      </p:sp>
      <p:sp>
        <p:nvSpPr>
          <p:cNvPr id="20" name="Text Placeholder 7">
            <a:extLst>
              <a:ext uri="{FF2B5EF4-FFF2-40B4-BE49-F238E27FC236}">
                <a16:creationId xmlns:a16="http://schemas.microsoft.com/office/drawing/2014/main" id="{F951F368-6540-4675-9A52-0824638E0EF4}"/>
              </a:ext>
            </a:extLst>
          </p:cNvPr>
          <p:cNvSpPr>
            <a:spLocks noGrp="1"/>
          </p:cNvSpPr>
          <p:nvPr>
            <p:ph type="body" sz="quarter" idx="34" hasCustomPrompt="1"/>
          </p:nvPr>
        </p:nvSpPr>
        <p:spPr>
          <a:xfrm>
            <a:off x="6981372" y="2982336"/>
            <a:ext cx="4020458" cy="1177616"/>
          </a:xfrm>
          <a:prstGeom prst="rect">
            <a:avLst/>
          </a:prstGeom>
        </p:spPr>
        <p:txBody>
          <a:bodyPr>
            <a:noAutofit/>
          </a:bodyPr>
          <a:lstStyle>
            <a:lvl1pPr>
              <a:lnSpc>
                <a:spcPct val="100000"/>
              </a:lnSpc>
              <a:defRPr sz="1200"/>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ext</a:t>
            </a:r>
          </a:p>
          <a:p>
            <a:pPr lvl="1"/>
            <a:r>
              <a:rPr lang="en-US"/>
              <a:t>Second level</a:t>
            </a:r>
          </a:p>
          <a:p>
            <a:pPr lvl="2"/>
            <a:r>
              <a:rPr lang="en-US"/>
              <a:t>Third level</a:t>
            </a:r>
          </a:p>
          <a:p>
            <a:pPr lvl="3"/>
            <a:r>
              <a:rPr lang="en-US"/>
              <a:t>Fourth level</a:t>
            </a:r>
          </a:p>
        </p:txBody>
      </p:sp>
      <p:sp>
        <p:nvSpPr>
          <p:cNvPr id="21" name="Text Placeholder 4">
            <a:extLst>
              <a:ext uri="{FF2B5EF4-FFF2-40B4-BE49-F238E27FC236}">
                <a16:creationId xmlns:a16="http://schemas.microsoft.com/office/drawing/2014/main" id="{B7C16A20-D927-494E-94A9-49AF2E1FA010}"/>
              </a:ext>
            </a:extLst>
          </p:cNvPr>
          <p:cNvSpPr>
            <a:spLocks noGrp="1"/>
          </p:cNvSpPr>
          <p:nvPr>
            <p:ph type="body" sz="quarter" idx="35" hasCustomPrompt="1"/>
          </p:nvPr>
        </p:nvSpPr>
        <p:spPr>
          <a:xfrm>
            <a:off x="5713875" y="1040484"/>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a:t>Nº</a:t>
            </a:r>
          </a:p>
        </p:txBody>
      </p:sp>
      <p:sp>
        <p:nvSpPr>
          <p:cNvPr id="22" name="Text Placeholder 4">
            <a:extLst>
              <a:ext uri="{FF2B5EF4-FFF2-40B4-BE49-F238E27FC236}">
                <a16:creationId xmlns:a16="http://schemas.microsoft.com/office/drawing/2014/main" id="{936BACCD-6FBF-486E-81CB-3462560DA2CE}"/>
              </a:ext>
            </a:extLst>
          </p:cNvPr>
          <p:cNvSpPr>
            <a:spLocks noGrp="1"/>
          </p:cNvSpPr>
          <p:nvPr>
            <p:ph type="body" sz="quarter" idx="36" hasCustomPrompt="1"/>
          </p:nvPr>
        </p:nvSpPr>
        <p:spPr>
          <a:xfrm>
            <a:off x="5713875" y="299622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a:t>Nº</a:t>
            </a:r>
          </a:p>
        </p:txBody>
      </p:sp>
      <p:sp>
        <p:nvSpPr>
          <p:cNvPr id="23" name="Text Placeholder 4">
            <a:extLst>
              <a:ext uri="{FF2B5EF4-FFF2-40B4-BE49-F238E27FC236}">
                <a16:creationId xmlns:a16="http://schemas.microsoft.com/office/drawing/2014/main" id="{48E9C506-31EA-4D04-B660-3B4DB0704112}"/>
              </a:ext>
            </a:extLst>
          </p:cNvPr>
          <p:cNvSpPr>
            <a:spLocks noGrp="1"/>
          </p:cNvSpPr>
          <p:nvPr>
            <p:ph type="body" sz="quarter" idx="37" hasCustomPrompt="1"/>
          </p:nvPr>
        </p:nvSpPr>
        <p:spPr>
          <a:xfrm>
            <a:off x="5713875" y="5107841"/>
            <a:ext cx="863263" cy="482705"/>
          </a:xfrm>
          <a:prstGeom prst="rect">
            <a:avLst/>
          </a:prstGeom>
          <a:noFill/>
        </p:spPr>
        <p:txBody>
          <a:bodyPr wrap="none" anchor="ctr">
            <a:noAutofit/>
          </a:bodyPr>
          <a:lstStyle>
            <a:lvl1pPr algn="ctr">
              <a:defRPr sz="3600" b="0">
                <a:solidFill>
                  <a:srgbClr val="2C004B"/>
                </a:solidFill>
              </a:defRPr>
            </a:lvl1pPr>
            <a:lvl2pPr>
              <a:defRPr sz="1400"/>
            </a:lvl2pPr>
            <a:lvl3pPr>
              <a:defRPr sz="1200"/>
            </a:lvl3pPr>
            <a:lvl4pPr>
              <a:defRPr sz="1100"/>
            </a:lvl4pPr>
            <a:lvl5pPr>
              <a:defRPr sz="1100"/>
            </a:lvl5pPr>
          </a:lstStyle>
          <a:p>
            <a:pPr lvl="0"/>
            <a:r>
              <a:rPr lang="en-US"/>
              <a:t>Nº</a:t>
            </a:r>
          </a:p>
        </p:txBody>
      </p:sp>
    </p:spTree>
    <p:extLst>
      <p:ext uri="{BB962C8B-B14F-4D97-AF65-F5344CB8AC3E}">
        <p14:creationId xmlns:p14="http://schemas.microsoft.com/office/powerpoint/2010/main" val="8475179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041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153925360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0_Cover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2049" y="2312504"/>
            <a:ext cx="12833350" cy="4247664"/>
          </a:xfrm>
          <a:prstGeom prst="rect">
            <a:avLst/>
          </a:prstGeom>
        </p:spPr>
      </p:pic>
      <p:grpSp>
        <p:nvGrpSpPr>
          <p:cNvPr id="45" name="Group 44"/>
          <p:cNvGrpSpPr/>
          <p:nvPr userDrawn="1"/>
        </p:nvGrpSpPr>
        <p:grpSpPr>
          <a:xfrm>
            <a:off x="415132" y="282945"/>
            <a:ext cx="4637802" cy="631882"/>
            <a:chOff x="415132" y="282945"/>
            <a:chExt cx="4637802" cy="631882"/>
          </a:xfrm>
        </p:grpSpPr>
        <p:grpSp>
          <p:nvGrpSpPr>
            <p:cNvPr id="34" name="Group 33"/>
            <p:cNvGrpSpPr/>
            <p:nvPr userDrawn="1"/>
          </p:nvGrpSpPr>
          <p:grpSpPr>
            <a:xfrm>
              <a:off x="415132" y="319088"/>
              <a:ext cx="2491377" cy="595160"/>
              <a:chOff x="407988" y="978574"/>
              <a:chExt cx="2491377" cy="595160"/>
            </a:xfrm>
          </p:grpSpPr>
          <p:pic>
            <p:nvPicPr>
              <p:cNvPr id="32" name="Graphic 9">
                <a:extLst>
                  <a:ext uri="{FF2B5EF4-FFF2-40B4-BE49-F238E27FC236}">
                    <a16:creationId xmlns:a16="http://schemas.microsoft.com/office/drawing/2014/main" id="{863705AF-E406-4555-84F3-D7D85A8B5D61}"/>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07988" y="1063721"/>
                <a:ext cx="2286000" cy="510013"/>
              </a:xfrm>
              <a:prstGeom prst="rect">
                <a:avLst/>
              </a:prstGeom>
            </p:spPr>
          </p:pic>
          <p:cxnSp>
            <p:nvCxnSpPr>
              <p:cNvPr id="33" name="Straight Connector 32">
                <a:extLst>
                  <a:ext uri="{FF2B5EF4-FFF2-40B4-BE49-F238E27FC236}">
                    <a16:creationId xmlns:a16="http://schemas.microsoft.com/office/drawing/2014/main" id="{5BC8EDD5-8762-403D-B2A8-54B05A5E905C}"/>
                  </a:ext>
                </a:extLst>
              </p:cNvPr>
              <p:cNvCxnSpPr/>
              <p:nvPr userDrawn="1"/>
            </p:nvCxnSpPr>
            <p:spPr>
              <a:xfrm>
                <a:off x="2899365" y="978574"/>
                <a:ext cx="0" cy="55562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2" name="Picture 11"/>
            <p:cNvPicPr>
              <a:picLocks noChangeAspect="1"/>
            </p:cNvPicPr>
            <p:nvPr userDrawn="1"/>
          </p:nvPicPr>
          <p:blipFill rotWithShape="1">
            <a:blip r:embed="rId5" cstate="email">
              <a:extLst>
                <a:ext uri="{28A0092B-C50C-407E-A947-70E740481C1C}">
                  <a14:useLocalDpi xmlns:a14="http://schemas.microsoft.com/office/drawing/2010/main"/>
                </a:ext>
              </a:extLst>
            </a:blip>
            <a:srcRect l="57972"/>
            <a:stretch/>
          </p:blipFill>
          <p:spPr>
            <a:xfrm>
              <a:off x="3106738" y="282945"/>
              <a:ext cx="1946196" cy="631882"/>
            </a:xfrm>
            <a:prstGeom prst="rect">
              <a:avLst/>
            </a:prstGeom>
          </p:spPr>
        </p:pic>
      </p:grpSp>
      <p:sp>
        <p:nvSpPr>
          <p:cNvPr id="16" name="Title 1">
            <a:extLst>
              <a:ext uri="{FF2B5EF4-FFF2-40B4-BE49-F238E27FC236}">
                <a16:creationId xmlns:a16="http://schemas.microsoft.com/office/drawing/2014/main" id="{7D6F175B-45C3-462F-A5E7-3F3AD5266C08}"/>
              </a:ext>
            </a:extLst>
          </p:cNvPr>
          <p:cNvSpPr>
            <a:spLocks noGrp="1"/>
          </p:cNvSpPr>
          <p:nvPr>
            <p:ph type="ctrTitle" hasCustomPrompt="1"/>
          </p:nvPr>
        </p:nvSpPr>
        <p:spPr>
          <a:xfrm>
            <a:off x="381000" y="216538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1" dirty="0">
                <a:solidFill>
                  <a:srgbClr val="0070AD"/>
                </a:solidFill>
              </a:defRPr>
            </a:lvl1pPr>
          </a:lstStyle>
          <a:p>
            <a:pPr marL="0" lvl="0"/>
            <a:r>
              <a:rPr lang="en-US" dirty="0"/>
              <a:t>Click to insert title</a:t>
            </a:r>
          </a:p>
        </p:txBody>
      </p:sp>
      <p:sp>
        <p:nvSpPr>
          <p:cNvPr id="17" name="Subtitle 2">
            <a:extLst>
              <a:ext uri="{FF2B5EF4-FFF2-40B4-BE49-F238E27FC236}">
                <a16:creationId xmlns:a16="http://schemas.microsoft.com/office/drawing/2014/main" id="{9AA2A9A7-D42C-4DBF-AFDD-FCD88B72168D}"/>
              </a:ext>
            </a:extLst>
          </p:cNvPr>
          <p:cNvSpPr>
            <a:spLocks noGrp="1"/>
          </p:cNvSpPr>
          <p:nvPr>
            <p:ph type="subTitle" idx="1" hasCustomPrompt="1"/>
          </p:nvPr>
        </p:nvSpPr>
        <p:spPr>
          <a:xfrm>
            <a:off x="381000" y="3012440"/>
            <a:ext cx="4967932" cy="393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rgbClr val="0070AD"/>
                </a:solidFill>
              </a:defRPr>
            </a:lvl1pPr>
          </a:lstStyle>
          <a:p>
            <a:pPr marL="0" lvl="0"/>
            <a:r>
              <a:rPr lang="en-US" dirty="0"/>
              <a:t>Click to insert presenter, location, and date</a:t>
            </a:r>
          </a:p>
        </p:txBody>
      </p:sp>
    </p:spTree>
    <p:extLst>
      <p:ext uri="{BB962C8B-B14F-4D97-AF65-F5344CB8AC3E}">
        <p14:creationId xmlns:p14="http://schemas.microsoft.com/office/powerpoint/2010/main" val="1524221071"/>
      </p:ext>
    </p:extLst>
  </p:cSld>
  <p:clrMapOvr>
    <a:masterClrMapping/>
  </p:clrMapOvr>
  <p:extLst>
    <p:ext uri="{DCECCB84-F9BA-43D5-87BE-67443E8EF086}">
      <p15:sldGuideLst xmlns:p15="http://schemas.microsoft.com/office/powerpoint/2012/main">
        <p15:guide id="1" pos="240">
          <p15:clr>
            <a:srgbClr val="FBAE40"/>
          </p15:clr>
        </p15:guide>
        <p15:guide id="2" orient="horz" pos="520">
          <p15:clr>
            <a:srgbClr val="FBAE40"/>
          </p15:clr>
        </p15:guide>
        <p15:guide id="3" orient="horz" pos="2152">
          <p15:clr>
            <a:srgbClr val="FBAE40"/>
          </p15:clr>
        </p15:guide>
        <p15:guide id="0" pos="74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p:nvGrpSpPr>
        <p:grpSpPr>
          <a:xfrm>
            <a:off x="416888" y="4537346"/>
            <a:ext cx="5040000" cy="1123654"/>
            <a:chOff x="728663" y="4465638"/>
            <a:chExt cx="5354637" cy="1193801"/>
          </a:xfrm>
        </p:grpSpPr>
        <p:sp>
          <p:nvSpPr>
            <p:cNvPr id="16" name="Freeform 11"/>
            <p:cNvSpPr>
              <a:spLocks/>
            </p:cNvSpPr>
            <p:nvPr/>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
        <p:nvSpPr>
          <p:cNvPr id="12" name="Freeform 5">
            <a:extLst>
              <a:ext uri="{FF2B5EF4-FFF2-40B4-BE49-F238E27FC236}">
                <a16:creationId xmlns:a16="http://schemas.microsoft.com/office/drawing/2014/main" id="{59113A61-E5B8-924F-9367-39F9AAAD2804}"/>
              </a:ext>
            </a:extLst>
          </p:cNvPr>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3" name="Group 12">
            <a:extLst>
              <a:ext uri="{FF2B5EF4-FFF2-40B4-BE49-F238E27FC236}">
                <a16:creationId xmlns:a16="http://schemas.microsoft.com/office/drawing/2014/main" id="{BD2A59FF-F9AD-DD48-8B9E-4B8E35565CAC}"/>
              </a:ext>
            </a:extLst>
          </p:cNvPr>
          <p:cNvGrpSpPr>
            <a:grpSpLocks noChangeAspect="1"/>
          </p:cNvGrpSpPr>
          <p:nvPr userDrawn="1"/>
        </p:nvGrpSpPr>
        <p:grpSpPr>
          <a:xfrm>
            <a:off x="416888" y="4537346"/>
            <a:ext cx="5040000" cy="1123654"/>
            <a:chOff x="728663" y="4465638"/>
            <a:chExt cx="5354637" cy="1193801"/>
          </a:xfrm>
        </p:grpSpPr>
        <p:sp>
          <p:nvSpPr>
            <p:cNvPr id="14" name="Freeform 11">
              <a:extLst>
                <a:ext uri="{FF2B5EF4-FFF2-40B4-BE49-F238E27FC236}">
                  <a16:creationId xmlns:a16="http://schemas.microsoft.com/office/drawing/2014/main" id="{B88B9698-6930-4F49-B9EF-085767159417}"/>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2">
              <a:extLst>
                <a:ext uri="{FF2B5EF4-FFF2-40B4-BE49-F238E27FC236}">
                  <a16:creationId xmlns:a16="http://schemas.microsoft.com/office/drawing/2014/main" id="{95016BEA-38C8-9A40-B579-4860BF5E4CDF}"/>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13">
              <a:extLst>
                <a:ext uri="{FF2B5EF4-FFF2-40B4-BE49-F238E27FC236}">
                  <a16:creationId xmlns:a16="http://schemas.microsoft.com/office/drawing/2014/main" id="{670C8366-DC30-7E4D-B016-3DA391C97E36}"/>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4">
              <a:extLst>
                <a:ext uri="{FF2B5EF4-FFF2-40B4-BE49-F238E27FC236}">
                  <a16:creationId xmlns:a16="http://schemas.microsoft.com/office/drawing/2014/main" id="{CAFD9D39-8B7E-3142-98EE-5A9E05DD57AF}"/>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5">
              <a:extLst>
                <a:ext uri="{FF2B5EF4-FFF2-40B4-BE49-F238E27FC236}">
                  <a16:creationId xmlns:a16="http://schemas.microsoft.com/office/drawing/2014/main" id="{39029E48-9345-3B4C-A94D-847D22356498}"/>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84034403"/>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3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3656"/>
            <a:ext cx="9345612" cy="357187"/>
          </a:xfrm>
          <a:prstGeom prst="rect">
            <a:avLst/>
          </a:prstGeom>
        </p:spPr>
        <p:txBody>
          <a:bodyPr vert="horz" lIns="0" tIns="0" rIns="0" bIns="0" rtlCol="0" anchor="t">
            <a:noAutofit/>
          </a:bodyPr>
          <a:lstStyle>
            <a:lvl1pPr>
              <a:defRPr lang="pt-PT" sz="3200" dirty="0">
                <a:latin typeface="Ubuntu Light" panose="020B0604030602030204" pitchFamily="34" charset="0"/>
              </a:defRPr>
            </a:lvl1pPr>
          </a:lstStyle>
          <a:p>
            <a:pPr marL="0" lvl="0"/>
            <a:r>
              <a:rPr lang="en-US" dirty="0"/>
              <a:t>Click to add title</a:t>
            </a:r>
            <a:endParaRPr lang="pt-PT" dirty="0"/>
          </a:p>
        </p:txBody>
      </p:sp>
    </p:spTree>
    <p:extLst>
      <p:ext uri="{BB962C8B-B14F-4D97-AF65-F5344CB8AC3E}">
        <p14:creationId xmlns:p14="http://schemas.microsoft.com/office/powerpoint/2010/main" val="2548019289"/>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1" b="0" i="0">
                <a:solidFill>
                  <a:srgbClr val="0070AD"/>
                </a:solidFill>
                <a:latin typeface="Ubuntu Light"/>
                <a:cs typeface="Ubuntu Light"/>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455" b="0" i="0">
                <a:solidFill>
                  <a:srgbClr val="877591"/>
                </a:solidFill>
                <a:latin typeface="Ubuntu"/>
                <a:cs typeface="Ubuntu"/>
              </a:defRPr>
            </a:lvl1pPr>
          </a:lstStyle>
          <a:p>
            <a:pPr marL="7701" marR="3081">
              <a:spcBef>
                <a:spcPts val="24"/>
              </a:spcBef>
            </a:pPr>
            <a:r>
              <a:rPr lang="en-GB" spc="-21"/>
              <a:t>Aligning Cloud Strategy with </a:t>
            </a:r>
            <a:r>
              <a:rPr lang="en-GB" spc="-27"/>
              <a:t>EPM </a:t>
            </a:r>
            <a:r>
              <a:rPr lang="en-GB" spc="-21"/>
              <a:t>– Interactive </a:t>
            </a:r>
            <a:r>
              <a:rPr lang="en-GB" spc="-24"/>
              <a:t>Playbook </a:t>
            </a:r>
            <a:r>
              <a:rPr lang="en-GB" spc="-12"/>
              <a:t>| </a:t>
            </a:r>
            <a:r>
              <a:rPr lang="en-GB" spc="-21"/>
              <a:t>March, </a:t>
            </a:r>
            <a:r>
              <a:rPr lang="en-GB" spc="-24"/>
              <a:t>2019  </a:t>
            </a:r>
            <a:r>
              <a:rPr lang="en-GB" spc="-21"/>
              <a:t>Copyright </a:t>
            </a:r>
            <a:r>
              <a:rPr lang="en-GB" spc="-33"/>
              <a:t>© </a:t>
            </a:r>
            <a:r>
              <a:rPr lang="en-GB" spc="-24"/>
              <a:t>2019 </a:t>
            </a:r>
            <a:r>
              <a:rPr lang="en-GB" spc="-21"/>
              <a:t>Capgemini. </a:t>
            </a:r>
            <a:r>
              <a:rPr lang="en-GB" spc="-18"/>
              <a:t>All rights</a:t>
            </a:r>
            <a:r>
              <a:rPr lang="en-GB" spc="-9"/>
              <a:t> </a:t>
            </a:r>
            <a:r>
              <a:rPr lang="en-GB" spc="-21"/>
              <a:t>reserved.</a:t>
            </a:r>
          </a:p>
          <a:p>
            <a:pPr marL="7701">
              <a:lnSpc>
                <a:spcPts val="534"/>
              </a:lnSpc>
            </a:pPr>
            <a:r>
              <a:rPr lang="en-GB" spc="-24"/>
              <a:t>For </a:t>
            </a:r>
            <a:r>
              <a:rPr lang="en-GB" spc="-18"/>
              <a:t>internal </a:t>
            </a:r>
            <a:r>
              <a:rPr lang="en-GB" spc="-21"/>
              <a:t>use</a:t>
            </a:r>
            <a:r>
              <a:rPr lang="en-GB" spc="12"/>
              <a:t> </a:t>
            </a:r>
            <a:r>
              <a:rPr lang="en-GB" spc="-21"/>
              <a:t>only</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19</a:t>
            </a:fld>
            <a:endParaRPr lang="en-US"/>
          </a:p>
        </p:txBody>
      </p:sp>
      <p:sp>
        <p:nvSpPr>
          <p:cNvPr id="6" name="Holder 6"/>
          <p:cNvSpPr>
            <a:spLocks noGrp="1"/>
          </p:cNvSpPr>
          <p:nvPr>
            <p:ph type="sldNum" sz="quarter" idx="7"/>
          </p:nvPr>
        </p:nvSpPr>
        <p:spPr/>
        <p:txBody>
          <a:bodyPr lIns="0" tIns="0" rIns="0" bIns="0"/>
          <a:lstStyle>
            <a:lvl1pPr>
              <a:defRPr sz="455" b="0" i="0">
                <a:solidFill>
                  <a:srgbClr val="877591"/>
                </a:solidFill>
                <a:latin typeface="Ubuntu"/>
                <a:cs typeface="Ubuntu"/>
              </a:defRPr>
            </a:lvl1pPr>
          </a:lstStyle>
          <a:p>
            <a:pPr marL="15403">
              <a:spcBef>
                <a:spcPts val="24"/>
              </a:spcBef>
            </a:pPr>
            <a:fld id="{81D60167-4931-47E6-BA6A-407CBD079E47}" type="slidenum">
              <a:rPr lang="en-GB" spc="-24" smtClean="0"/>
              <a:pPr marL="15403">
                <a:spcBef>
                  <a:spcPts val="24"/>
                </a:spcBef>
              </a:pPr>
              <a:t>‹#›</a:t>
            </a:fld>
            <a:endParaRPr lang="en-GB" spc="-24"/>
          </a:p>
        </p:txBody>
      </p:sp>
    </p:spTree>
    <p:extLst>
      <p:ext uri="{BB962C8B-B14F-4D97-AF65-F5344CB8AC3E}">
        <p14:creationId xmlns:p14="http://schemas.microsoft.com/office/powerpoint/2010/main" val="24750094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2">
            <a:alpha val="0"/>
          </a:schemeClr>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FE68284C-4D42-CD48-A1BE-A7083CEC707F}"/>
              </a:ext>
            </a:extLst>
          </p:cNvPr>
          <p:cNvSpPr>
            <a:spLocks noChangeAspect="1"/>
          </p:cNvSpPr>
          <p:nvPr userDrawn="1"/>
        </p:nvSpPr>
        <p:spPr bwMode="gray">
          <a:xfrm rot="10800000" flipH="1">
            <a:off x="1" y="1432501"/>
            <a:ext cx="5715000" cy="5433811"/>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Tree>
    <p:extLst>
      <p:ext uri="{BB962C8B-B14F-4D97-AF65-F5344CB8AC3E}">
        <p14:creationId xmlns:p14="http://schemas.microsoft.com/office/powerpoint/2010/main" val="5245235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0" name="Rectangle 29">
            <a:hlinkClick r:id="rId2"/>
          </p:cNvPr>
          <p:cNvSpPr/>
          <p:nvPr userDrawn="1"/>
        </p:nvSpPr>
        <p:spPr>
          <a:xfrm>
            <a:off x="7175636" y="4555357"/>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a:solidFill>
                  <a:schemeClr val="bg1"/>
                </a:solidFill>
                <a:latin typeface="+mn-lt"/>
                <a:cs typeface="Arial"/>
              </a:rPr>
              <a:t>Copyright</a:t>
            </a:r>
            <a:r>
              <a:rPr lang="en-US" sz="800" baseline="30000" noProof="0">
                <a:solidFill>
                  <a:schemeClr val="bg1"/>
                </a:solidFill>
                <a:latin typeface="+mn-lt"/>
                <a:cs typeface="Arial"/>
              </a:rPr>
              <a:t>©</a:t>
            </a:r>
            <a:r>
              <a:rPr lang="en-US" sz="800" noProof="0">
                <a:solidFill>
                  <a:schemeClr val="bg1"/>
                </a:solidFill>
                <a:latin typeface="+mn-lt"/>
                <a:cs typeface="Arial"/>
              </a:rPr>
              <a:t> 2019 Sogeti. All rights reserved.</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187278" y="3962400"/>
            <a:ext cx="333195" cy="333195"/>
          </a:xfrm>
          <a:prstGeom prst="rect">
            <a:avLst/>
          </a:prstGeom>
          <a:noFill/>
        </p:spPr>
      </p:pic>
      <p:sp>
        <p:nvSpPr>
          <p:cNvPr id="2" name="Rectangle 1">
            <a:extLst>
              <a:ext uri="{FF2B5EF4-FFF2-40B4-BE49-F238E27FC236}">
                <a16:creationId xmlns:a16="http://schemas.microsoft.com/office/drawing/2014/main" id="{0E3C2673-1807-4027-99D1-CA99FA3059AF}"/>
              </a:ext>
            </a:extLst>
          </p:cNvPr>
          <p:cNvSpPr/>
          <p:nvPr userDrawn="1"/>
        </p:nvSpPr>
        <p:spPr>
          <a:xfrm>
            <a:off x="6507548" y="1672502"/>
            <a:ext cx="4824536" cy="3370153"/>
          </a:xfrm>
          <a:prstGeom prst="rect">
            <a:avLst/>
          </a:prstGeom>
        </p:spPr>
        <p:txBody>
          <a:bodyPr wrap="square">
            <a:spAutoFit/>
          </a:bodyPr>
          <a:lstStyle/>
          <a:p>
            <a:r>
              <a:rPr lang="en-GB" sz="1200" b="1"/>
              <a:t>About Sogeti</a:t>
            </a:r>
          </a:p>
          <a:p>
            <a:endParaRPr lang="en-GB" sz="1200" b="1"/>
          </a:p>
          <a:p>
            <a:r>
              <a:rPr lang="en-GB" sz="900"/>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fueled by AI and automation. With its hands-on ‘value in the making’ approach and passion for technology, Sogeti helps organizations implement their digital journeys at speed. </a:t>
            </a:r>
          </a:p>
          <a:p>
            <a:endParaRPr lang="en-GB" sz="900"/>
          </a:p>
          <a:p>
            <a:r>
              <a:rPr lang="en-GB" sz="900"/>
              <a:t>A global leader in consulting, technology services and digital transformation, the Capgemini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over 200,000 team members in more than 40 countries. The Group reported 2018 global revenues of EUR 13.2 billion. People matter, results count.</a:t>
            </a:r>
          </a:p>
          <a:p>
            <a:r>
              <a:rPr lang="en-GB" sz="900"/>
              <a:t> </a:t>
            </a:r>
          </a:p>
          <a:p>
            <a:r>
              <a:rPr lang="en-GB" sz="900"/>
              <a:t>Visit us at www.sogeti.com</a:t>
            </a:r>
          </a:p>
        </p:txBody>
      </p:sp>
    </p:spTree>
    <p:extLst>
      <p:ext uri="{BB962C8B-B14F-4D97-AF65-F5344CB8AC3E}">
        <p14:creationId xmlns:p14="http://schemas.microsoft.com/office/powerpoint/2010/main" val="8461793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8_Cover2">
    <p:bg>
      <p:bgPr>
        <a:solidFill>
          <a:srgbClr val="12ABDB"/>
        </a:solidFill>
        <a:effectLst/>
      </p:bgPr>
    </p:bg>
    <p:spTree>
      <p:nvGrpSpPr>
        <p:cNvPr id="1" name=""/>
        <p:cNvGrpSpPr/>
        <p:nvPr/>
      </p:nvGrpSpPr>
      <p:grpSpPr>
        <a:xfrm>
          <a:off x="0" y="0"/>
          <a:ext cx="0" cy="0"/>
          <a:chOff x="0" y="0"/>
          <a:chExt cx="0" cy="0"/>
        </a:xfrm>
      </p:grpSpPr>
      <p:sp>
        <p:nvSpPr>
          <p:cNvPr id="17" name="Freeform 16"/>
          <p:cNvSpPr/>
          <p:nvPr userDrawn="1"/>
        </p:nvSpPr>
        <p:spPr>
          <a:xfrm>
            <a:off x="-22987" y="0"/>
            <a:ext cx="6957187"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20" name="Title 1"/>
          <p:cNvSpPr>
            <a:spLocks noGrp="1"/>
          </p:cNvSpPr>
          <p:nvPr>
            <p:ph type="ctrTitle" hasCustomPrompt="1"/>
          </p:nvPr>
        </p:nvSpPr>
        <p:spPr>
          <a:xfrm>
            <a:off x="407988" y="1066800"/>
            <a:ext cx="4967932" cy="27059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ct val="80000"/>
              </a:lnSpc>
              <a:defRPr lang="en-US" sz="4400" b="1" dirty="0">
                <a:solidFill>
                  <a:schemeClr val="bg1"/>
                </a:solidFill>
                <a:latin typeface="Ubuntu" panose="020B0504030602030204" pitchFamily="34" charset="0"/>
              </a:defRPr>
            </a:lvl1pPr>
          </a:lstStyle>
          <a:p>
            <a:pPr marL="0" lvl="0"/>
            <a:r>
              <a:rPr lang="en-US"/>
              <a:t>Title of Presentation</a:t>
            </a:r>
          </a:p>
        </p:txBody>
      </p:sp>
      <p:sp>
        <p:nvSpPr>
          <p:cNvPr id="21" name="Subtitle 2"/>
          <p:cNvSpPr>
            <a:spLocks noGrp="1"/>
          </p:cNvSpPr>
          <p:nvPr>
            <p:ph type="subTitle" idx="1" hasCustomPrompt="1"/>
          </p:nvPr>
        </p:nvSpPr>
        <p:spPr>
          <a:xfrm>
            <a:off x="407988" y="3868616"/>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lang="en-US" sz="3600" dirty="0">
                <a:solidFill>
                  <a:schemeClr val="bg1"/>
                </a:solidFill>
                <a:latin typeface="Ubuntu Light" panose="020B0304030602030204" pitchFamily="34" charset="0"/>
              </a:defRPr>
            </a:lvl1pPr>
          </a:lstStyle>
          <a:p>
            <a:pPr marL="0" lvl="0"/>
            <a:r>
              <a:rPr lang="en-US"/>
              <a:t>Subtitle</a:t>
            </a:r>
          </a:p>
        </p:txBody>
      </p:sp>
    </p:spTree>
    <p:extLst>
      <p:ext uri="{BB962C8B-B14F-4D97-AF65-F5344CB8AC3E}">
        <p14:creationId xmlns:p14="http://schemas.microsoft.com/office/powerpoint/2010/main" val="971504709"/>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 presetClass="emph" presetSubtype="0" fill="hold" nodeType="withEffect" p14:presetBounceEnd="98750">
                                      <p:stCondLst>
                                        <p:cond delay="0"/>
                                      </p:stCondLst>
                                      <p:childTnLst>
                                        <p:animScale p14:bounceEnd="98750">
                                          <p:cBhvr>
                                            <p:cTn id="9" dur="24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6" presetClass="emph" presetSubtype="0" fill="hold" nodeType="withEffect">
                                      <p:stCondLst>
                                        <p:cond delay="0"/>
                                      </p:stCondLst>
                                      <p:childTnLst>
                                        <p:animScale>
                                          <p:cBhvr>
                                            <p:cTn id="9" dur="24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Opener3">
    <p:bg>
      <p:bgPr>
        <a:solidFill>
          <a:srgbClr val="12ABDB"/>
        </a:solidFill>
        <a:effectLst/>
      </p:bgPr>
    </p:bg>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422026337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Section Opener3">
    <p:bg>
      <p:bgPr>
        <a:solidFill>
          <a:srgbClr val="12ABDB"/>
        </a:solidFill>
        <a:effectLst/>
      </p:bgPr>
    </p:bg>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D2AB98B0-5601-437B-ADCC-9657FA8907D9}"/>
              </a:ext>
            </a:extLst>
          </p:cNvPr>
          <p:cNvGrpSpPr/>
          <p:nvPr userDrawn="1"/>
        </p:nvGrpSpPr>
        <p:grpSpPr>
          <a:xfrm flipH="1">
            <a:off x="685800" y="76200"/>
            <a:ext cx="4926011" cy="6269101"/>
            <a:chOff x="3870388" y="267159"/>
            <a:chExt cx="4165428" cy="6313815"/>
          </a:xfrm>
        </p:grpSpPr>
        <p:sp>
          <p:nvSpPr>
            <p:cNvPr id="7" name="object 5">
              <a:extLst>
                <a:ext uri="{FF2B5EF4-FFF2-40B4-BE49-F238E27FC236}">
                  <a16:creationId xmlns:a16="http://schemas.microsoft.com/office/drawing/2014/main" id="{D466221A-EB5A-4BD1-8F1A-49FCA7A9A149}"/>
                </a:ext>
              </a:extLst>
            </p:cNvPr>
            <p:cNvSpPr/>
            <p:nvPr/>
          </p:nvSpPr>
          <p:spPr>
            <a:xfrm>
              <a:off x="6701046" y="4057184"/>
              <a:ext cx="1334770" cy="1824989"/>
            </a:xfrm>
            <a:custGeom>
              <a:avLst/>
              <a:gdLst/>
              <a:ahLst/>
              <a:cxnLst/>
              <a:rect l="l" t="t" r="r" b="b"/>
              <a:pathLst>
                <a:path w="1334770" h="1824989">
                  <a:moveTo>
                    <a:pt x="90214" y="0"/>
                  </a:moveTo>
                  <a:lnTo>
                    <a:pt x="68980" y="3136"/>
                  </a:lnTo>
                  <a:lnTo>
                    <a:pt x="49390" y="11401"/>
                  </a:lnTo>
                  <a:lnTo>
                    <a:pt x="0" y="39925"/>
                  </a:lnTo>
                  <a:lnTo>
                    <a:pt x="1243025" y="757577"/>
                  </a:lnTo>
                  <a:lnTo>
                    <a:pt x="1243025" y="1824923"/>
                  </a:lnTo>
                  <a:lnTo>
                    <a:pt x="1292415" y="1796399"/>
                  </a:lnTo>
                  <a:lnTo>
                    <a:pt x="1322705" y="1766754"/>
                  </a:lnTo>
                  <a:lnTo>
                    <a:pt x="1334554" y="1723412"/>
                  </a:lnTo>
                  <a:lnTo>
                    <a:pt x="1334554" y="847188"/>
                  </a:lnTo>
                  <a:lnTo>
                    <a:pt x="1326011" y="782813"/>
                  </a:lnTo>
                  <a:lnTo>
                    <a:pt x="1301496" y="723820"/>
                  </a:lnTo>
                  <a:lnTo>
                    <a:pt x="1262665" y="673093"/>
                  </a:lnTo>
                  <a:lnTo>
                    <a:pt x="1211186" y="633510"/>
                  </a:lnTo>
                  <a:lnTo>
                    <a:pt x="133667" y="11401"/>
                  </a:lnTo>
                  <a:lnTo>
                    <a:pt x="112105" y="2564"/>
                  </a:lnTo>
                  <a:lnTo>
                    <a:pt x="90214" y="0"/>
                  </a:lnTo>
                  <a:close/>
                </a:path>
              </a:pathLst>
            </a:custGeom>
            <a:solidFill>
              <a:srgbClr val="098DB7"/>
            </a:solidFill>
          </p:spPr>
          <p:txBody>
            <a:bodyPr wrap="square" lIns="0" tIns="0" rIns="0" bIns="0" rtlCol="0"/>
            <a:lstStyle/>
            <a:p>
              <a:endParaRPr lang="en-GB"/>
            </a:p>
          </p:txBody>
        </p:sp>
        <p:sp>
          <p:nvSpPr>
            <p:cNvPr id="8" name="object 6">
              <a:extLst>
                <a:ext uri="{FF2B5EF4-FFF2-40B4-BE49-F238E27FC236}">
                  <a16:creationId xmlns:a16="http://schemas.microsoft.com/office/drawing/2014/main" id="{A396EB38-1D99-47A4-A93A-CFD778C82309}"/>
                </a:ext>
              </a:extLst>
            </p:cNvPr>
            <p:cNvSpPr/>
            <p:nvPr/>
          </p:nvSpPr>
          <p:spPr>
            <a:xfrm>
              <a:off x="6658904" y="4085702"/>
              <a:ext cx="1327785" cy="1807845"/>
            </a:xfrm>
            <a:custGeom>
              <a:avLst/>
              <a:gdLst/>
              <a:ahLst/>
              <a:cxnLst/>
              <a:rect l="l" t="t" r="r" b="b"/>
              <a:pathLst>
                <a:path w="1327784" h="1807845">
                  <a:moveTo>
                    <a:pt x="82960" y="0"/>
                  </a:moveTo>
                  <a:lnTo>
                    <a:pt x="42138" y="11405"/>
                  </a:lnTo>
                  <a:lnTo>
                    <a:pt x="11851" y="41055"/>
                  </a:lnTo>
                  <a:lnTo>
                    <a:pt x="0" y="84389"/>
                  </a:lnTo>
                  <a:lnTo>
                    <a:pt x="0" y="960612"/>
                  </a:lnTo>
                  <a:lnTo>
                    <a:pt x="5501" y="1012454"/>
                  </a:lnTo>
                  <a:lnTo>
                    <a:pt x="21439" y="1061217"/>
                  </a:lnTo>
                  <a:lnTo>
                    <a:pt x="46963" y="1105428"/>
                  </a:lnTo>
                  <a:lnTo>
                    <a:pt x="81223" y="1143614"/>
                  </a:lnTo>
                  <a:lnTo>
                    <a:pt x="123367" y="1174303"/>
                  </a:lnTo>
                  <a:lnTo>
                    <a:pt x="1200892" y="1796401"/>
                  </a:lnTo>
                  <a:lnTo>
                    <a:pt x="1244342" y="1807803"/>
                  </a:lnTo>
                  <a:lnTo>
                    <a:pt x="1285165" y="1796399"/>
                  </a:lnTo>
                  <a:lnTo>
                    <a:pt x="1315450" y="1766751"/>
                  </a:lnTo>
                  <a:lnTo>
                    <a:pt x="1327302" y="1723413"/>
                  </a:lnTo>
                  <a:lnTo>
                    <a:pt x="1327302" y="847189"/>
                  </a:lnTo>
                  <a:lnTo>
                    <a:pt x="1321800" y="795347"/>
                  </a:lnTo>
                  <a:lnTo>
                    <a:pt x="1305862" y="746584"/>
                  </a:lnTo>
                  <a:lnTo>
                    <a:pt x="1280338" y="702373"/>
                  </a:lnTo>
                  <a:lnTo>
                    <a:pt x="1246079" y="664187"/>
                  </a:lnTo>
                  <a:lnTo>
                    <a:pt x="1203934" y="633499"/>
                  </a:lnTo>
                  <a:lnTo>
                    <a:pt x="126415" y="11402"/>
                  </a:lnTo>
                  <a:lnTo>
                    <a:pt x="82960" y="0"/>
                  </a:lnTo>
                  <a:close/>
                </a:path>
              </a:pathLst>
            </a:custGeom>
            <a:solidFill>
              <a:srgbClr val="F5F5F5"/>
            </a:solidFill>
          </p:spPr>
          <p:txBody>
            <a:bodyPr wrap="square" lIns="0" tIns="0" rIns="0" bIns="0" rtlCol="0"/>
            <a:lstStyle/>
            <a:p>
              <a:endParaRPr lang="en-GB"/>
            </a:p>
          </p:txBody>
        </p:sp>
        <p:sp>
          <p:nvSpPr>
            <p:cNvPr id="9" name="object 7">
              <a:extLst>
                <a:ext uri="{FF2B5EF4-FFF2-40B4-BE49-F238E27FC236}">
                  <a16:creationId xmlns:a16="http://schemas.microsoft.com/office/drawing/2014/main" id="{8698F1CA-0E14-4EEC-AEFF-2D01F27F841A}"/>
                </a:ext>
              </a:extLst>
            </p:cNvPr>
            <p:cNvSpPr/>
            <p:nvPr/>
          </p:nvSpPr>
          <p:spPr>
            <a:xfrm>
              <a:off x="6778264" y="4194987"/>
              <a:ext cx="1033780" cy="1557655"/>
            </a:xfrm>
            <a:custGeom>
              <a:avLst/>
              <a:gdLst/>
              <a:ahLst/>
              <a:cxnLst/>
              <a:rect l="l" t="t" r="r" b="b"/>
              <a:pathLst>
                <a:path w="1033779" h="1557654">
                  <a:moveTo>
                    <a:pt x="48306" y="0"/>
                  </a:moveTo>
                  <a:lnTo>
                    <a:pt x="24536" y="6640"/>
                  </a:lnTo>
                  <a:lnTo>
                    <a:pt x="6900" y="23903"/>
                  </a:lnTo>
                  <a:lnTo>
                    <a:pt x="0" y="49132"/>
                  </a:lnTo>
                  <a:lnTo>
                    <a:pt x="0" y="919362"/>
                  </a:lnTo>
                  <a:lnTo>
                    <a:pt x="17926" y="986251"/>
                  </a:lnTo>
                  <a:lnTo>
                    <a:pt x="66903" y="1035224"/>
                  </a:lnTo>
                  <a:lnTo>
                    <a:pt x="959801" y="1550733"/>
                  </a:lnTo>
                  <a:lnTo>
                    <a:pt x="985092" y="1557374"/>
                  </a:lnTo>
                  <a:lnTo>
                    <a:pt x="1008865" y="1550730"/>
                  </a:lnTo>
                  <a:lnTo>
                    <a:pt x="1026498" y="1533467"/>
                  </a:lnTo>
                  <a:lnTo>
                    <a:pt x="1033399" y="1508235"/>
                  </a:lnTo>
                  <a:lnTo>
                    <a:pt x="1033399" y="638019"/>
                  </a:lnTo>
                  <a:lnTo>
                    <a:pt x="1015472" y="571118"/>
                  </a:lnTo>
                  <a:lnTo>
                    <a:pt x="966495" y="522144"/>
                  </a:lnTo>
                  <a:lnTo>
                    <a:pt x="73609" y="6638"/>
                  </a:lnTo>
                  <a:lnTo>
                    <a:pt x="48306" y="0"/>
                  </a:lnTo>
                  <a:close/>
                </a:path>
              </a:pathLst>
            </a:custGeom>
            <a:solidFill>
              <a:srgbClr val="CEE8F1"/>
            </a:solidFill>
          </p:spPr>
          <p:txBody>
            <a:bodyPr wrap="square" lIns="0" tIns="0" rIns="0" bIns="0" rtlCol="0"/>
            <a:lstStyle/>
            <a:p>
              <a:endParaRPr lang="en-GB"/>
            </a:p>
          </p:txBody>
        </p:sp>
        <p:sp>
          <p:nvSpPr>
            <p:cNvPr id="10" name="object 8">
              <a:extLst>
                <a:ext uri="{FF2B5EF4-FFF2-40B4-BE49-F238E27FC236}">
                  <a16:creationId xmlns:a16="http://schemas.microsoft.com/office/drawing/2014/main" id="{C6B28315-7863-4A1B-AAA5-5E734DB1DBF8}"/>
                </a:ext>
              </a:extLst>
            </p:cNvPr>
            <p:cNvSpPr/>
            <p:nvPr/>
          </p:nvSpPr>
          <p:spPr>
            <a:xfrm>
              <a:off x="7835600" y="5236033"/>
              <a:ext cx="120923" cy="153886"/>
            </a:xfrm>
            <a:prstGeom prst="rect">
              <a:avLst/>
            </a:prstGeom>
            <a:blipFill>
              <a:blip r:embed="rId2" cstate="print"/>
              <a:stretch>
                <a:fillRect/>
              </a:stretch>
            </a:blipFill>
          </p:spPr>
          <p:txBody>
            <a:bodyPr wrap="square" lIns="0" tIns="0" rIns="0" bIns="0" rtlCol="0"/>
            <a:lstStyle/>
            <a:p>
              <a:endParaRPr lang="en-GB"/>
            </a:p>
          </p:txBody>
        </p:sp>
        <p:sp>
          <p:nvSpPr>
            <p:cNvPr id="11" name="object 9">
              <a:extLst>
                <a:ext uri="{FF2B5EF4-FFF2-40B4-BE49-F238E27FC236}">
                  <a16:creationId xmlns:a16="http://schemas.microsoft.com/office/drawing/2014/main" id="{741E2B00-8169-405F-A553-6330C371632C}"/>
                </a:ext>
              </a:extLst>
            </p:cNvPr>
            <p:cNvSpPr/>
            <p:nvPr/>
          </p:nvSpPr>
          <p:spPr>
            <a:xfrm>
              <a:off x="6693542" y="4441126"/>
              <a:ext cx="50800" cy="352425"/>
            </a:xfrm>
            <a:custGeom>
              <a:avLst/>
              <a:gdLst/>
              <a:ahLst/>
              <a:cxnLst/>
              <a:rect l="l" t="t" r="r" b="b"/>
              <a:pathLst>
                <a:path w="50800" h="352425">
                  <a:moveTo>
                    <a:pt x="15403" y="0"/>
                  </a:moveTo>
                  <a:lnTo>
                    <a:pt x="7386" y="778"/>
                  </a:lnTo>
                  <a:lnTo>
                    <a:pt x="1981" y="5676"/>
                  </a:lnTo>
                  <a:lnTo>
                    <a:pt x="0" y="14351"/>
                  </a:lnTo>
                  <a:lnTo>
                    <a:pt x="0" y="308890"/>
                  </a:lnTo>
                  <a:lnTo>
                    <a:pt x="25222" y="348666"/>
                  </a:lnTo>
                  <a:lnTo>
                    <a:pt x="35042" y="352350"/>
                  </a:lnTo>
                  <a:lnTo>
                    <a:pt x="43064" y="351573"/>
                  </a:lnTo>
                  <a:lnTo>
                    <a:pt x="48473" y="346678"/>
                  </a:lnTo>
                  <a:lnTo>
                    <a:pt x="50457" y="338011"/>
                  </a:lnTo>
                  <a:lnTo>
                    <a:pt x="50457" y="43460"/>
                  </a:lnTo>
                  <a:lnTo>
                    <a:pt x="25222" y="3683"/>
                  </a:lnTo>
                  <a:lnTo>
                    <a:pt x="15403" y="0"/>
                  </a:lnTo>
                  <a:close/>
                </a:path>
              </a:pathLst>
            </a:custGeom>
            <a:solidFill>
              <a:srgbClr val="098DB7"/>
            </a:solidFill>
          </p:spPr>
          <p:txBody>
            <a:bodyPr wrap="square" lIns="0" tIns="0" rIns="0" bIns="0" rtlCol="0"/>
            <a:lstStyle/>
            <a:p>
              <a:endParaRPr lang="en-GB"/>
            </a:p>
          </p:txBody>
        </p:sp>
        <p:sp>
          <p:nvSpPr>
            <p:cNvPr id="13" name="object 10">
              <a:extLst>
                <a:ext uri="{FF2B5EF4-FFF2-40B4-BE49-F238E27FC236}">
                  <a16:creationId xmlns:a16="http://schemas.microsoft.com/office/drawing/2014/main" id="{3EB85F86-A18A-44EA-8E84-A3610349CC24}"/>
                </a:ext>
              </a:extLst>
            </p:cNvPr>
            <p:cNvSpPr/>
            <p:nvPr/>
          </p:nvSpPr>
          <p:spPr>
            <a:xfrm>
              <a:off x="7396691" y="4880978"/>
              <a:ext cx="71755" cy="481965"/>
            </a:xfrm>
            <a:custGeom>
              <a:avLst/>
              <a:gdLst/>
              <a:ahLst/>
              <a:cxnLst/>
              <a:rect l="l" t="t" r="r" b="b"/>
              <a:pathLst>
                <a:path w="71754" h="481964">
                  <a:moveTo>
                    <a:pt x="0" y="0"/>
                  </a:moveTo>
                  <a:lnTo>
                    <a:pt x="0" y="440118"/>
                  </a:lnTo>
                  <a:lnTo>
                    <a:pt x="71716" y="481520"/>
                  </a:lnTo>
                  <a:lnTo>
                    <a:pt x="71716" y="41402"/>
                  </a:lnTo>
                  <a:lnTo>
                    <a:pt x="0" y="0"/>
                  </a:lnTo>
                  <a:close/>
                </a:path>
              </a:pathLst>
            </a:custGeom>
            <a:solidFill>
              <a:srgbClr val="005A82"/>
            </a:solidFill>
          </p:spPr>
          <p:txBody>
            <a:bodyPr wrap="square" lIns="0" tIns="0" rIns="0" bIns="0" rtlCol="0"/>
            <a:lstStyle/>
            <a:p>
              <a:endParaRPr lang="en-GB"/>
            </a:p>
          </p:txBody>
        </p:sp>
        <p:sp>
          <p:nvSpPr>
            <p:cNvPr id="14" name="object 11">
              <a:extLst>
                <a:ext uri="{FF2B5EF4-FFF2-40B4-BE49-F238E27FC236}">
                  <a16:creationId xmlns:a16="http://schemas.microsoft.com/office/drawing/2014/main" id="{7309D9DC-5B63-43E8-B306-C5C320EF046F}"/>
                </a:ext>
              </a:extLst>
            </p:cNvPr>
            <p:cNvSpPr/>
            <p:nvPr/>
          </p:nvSpPr>
          <p:spPr>
            <a:xfrm>
              <a:off x="7277859" y="4934783"/>
              <a:ext cx="71755" cy="332740"/>
            </a:xfrm>
            <a:custGeom>
              <a:avLst/>
              <a:gdLst/>
              <a:ahLst/>
              <a:cxnLst/>
              <a:rect l="l" t="t" r="r" b="b"/>
              <a:pathLst>
                <a:path w="71754" h="332739">
                  <a:moveTo>
                    <a:pt x="0" y="0"/>
                  </a:moveTo>
                  <a:lnTo>
                    <a:pt x="0" y="291211"/>
                  </a:lnTo>
                  <a:lnTo>
                    <a:pt x="71716" y="332613"/>
                  </a:lnTo>
                  <a:lnTo>
                    <a:pt x="71716" y="41402"/>
                  </a:lnTo>
                  <a:lnTo>
                    <a:pt x="0" y="0"/>
                  </a:lnTo>
                  <a:close/>
                </a:path>
              </a:pathLst>
            </a:custGeom>
            <a:solidFill>
              <a:srgbClr val="005A82"/>
            </a:solidFill>
          </p:spPr>
          <p:txBody>
            <a:bodyPr wrap="square" lIns="0" tIns="0" rIns="0" bIns="0" rtlCol="0"/>
            <a:lstStyle/>
            <a:p>
              <a:endParaRPr lang="en-GB"/>
            </a:p>
          </p:txBody>
        </p:sp>
        <p:sp>
          <p:nvSpPr>
            <p:cNvPr id="15" name="object 12">
              <a:extLst>
                <a:ext uri="{FF2B5EF4-FFF2-40B4-BE49-F238E27FC236}">
                  <a16:creationId xmlns:a16="http://schemas.microsoft.com/office/drawing/2014/main" id="{B7938481-B7C7-4AA0-A290-F70EF662CC72}"/>
                </a:ext>
              </a:extLst>
            </p:cNvPr>
            <p:cNvSpPr/>
            <p:nvPr/>
          </p:nvSpPr>
          <p:spPr>
            <a:xfrm>
              <a:off x="7159029" y="4966505"/>
              <a:ext cx="71755" cy="232410"/>
            </a:xfrm>
            <a:custGeom>
              <a:avLst/>
              <a:gdLst/>
              <a:ahLst/>
              <a:cxnLst/>
              <a:rect l="l" t="t" r="r" b="b"/>
              <a:pathLst>
                <a:path w="71754" h="232410">
                  <a:moveTo>
                    <a:pt x="0" y="0"/>
                  </a:moveTo>
                  <a:lnTo>
                    <a:pt x="0" y="190880"/>
                  </a:lnTo>
                  <a:lnTo>
                    <a:pt x="71716" y="232282"/>
                  </a:lnTo>
                  <a:lnTo>
                    <a:pt x="71716" y="41401"/>
                  </a:lnTo>
                  <a:lnTo>
                    <a:pt x="0" y="0"/>
                  </a:lnTo>
                  <a:close/>
                </a:path>
              </a:pathLst>
            </a:custGeom>
            <a:solidFill>
              <a:srgbClr val="005A82"/>
            </a:solidFill>
          </p:spPr>
          <p:txBody>
            <a:bodyPr wrap="square" lIns="0" tIns="0" rIns="0" bIns="0" rtlCol="0"/>
            <a:lstStyle/>
            <a:p>
              <a:endParaRPr lang="en-GB"/>
            </a:p>
          </p:txBody>
        </p:sp>
        <p:sp>
          <p:nvSpPr>
            <p:cNvPr id="16" name="object 13">
              <a:extLst>
                <a:ext uri="{FF2B5EF4-FFF2-40B4-BE49-F238E27FC236}">
                  <a16:creationId xmlns:a16="http://schemas.microsoft.com/office/drawing/2014/main" id="{BDCB2F67-50E2-4A2F-96BC-B20D96EE32FF}"/>
                </a:ext>
              </a:extLst>
            </p:cNvPr>
            <p:cNvSpPr/>
            <p:nvPr/>
          </p:nvSpPr>
          <p:spPr>
            <a:xfrm>
              <a:off x="7040202" y="4966454"/>
              <a:ext cx="71755" cy="163830"/>
            </a:xfrm>
            <a:custGeom>
              <a:avLst/>
              <a:gdLst/>
              <a:ahLst/>
              <a:cxnLst/>
              <a:rect l="l" t="t" r="r" b="b"/>
              <a:pathLst>
                <a:path w="71754" h="163829">
                  <a:moveTo>
                    <a:pt x="0" y="0"/>
                  </a:moveTo>
                  <a:lnTo>
                    <a:pt x="0" y="122326"/>
                  </a:lnTo>
                  <a:lnTo>
                    <a:pt x="71716" y="163728"/>
                  </a:lnTo>
                  <a:lnTo>
                    <a:pt x="71716" y="41402"/>
                  </a:lnTo>
                  <a:lnTo>
                    <a:pt x="0" y="0"/>
                  </a:lnTo>
                  <a:close/>
                </a:path>
              </a:pathLst>
            </a:custGeom>
            <a:solidFill>
              <a:srgbClr val="005A82"/>
            </a:solidFill>
          </p:spPr>
          <p:txBody>
            <a:bodyPr wrap="square" lIns="0" tIns="0" rIns="0" bIns="0" rtlCol="0"/>
            <a:lstStyle/>
            <a:p>
              <a:endParaRPr lang="en-GB"/>
            </a:p>
          </p:txBody>
        </p:sp>
        <p:sp>
          <p:nvSpPr>
            <p:cNvPr id="17" name="object 14">
              <a:extLst>
                <a:ext uri="{FF2B5EF4-FFF2-40B4-BE49-F238E27FC236}">
                  <a16:creationId xmlns:a16="http://schemas.microsoft.com/office/drawing/2014/main" id="{FBCA02A0-E20C-4271-A2A0-2545E844FB85}"/>
                </a:ext>
              </a:extLst>
            </p:cNvPr>
            <p:cNvSpPr/>
            <p:nvPr/>
          </p:nvSpPr>
          <p:spPr>
            <a:xfrm>
              <a:off x="6921368" y="4967291"/>
              <a:ext cx="71755" cy="94615"/>
            </a:xfrm>
            <a:custGeom>
              <a:avLst/>
              <a:gdLst/>
              <a:ahLst/>
              <a:cxnLst/>
              <a:rect l="l" t="t" r="r" b="b"/>
              <a:pathLst>
                <a:path w="71754" h="94614">
                  <a:moveTo>
                    <a:pt x="0" y="0"/>
                  </a:moveTo>
                  <a:lnTo>
                    <a:pt x="0" y="52882"/>
                  </a:lnTo>
                  <a:lnTo>
                    <a:pt x="71716" y="94284"/>
                  </a:lnTo>
                  <a:lnTo>
                    <a:pt x="71716" y="41389"/>
                  </a:lnTo>
                  <a:lnTo>
                    <a:pt x="0" y="0"/>
                  </a:lnTo>
                  <a:close/>
                </a:path>
              </a:pathLst>
            </a:custGeom>
            <a:solidFill>
              <a:srgbClr val="005A82"/>
            </a:solidFill>
          </p:spPr>
          <p:txBody>
            <a:bodyPr wrap="square" lIns="0" tIns="0" rIns="0" bIns="0" rtlCol="0"/>
            <a:lstStyle/>
            <a:p>
              <a:endParaRPr lang="en-GB"/>
            </a:p>
          </p:txBody>
        </p:sp>
        <p:sp>
          <p:nvSpPr>
            <p:cNvPr id="18" name="object 15">
              <a:extLst>
                <a:ext uri="{FF2B5EF4-FFF2-40B4-BE49-F238E27FC236}">
                  <a16:creationId xmlns:a16="http://schemas.microsoft.com/office/drawing/2014/main" id="{352E906B-7D7C-4AB5-9797-A8842E2CD1A1}"/>
                </a:ext>
              </a:extLst>
            </p:cNvPr>
            <p:cNvSpPr/>
            <p:nvPr/>
          </p:nvSpPr>
          <p:spPr>
            <a:xfrm>
              <a:off x="6831605" y="4272803"/>
              <a:ext cx="488950" cy="588010"/>
            </a:xfrm>
            <a:custGeom>
              <a:avLst/>
              <a:gdLst/>
              <a:ahLst/>
              <a:cxnLst/>
              <a:rect l="l" t="t" r="r" b="b"/>
              <a:pathLst>
                <a:path w="488950" h="588010">
                  <a:moveTo>
                    <a:pt x="30560" y="0"/>
                  </a:moveTo>
                  <a:lnTo>
                    <a:pt x="15520" y="4201"/>
                  </a:lnTo>
                  <a:lnTo>
                    <a:pt x="4365" y="15122"/>
                  </a:lnTo>
                  <a:lnTo>
                    <a:pt x="0" y="31087"/>
                  </a:lnTo>
                  <a:lnTo>
                    <a:pt x="0" y="275905"/>
                  </a:lnTo>
                  <a:lnTo>
                    <a:pt x="12177" y="321366"/>
                  </a:lnTo>
                  <a:lnTo>
                    <a:pt x="45453" y="354645"/>
                  </a:lnTo>
                  <a:lnTo>
                    <a:pt x="442334" y="583780"/>
                  </a:lnTo>
                  <a:lnTo>
                    <a:pt x="458340" y="587981"/>
                  </a:lnTo>
                  <a:lnTo>
                    <a:pt x="473384" y="583779"/>
                  </a:lnTo>
                  <a:lnTo>
                    <a:pt x="484544" y="572858"/>
                  </a:lnTo>
                  <a:lnTo>
                    <a:pt x="488911" y="556893"/>
                  </a:lnTo>
                  <a:lnTo>
                    <a:pt x="488911" y="312075"/>
                  </a:lnTo>
                  <a:lnTo>
                    <a:pt x="476727" y="266614"/>
                  </a:lnTo>
                  <a:lnTo>
                    <a:pt x="443445" y="233335"/>
                  </a:lnTo>
                  <a:lnTo>
                    <a:pt x="46564" y="4200"/>
                  </a:lnTo>
                  <a:lnTo>
                    <a:pt x="30560" y="0"/>
                  </a:lnTo>
                  <a:close/>
                </a:path>
              </a:pathLst>
            </a:custGeom>
            <a:solidFill>
              <a:srgbClr val="098DB7"/>
            </a:solidFill>
          </p:spPr>
          <p:txBody>
            <a:bodyPr wrap="square" lIns="0" tIns="0" rIns="0" bIns="0" rtlCol="0"/>
            <a:lstStyle/>
            <a:p>
              <a:endParaRPr lang="en-GB"/>
            </a:p>
          </p:txBody>
        </p:sp>
        <p:sp>
          <p:nvSpPr>
            <p:cNvPr id="19" name="object 16">
              <a:extLst>
                <a:ext uri="{FF2B5EF4-FFF2-40B4-BE49-F238E27FC236}">
                  <a16:creationId xmlns:a16="http://schemas.microsoft.com/office/drawing/2014/main" id="{C95062BB-D043-465D-87D9-980033DC2A30}"/>
                </a:ext>
              </a:extLst>
            </p:cNvPr>
            <p:cNvSpPr/>
            <p:nvPr/>
          </p:nvSpPr>
          <p:spPr>
            <a:xfrm>
              <a:off x="6834065" y="4667895"/>
              <a:ext cx="255926" cy="234196"/>
            </a:xfrm>
            <a:prstGeom prst="rect">
              <a:avLst/>
            </a:prstGeom>
            <a:blipFill>
              <a:blip r:embed="rId3" cstate="print"/>
              <a:stretch>
                <a:fillRect/>
              </a:stretch>
            </a:blipFill>
          </p:spPr>
          <p:txBody>
            <a:bodyPr wrap="square" lIns="0" tIns="0" rIns="0" bIns="0" rtlCol="0"/>
            <a:lstStyle/>
            <a:p>
              <a:endParaRPr lang="en-GB"/>
            </a:p>
          </p:txBody>
        </p:sp>
        <p:sp>
          <p:nvSpPr>
            <p:cNvPr id="20" name="object 17">
              <a:extLst>
                <a:ext uri="{FF2B5EF4-FFF2-40B4-BE49-F238E27FC236}">
                  <a16:creationId xmlns:a16="http://schemas.microsoft.com/office/drawing/2014/main" id="{AAF8F320-BE03-485D-A082-1142D0F5384A}"/>
                </a:ext>
              </a:extLst>
            </p:cNvPr>
            <p:cNvSpPr/>
            <p:nvPr/>
          </p:nvSpPr>
          <p:spPr>
            <a:xfrm>
              <a:off x="7371084" y="4584101"/>
              <a:ext cx="394970" cy="284480"/>
            </a:xfrm>
            <a:custGeom>
              <a:avLst/>
              <a:gdLst/>
              <a:ahLst/>
              <a:cxnLst/>
              <a:rect l="l" t="t" r="r" b="b"/>
              <a:pathLst>
                <a:path w="394970" h="284479">
                  <a:moveTo>
                    <a:pt x="19641" y="0"/>
                  </a:moveTo>
                  <a:lnTo>
                    <a:pt x="9420" y="3284"/>
                  </a:lnTo>
                  <a:lnTo>
                    <a:pt x="2527" y="12930"/>
                  </a:lnTo>
                  <a:lnTo>
                    <a:pt x="0" y="28157"/>
                  </a:lnTo>
                  <a:lnTo>
                    <a:pt x="2520" y="46299"/>
                  </a:lnTo>
                  <a:lnTo>
                    <a:pt x="32143" y="89574"/>
                  </a:lnTo>
                  <a:lnTo>
                    <a:pt x="362775" y="280467"/>
                  </a:lnTo>
                  <a:lnTo>
                    <a:pt x="375290" y="284329"/>
                  </a:lnTo>
                  <a:lnTo>
                    <a:pt x="385511" y="281045"/>
                  </a:lnTo>
                  <a:lnTo>
                    <a:pt x="392404" y="271399"/>
                  </a:lnTo>
                  <a:lnTo>
                    <a:pt x="394931" y="256172"/>
                  </a:lnTo>
                  <a:lnTo>
                    <a:pt x="392413" y="238030"/>
                  </a:lnTo>
                  <a:lnTo>
                    <a:pt x="362800" y="194755"/>
                  </a:lnTo>
                  <a:lnTo>
                    <a:pt x="32156" y="3861"/>
                  </a:lnTo>
                  <a:lnTo>
                    <a:pt x="19641" y="0"/>
                  </a:lnTo>
                  <a:close/>
                </a:path>
              </a:pathLst>
            </a:custGeom>
            <a:solidFill>
              <a:srgbClr val="84C6DB"/>
            </a:solidFill>
          </p:spPr>
          <p:txBody>
            <a:bodyPr wrap="square" lIns="0" tIns="0" rIns="0" bIns="0" rtlCol="0"/>
            <a:lstStyle/>
            <a:p>
              <a:endParaRPr lang="en-GB"/>
            </a:p>
          </p:txBody>
        </p:sp>
        <p:sp>
          <p:nvSpPr>
            <p:cNvPr id="21" name="object 18">
              <a:extLst>
                <a:ext uri="{FF2B5EF4-FFF2-40B4-BE49-F238E27FC236}">
                  <a16:creationId xmlns:a16="http://schemas.microsoft.com/office/drawing/2014/main" id="{173DB6E3-0C2E-48EA-8308-B95A50FAE456}"/>
                </a:ext>
              </a:extLst>
            </p:cNvPr>
            <p:cNvSpPr/>
            <p:nvPr/>
          </p:nvSpPr>
          <p:spPr>
            <a:xfrm>
              <a:off x="7027387" y="4779511"/>
              <a:ext cx="64769" cy="62865"/>
            </a:xfrm>
            <a:custGeom>
              <a:avLst/>
              <a:gdLst/>
              <a:ahLst/>
              <a:cxnLst/>
              <a:rect l="l" t="t" r="r" b="b"/>
              <a:pathLst>
                <a:path w="64770" h="62864">
                  <a:moveTo>
                    <a:pt x="5194" y="0"/>
                  </a:moveTo>
                  <a:lnTo>
                    <a:pt x="0" y="3924"/>
                  </a:lnTo>
                  <a:lnTo>
                    <a:pt x="0" y="20993"/>
                  </a:lnTo>
                  <a:lnTo>
                    <a:pt x="5181" y="30911"/>
                  </a:lnTo>
                  <a:lnTo>
                    <a:pt x="59486" y="62255"/>
                  </a:lnTo>
                  <a:lnTo>
                    <a:pt x="64668" y="58343"/>
                  </a:lnTo>
                  <a:lnTo>
                    <a:pt x="64681" y="41262"/>
                  </a:lnTo>
                  <a:lnTo>
                    <a:pt x="59486" y="31343"/>
                  </a:lnTo>
                  <a:lnTo>
                    <a:pt x="5194" y="0"/>
                  </a:lnTo>
                  <a:close/>
                </a:path>
              </a:pathLst>
            </a:custGeom>
            <a:solidFill>
              <a:srgbClr val="84C6DB"/>
            </a:solidFill>
          </p:spPr>
          <p:txBody>
            <a:bodyPr wrap="square" lIns="0" tIns="0" rIns="0" bIns="0" rtlCol="0"/>
            <a:lstStyle/>
            <a:p>
              <a:endParaRPr lang="en-GB"/>
            </a:p>
          </p:txBody>
        </p:sp>
        <p:sp>
          <p:nvSpPr>
            <p:cNvPr id="22" name="object 19">
              <a:extLst>
                <a:ext uri="{FF2B5EF4-FFF2-40B4-BE49-F238E27FC236}">
                  <a16:creationId xmlns:a16="http://schemas.microsoft.com/office/drawing/2014/main" id="{AB3F70B2-1462-4230-933C-725C4435261D}"/>
                </a:ext>
              </a:extLst>
            </p:cNvPr>
            <p:cNvSpPr/>
            <p:nvPr/>
          </p:nvSpPr>
          <p:spPr>
            <a:xfrm>
              <a:off x="6834065" y="4728361"/>
              <a:ext cx="64769" cy="62865"/>
            </a:xfrm>
            <a:custGeom>
              <a:avLst/>
              <a:gdLst/>
              <a:ahLst/>
              <a:cxnLst/>
              <a:rect l="l" t="t" r="r" b="b"/>
              <a:pathLst>
                <a:path w="64770" h="62864">
                  <a:moveTo>
                    <a:pt x="5194" y="0"/>
                  </a:moveTo>
                  <a:lnTo>
                    <a:pt x="0" y="3924"/>
                  </a:lnTo>
                  <a:lnTo>
                    <a:pt x="0" y="20993"/>
                  </a:lnTo>
                  <a:lnTo>
                    <a:pt x="5181" y="30911"/>
                  </a:lnTo>
                  <a:lnTo>
                    <a:pt x="59486" y="62255"/>
                  </a:lnTo>
                  <a:lnTo>
                    <a:pt x="64668" y="58343"/>
                  </a:lnTo>
                  <a:lnTo>
                    <a:pt x="64681" y="41262"/>
                  </a:lnTo>
                  <a:lnTo>
                    <a:pt x="59486" y="31343"/>
                  </a:lnTo>
                  <a:lnTo>
                    <a:pt x="5194" y="0"/>
                  </a:lnTo>
                  <a:close/>
                </a:path>
              </a:pathLst>
            </a:custGeom>
            <a:solidFill>
              <a:srgbClr val="84C6DB"/>
            </a:solidFill>
          </p:spPr>
          <p:txBody>
            <a:bodyPr wrap="square" lIns="0" tIns="0" rIns="0" bIns="0" rtlCol="0"/>
            <a:lstStyle/>
            <a:p>
              <a:endParaRPr lang="en-GB"/>
            </a:p>
          </p:txBody>
        </p:sp>
        <p:sp>
          <p:nvSpPr>
            <p:cNvPr id="23" name="object 25">
              <a:extLst>
                <a:ext uri="{FF2B5EF4-FFF2-40B4-BE49-F238E27FC236}">
                  <a16:creationId xmlns:a16="http://schemas.microsoft.com/office/drawing/2014/main" id="{DC725CD7-4A6B-44B5-940D-2D461F8E9F09}"/>
                </a:ext>
              </a:extLst>
            </p:cNvPr>
            <p:cNvSpPr/>
            <p:nvPr/>
          </p:nvSpPr>
          <p:spPr>
            <a:xfrm>
              <a:off x="3870388" y="4569942"/>
              <a:ext cx="3302558" cy="2011032"/>
            </a:xfrm>
            <a:prstGeom prst="rect">
              <a:avLst/>
            </a:prstGeom>
            <a:blipFill>
              <a:blip r:embed="rId4" cstate="print"/>
              <a:stretch>
                <a:fillRect/>
              </a:stretch>
            </a:blipFill>
          </p:spPr>
          <p:txBody>
            <a:bodyPr wrap="square" lIns="0" tIns="0" rIns="0" bIns="0" rtlCol="0"/>
            <a:lstStyle/>
            <a:p>
              <a:endParaRPr lang="en-GB"/>
            </a:p>
          </p:txBody>
        </p:sp>
        <p:sp>
          <p:nvSpPr>
            <p:cNvPr id="24" name="object 26">
              <a:extLst>
                <a:ext uri="{FF2B5EF4-FFF2-40B4-BE49-F238E27FC236}">
                  <a16:creationId xmlns:a16="http://schemas.microsoft.com/office/drawing/2014/main" id="{F87C6D29-9612-410F-BEBE-236A2074BB4D}"/>
                </a:ext>
              </a:extLst>
            </p:cNvPr>
            <p:cNvSpPr/>
            <p:nvPr/>
          </p:nvSpPr>
          <p:spPr>
            <a:xfrm>
              <a:off x="4050988" y="267159"/>
              <a:ext cx="2329195" cy="5731570"/>
            </a:xfrm>
            <a:prstGeom prst="rect">
              <a:avLst/>
            </a:prstGeom>
            <a:blipFill>
              <a:blip r:embed="rId5" cstate="print"/>
              <a:stretch>
                <a:fillRect/>
              </a:stretch>
            </a:blipFill>
          </p:spPr>
          <p:txBody>
            <a:bodyPr wrap="square" lIns="0" tIns="0" rIns="0" bIns="0" rtlCol="0"/>
            <a:lstStyle/>
            <a:p>
              <a:endParaRPr lang="en-GB"/>
            </a:p>
          </p:txBody>
        </p:sp>
        <p:sp>
          <p:nvSpPr>
            <p:cNvPr id="25" name="object 27">
              <a:extLst>
                <a:ext uri="{FF2B5EF4-FFF2-40B4-BE49-F238E27FC236}">
                  <a16:creationId xmlns:a16="http://schemas.microsoft.com/office/drawing/2014/main" id="{08D04643-FD06-4E2A-B555-BE7C1BD9F1AA}"/>
                </a:ext>
              </a:extLst>
            </p:cNvPr>
            <p:cNvSpPr/>
            <p:nvPr/>
          </p:nvSpPr>
          <p:spPr>
            <a:xfrm>
              <a:off x="6426066" y="5009521"/>
              <a:ext cx="488950" cy="287020"/>
            </a:xfrm>
            <a:custGeom>
              <a:avLst/>
              <a:gdLst/>
              <a:ahLst/>
              <a:cxnLst/>
              <a:rect l="l" t="t" r="r" b="b"/>
              <a:pathLst>
                <a:path w="488950" h="287020">
                  <a:moveTo>
                    <a:pt x="239401" y="0"/>
                  </a:moveTo>
                  <a:lnTo>
                    <a:pt x="10915" y="121837"/>
                  </a:lnTo>
                  <a:lnTo>
                    <a:pt x="0" y="140714"/>
                  </a:lnTo>
                  <a:lnTo>
                    <a:pt x="2728" y="151328"/>
                  </a:lnTo>
                  <a:lnTo>
                    <a:pt x="10915" y="159581"/>
                  </a:lnTo>
                  <a:lnTo>
                    <a:pt x="217366" y="278364"/>
                  </a:lnTo>
                  <a:lnTo>
                    <a:pt x="232913" y="284772"/>
                  </a:lnTo>
                  <a:lnTo>
                    <a:pt x="249320" y="286908"/>
                  </a:lnTo>
                  <a:lnTo>
                    <a:pt x="265726" y="284772"/>
                  </a:lnTo>
                  <a:lnTo>
                    <a:pt x="281273" y="278364"/>
                  </a:lnTo>
                  <a:lnTo>
                    <a:pt x="477805" y="165068"/>
                  </a:lnTo>
                  <a:lnTo>
                    <a:pt x="485992" y="156815"/>
                  </a:lnTo>
                  <a:lnTo>
                    <a:pt x="488721" y="146200"/>
                  </a:lnTo>
                  <a:lnTo>
                    <a:pt x="485992" y="135584"/>
                  </a:lnTo>
                  <a:lnTo>
                    <a:pt x="477805" y="127323"/>
                  </a:lnTo>
                  <a:lnTo>
                    <a:pt x="271354" y="8553"/>
                  </a:lnTo>
                  <a:lnTo>
                    <a:pt x="255807" y="2138"/>
                  </a:lnTo>
                  <a:lnTo>
                    <a:pt x="239401" y="0"/>
                  </a:lnTo>
                  <a:close/>
                </a:path>
              </a:pathLst>
            </a:custGeom>
            <a:solidFill>
              <a:srgbClr val="88D5ED"/>
            </a:solidFill>
          </p:spPr>
          <p:txBody>
            <a:bodyPr wrap="square" lIns="0" tIns="0" rIns="0" bIns="0" rtlCol="0"/>
            <a:lstStyle/>
            <a:p>
              <a:endParaRPr lang="en-GB"/>
            </a:p>
          </p:txBody>
        </p:sp>
        <p:sp>
          <p:nvSpPr>
            <p:cNvPr id="26" name="object 52">
              <a:extLst>
                <a:ext uri="{FF2B5EF4-FFF2-40B4-BE49-F238E27FC236}">
                  <a16:creationId xmlns:a16="http://schemas.microsoft.com/office/drawing/2014/main" id="{B75E5183-4A87-440A-9534-59EA99811775}"/>
                </a:ext>
              </a:extLst>
            </p:cNvPr>
            <p:cNvSpPr/>
            <p:nvPr/>
          </p:nvSpPr>
          <p:spPr>
            <a:xfrm>
              <a:off x="4511079" y="707551"/>
              <a:ext cx="155549" cy="160909"/>
            </a:xfrm>
            <a:prstGeom prst="rect">
              <a:avLst/>
            </a:prstGeom>
            <a:blipFill>
              <a:blip r:embed="rId6" cstate="print"/>
              <a:stretch>
                <a:fillRect/>
              </a:stretch>
            </a:blipFill>
          </p:spPr>
          <p:txBody>
            <a:bodyPr wrap="square" lIns="0" tIns="0" rIns="0" bIns="0" rtlCol="0"/>
            <a:lstStyle/>
            <a:p>
              <a:endParaRPr lang="en-GB"/>
            </a:p>
          </p:txBody>
        </p:sp>
        <p:sp>
          <p:nvSpPr>
            <p:cNvPr id="27" name="object 53">
              <a:extLst>
                <a:ext uri="{FF2B5EF4-FFF2-40B4-BE49-F238E27FC236}">
                  <a16:creationId xmlns:a16="http://schemas.microsoft.com/office/drawing/2014/main" id="{26C2FA9F-3D99-4A76-96F1-92DD80C8D444}"/>
                </a:ext>
              </a:extLst>
            </p:cNvPr>
            <p:cNvSpPr/>
            <p:nvPr/>
          </p:nvSpPr>
          <p:spPr>
            <a:xfrm>
              <a:off x="4782997" y="852373"/>
              <a:ext cx="123405" cy="188188"/>
            </a:xfrm>
            <a:prstGeom prst="rect">
              <a:avLst/>
            </a:prstGeom>
            <a:blipFill>
              <a:blip r:embed="rId7" cstate="print"/>
              <a:stretch>
                <a:fillRect/>
              </a:stretch>
            </a:blipFill>
          </p:spPr>
          <p:txBody>
            <a:bodyPr wrap="square" lIns="0" tIns="0" rIns="0" bIns="0" rtlCol="0"/>
            <a:lstStyle/>
            <a:p>
              <a:endParaRPr lang="en-GB"/>
            </a:p>
          </p:txBody>
        </p:sp>
        <p:sp>
          <p:nvSpPr>
            <p:cNvPr id="28" name="object 54">
              <a:extLst>
                <a:ext uri="{FF2B5EF4-FFF2-40B4-BE49-F238E27FC236}">
                  <a16:creationId xmlns:a16="http://schemas.microsoft.com/office/drawing/2014/main" id="{8517005A-BB11-452C-97DB-FDE66996197B}"/>
                </a:ext>
              </a:extLst>
            </p:cNvPr>
            <p:cNvSpPr/>
            <p:nvPr/>
          </p:nvSpPr>
          <p:spPr>
            <a:xfrm>
              <a:off x="4605427" y="709116"/>
              <a:ext cx="219710" cy="273050"/>
            </a:xfrm>
            <a:custGeom>
              <a:avLst/>
              <a:gdLst/>
              <a:ahLst/>
              <a:cxnLst/>
              <a:rect l="l" t="t" r="r" b="b"/>
              <a:pathLst>
                <a:path w="219710" h="273050">
                  <a:moveTo>
                    <a:pt x="44805" y="6684"/>
                  </a:moveTo>
                  <a:lnTo>
                    <a:pt x="0" y="32389"/>
                  </a:lnTo>
                  <a:lnTo>
                    <a:pt x="21640" y="36237"/>
                  </a:lnTo>
                  <a:lnTo>
                    <a:pt x="18858" y="44790"/>
                  </a:lnTo>
                  <a:lnTo>
                    <a:pt x="16824" y="54163"/>
                  </a:lnTo>
                  <a:lnTo>
                    <a:pt x="15575" y="64337"/>
                  </a:lnTo>
                  <a:lnTo>
                    <a:pt x="15151" y="75290"/>
                  </a:lnTo>
                  <a:lnTo>
                    <a:pt x="23176" y="127664"/>
                  </a:lnTo>
                  <a:lnTo>
                    <a:pt x="45061" y="179604"/>
                  </a:lnTo>
                  <a:lnTo>
                    <a:pt x="77521" y="225216"/>
                  </a:lnTo>
                  <a:lnTo>
                    <a:pt x="117271" y="258602"/>
                  </a:lnTo>
                  <a:lnTo>
                    <a:pt x="157029" y="272788"/>
                  </a:lnTo>
                  <a:lnTo>
                    <a:pt x="189493" y="266023"/>
                  </a:lnTo>
                  <a:lnTo>
                    <a:pt x="211379" y="240273"/>
                  </a:lnTo>
                  <a:lnTo>
                    <a:pt x="219405" y="197502"/>
                  </a:lnTo>
                  <a:lnTo>
                    <a:pt x="211379" y="145128"/>
                  </a:lnTo>
                  <a:lnTo>
                    <a:pt x="189493" y="93186"/>
                  </a:lnTo>
                  <a:lnTo>
                    <a:pt x="157029" y="47571"/>
                  </a:lnTo>
                  <a:lnTo>
                    <a:pt x="117271" y="14177"/>
                  </a:lnTo>
                  <a:lnTo>
                    <a:pt x="101796" y="6786"/>
                  </a:lnTo>
                  <a:lnTo>
                    <a:pt x="45046" y="6786"/>
                  </a:lnTo>
                  <a:lnTo>
                    <a:pt x="44805" y="6684"/>
                  </a:lnTo>
                  <a:close/>
                </a:path>
                <a:path w="219710" h="273050">
                  <a:moveTo>
                    <a:pt x="77511" y="0"/>
                  </a:moveTo>
                  <a:lnTo>
                    <a:pt x="60161" y="895"/>
                  </a:lnTo>
                  <a:lnTo>
                    <a:pt x="45046" y="6786"/>
                  </a:lnTo>
                  <a:lnTo>
                    <a:pt x="101796" y="6786"/>
                  </a:lnTo>
                  <a:lnTo>
                    <a:pt x="96685" y="4345"/>
                  </a:lnTo>
                  <a:lnTo>
                    <a:pt x="77511" y="0"/>
                  </a:lnTo>
                  <a:close/>
                </a:path>
              </a:pathLst>
            </a:custGeom>
            <a:solidFill>
              <a:srgbClr val="005A82"/>
            </a:solidFill>
          </p:spPr>
          <p:txBody>
            <a:bodyPr wrap="square" lIns="0" tIns="0" rIns="0" bIns="0" rtlCol="0"/>
            <a:lstStyle/>
            <a:p>
              <a:endParaRPr lang="en-GB"/>
            </a:p>
          </p:txBody>
        </p:sp>
        <p:sp>
          <p:nvSpPr>
            <p:cNvPr id="29" name="object 55">
              <a:extLst>
                <a:ext uri="{FF2B5EF4-FFF2-40B4-BE49-F238E27FC236}">
                  <a16:creationId xmlns:a16="http://schemas.microsoft.com/office/drawing/2014/main" id="{BA1EBD99-0B0B-4671-AA02-6F9B6248720C}"/>
                </a:ext>
              </a:extLst>
            </p:cNvPr>
            <p:cNvSpPr/>
            <p:nvPr/>
          </p:nvSpPr>
          <p:spPr>
            <a:xfrm>
              <a:off x="4493043" y="708850"/>
              <a:ext cx="386689" cy="335100"/>
            </a:xfrm>
            <a:prstGeom prst="rect">
              <a:avLst/>
            </a:prstGeom>
            <a:blipFill>
              <a:blip r:embed="rId8" cstate="print"/>
              <a:stretch>
                <a:fillRect/>
              </a:stretch>
            </a:blipFill>
          </p:spPr>
          <p:txBody>
            <a:bodyPr wrap="square" lIns="0" tIns="0" rIns="0" bIns="0" rtlCol="0"/>
            <a:lstStyle/>
            <a:p>
              <a:endParaRPr lang="en-GB"/>
            </a:p>
          </p:txBody>
        </p:sp>
      </p:grpSp>
    </p:spTree>
    <p:extLst>
      <p:ext uri="{BB962C8B-B14F-4D97-AF65-F5344CB8AC3E}">
        <p14:creationId xmlns:p14="http://schemas.microsoft.com/office/powerpoint/2010/main" val="13955071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 content">
    <p:bg>
      <p:bgPr>
        <a:solidFill>
          <a:srgbClr val="12A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199C2-CE1A-4360-A4AE-0962475BE0F1}"/>
              </a:ext>
            </a:extLst>
          </p:cNvPr>
          <p:cNvSpPr>
            <a:spLocks noGrp="1"/>
          </p:cNvSpPr>
          <p:nvPr>
            <p:ph type="title"/>
          </p:nvPr>
        </p:nvSpPr>
        <p:spPr>
          <a:xfrm>
            <a:off x="407988" y="404814"/>
            <a:ext cx="11016604" cy="5706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3D43CD70-0B97-488B-A9E4-844B756A36CC}"/>
              </a:ext>
            </a:extLst>
          </p:cNvPr>
          <p:cNvSpPr>
            <a:spLocks noGrp="1"/>
          </p:cNvSpPr>
          <p:nvPr>
            <p:ph type="body" sz="quarter" idx="10"/>
          </p:nvPr>
        </p:nvSpPr>
        <p:spPr>
          <a:xfrm>
            <a:off x="407988" y="1313365"/>
            <a:ext cx="10869612" cy="4876800"/>
          </a:xfrm>
        </p:spPr>
        <p:txBody>
          <a:bodyPr tIns="36000">
            <a:noAutofit/>
          </a:bodyPr>
          <a:lstStyle>
            <a:lvl5pPr marL="1076325"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49785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Title Only-white">
    <p:bg>
      <p:bgPr>
        <a:solidFill>
          <a:srgbClr val="12ABDB"/>
        </a:solidFill>
        <a:effectLst/>
      </p:bgPr>
    </p:bg>
    <p:spTree>
      <p:nvGrpSpPr>
        <p:cNvPr id="1" name=""/>
        <p:cNvGrpSpPr/>
        <p:nvPr/>
      </p:nvGrpSpPr>
      <p:grpSpPr>
        <a:xfrm>
          <a:off x="0" y="0"/>
          <a:ext cx="0" cy="0"/>
          <a:chOff x="0" y="0"/>
          <a:chExt cx="0" cy="0"/>
        </a:xfrm>
      </p:grpSpPr>
      <p:sp>
        <p:nvSpPr>
          <p:cNvPr id="4" name="Oval 20">
            <a:extLst>
              <a:ext uri="{FF2B5EF4-FFF2-40B4-BE49-F238E27FC236}">
                <a16:creationId xmlns:a16="http://schemas.microsoft.com/office/drawing/2014/main" id="{9253AB0D-3481-4F41-B886-98555FC7F31A}"/>
              </a:ext>
            </a:extLst>
          </p:cNvPr>
          <p:cNvSpPr/>
          <p:nvPr userDrawn="1"/>
        </p:nvSpPr>
        <p:spPr>
          <a:xfrm>
            <a:off x="1461247" y="-1016823"/>
            <a:ext cx="9269506" cy="889164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noFill/>
          <a:ln w="352425">
            <a:solidFill>
              <a:srgbClr val="CFCDD2">
                <a:alpha val="20000"/>
              </a:srgbClr>
            </a:solidFill>
          </a:ln>
        </p:spPr>
        <p:style>
          <a:lnRef idx="2">
            <a:schemeClr val="accent1">
              <a:shade val="50000"/>
            </a:schemeClr>
          </a:lnRef>
          <a:fillRef idx="1">
            <a:schemeClr val="accent1"/>
          </a:fillRef>
          <a:effectRef idx="0">
            <a:schemeClr val="accent1"/>
          </a:effectRef>
          <a:fontRef idx="minor">
            <a:schemeClr val="lt1"/>
          </a:fontRef>
        </p:style>
        <p:txBody>
          <a:bodyPr lIns="180000" tIns="36000" rIns="180000" bIns="72000" rtlCol="0" anchor="ctr"/>
          <a:lstStyle/>
          <a:p>
            <a:pPr algn="ctr"/>
            <a:endParaRPr lang="en-GB" sz="1600" kern="0">
              <a:solidFill>
                <a:schemeClr val="bg1"/>
              </a:solidFill>
              <a:latin typeface="Ubuntu" panose="020B0504030602030204" pitchFamily="34" charset="0"/>
              <a:cs typeface="Segoe UI" panose="020B0502040204020203" pitchFamily="34" charset="0"/>
            </a:endParaRPr>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68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404813"/>
            <a:ext cx="6678612" cy="863601"/>
          </a:xfrm>
        </p:spPr>
        <p:txBody>
          <a:bodyPr vert="horz" lIns="0" tIns="0" rIns="0" bIns="0" rtlCol="0" anchor="t">
            <a:noAutofit/>
          </a:bodyPr>
          <a:lstStyle>
            <a:lvl1pPr>
              <a:defRPr lang="en-GB" dirty="0"/>
            </a:lvl1pPr>
          </a:lstStyle>
          <a:p>
            <a:pPr marL="0" lvl="0"/>
            <a:r>
              <a:rPr lang="en-US"/>
              <a:t>Click to edit Master title style</a:t>
            </a:r>
            <a:endParaRPr lang="en-GB"/>
          </a:p>
        </p:txBody>
      </p:sp>
    </p:spTree>
    <p:extLst>
      <p:ext uri="{BB962C8B-B14F-4D97-AF65-F5344CB8AC3E}">
        <p14:creationId xmlns:p14="http://schemas.microsoft.com/office/powerpoint/2010/main" val="3342071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100"/>
                                        <p:tgtEl>
                                          <p:spTgt spid="4"/>
                                        </p:tgtEl>
                                      </p:cBhvr>
                                    </p:animEffect>
                                  </p:childTnLst>
                                </p:cTn>
                              </p:par>
                              <p:par>
                                <p:cTn id="8" presetID="6" presetClass="emph" presetSubtype="0" fill="hold" grpId="1" nodeType="withEffect">
                                  <p:stCondLst>
                                    <p:cond delay="0"/>
                                  </p:stCondLst>
                                  <p:childTnLst>
                                    <p:animScale>
                                      <p:cBhvr>
                                        <p:cTn id="9" dur="100" fill="hold"/>
                                        <p:tgtEl>
                                          <p:spTgt spid="4"/>
                                        </p:tgtEl>
                                      </p:cBhvr>
                                      <p:by x="200000" y="200000"/>
                                    </p:animScale>
                                  </p:childTnLst>
                                </p:cTn>
                              </p:par>
                              <p:par>
                                <p:cTn id="10" presetID="6" presetClass="emph" presetSubtype="0" decel="100000" fill="hold" grpId="2" nodeType="withEffect">
                                  <p:stCondLst>
                                    <p:cond delay="200"/>
                                  </p:stCondLst>
                                  <p:childTnLst>
                                    <p:animScale>
                                      <p:cBhvr>
                                        <p:cTn id="11" dur="1300" fill="hold"/>
                                        <p:tgtEl>
                                          <p:spTgt spid="4"/>
                                        </p:tgtEl>
                                      </p:cBhvr>
                                      <p:by x="50000" y="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4" grpId="2" animBg="1"/>
      <p:bldP spid="4" grpId="3" animBg="1"/>
      <p:bldP spid="4" grpId="4" animBg="1"/>
      <p:bldP spid="4" grpId="5" animBg="1"/>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Title Only-white">
    <p:bg>
      <p:bgPr>
        <a:solidFill>
          <a:srgbClr val="12ABDB"/>
        </a:solidFill>
        <a:effectLst/>
      </p:bgPr>
    </p:bg>
    <p:spTree>
      <p:nvGrpSpPr>
        <p:cNvPr id="1" name=""/>
        <p:cNvGrpSpPr/>
        <p:nvPr/>
      </p:nvGrpSpPr>
      <p:grpSpPr>
        <a:xfrm>
          <a:off x="0" y="0"/>
          <a:ext cx="0" cy="0"/>
          <a:chOff x="0" y="0"/>
          <a:chExt cx="0" cy="0"/>
        </a:xfrm>
      </p:grpSpPr>
      <p:sp>
        <p:nvSpPr>
          <p:cNvPr id="7" name="Freeform 14">
            <a:extLst>
              <a:ext uri="{FF2B5EF4-FFF2-40B4-BE49-F238E27FC236}">
                <a16:creationId xmlns:a16="http://schemas.microsoft.com/office/drawing/2014/main" id="{3391E30F-69C3-4BDB-A4A2-4B7BFA15EAAC}"/>
              </a:ext>
            </a:extLst>
          </p:cNvPr>
          <p:cNvSpPr/>
          <p:nvPr userDrawn="1"/>
        </p:nvSpPr>
        <p:spPr>
          <a:xfrm flipH="1" flipV="1">
            <a:off x="0" y="0"/>
            <a:ext cx="5181600" cy="2908762"/>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rgbClr val="ECECE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14">
            <a:extLst>
              <a:ext uri="{FF2B5EF4-FFF2-40B4-BE49-F238E27FC236}">
                <a16:creationId xmlns:a16="http://schemas.microsoft.com/office/drawing/2014/main" id="{07519315-2F14-4A0C-A599-AA5B41567264}"/>
              </a:ext>
            </a:extLst>
          </p:cNvPr>
          <p:cNvSpPr/>
          <p:nvPr userDrawn="1"/>
        </p:nvSpPr>
        <p:spPr>
          <a:xfrm>
            <a:off x="6400800" y="3616361"/>
            <a:ext cx="5791200" cy="325096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rgbClr val="ECECE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20">
            <a:extLst>
              <a:ext uri="{FF2B5EF4-FFF2-40B4-BE49-F238E27FC236}">
                <a16:creationId xmlns:a16="http://schemas.microsoft.com/office/drawing/2014/main" id="{9253AB0D-3481-4F41-B886-98555FC7F31A}"/>
              </a:ext>
            </a:extLst>
          </p:cNvPr>
          <p:cNvSpPr/>
          <p:nvPr userDrawn="1"/>
        </p:nvSpPr>
        <p:spPr>
          <a:xfrm>
            <a:off x="1461247" y="-1016823"/>
            <a:ext cx="9269506" cy="889164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noFill/>
          <a:ln w="352425">
            <a:solidFill>
              <a:srgbClr val="CFCDD2">
                <a:alpha val="20000"/>
              </a:srgbClr>
            </a:solidFill>
          </a:ln>
        </p:spPr>
        <p:style>
          <a:lnRef idx="2">
            <a:schemeClr val="accent1">
              <a:shade val="50000"/>
            </a:schemeClr>
          </a:lnRef>
          <a:fillRef idx="1">
            <a:schemeClr val="accent1"/>
          </a:fillRef>
          <a:effectRef idx="0">
            <a:schemeClr val="accent1"/>
          </a:effectRef>
          <a:fontRef idx="minor">
            <a:schemeClr val="lt1"/>
          </a:fontRef>
        </p:style>
        <p:txBody>
          <a:bodyPr lIns="180000" tIns="36000" rIns="180000" bIns="72000" rtlCol="0" anchor="ctr"/>
          <a:lstStyle/>
          <a:p>
            <a:pPr algn="ctr"/>
            <a:endParaRPr lang="en-GB" sz="1600" kern="0">
              <a:solidFill>
                <a:schemeClr val="bg1"/>
              </a:solidFill>
              <a:latin typeface="Ubuntu" panose="020B0504030602030204" pitchFamily="34" charset="0"/>
              <a:cs typeface="Segoe UI" panose="020B0502040204020203" pitchFamily="34" charset="0"/>
            </a:endParaRPr>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70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404813"/>
            <a:ext cx="6678612" cy="863601"/>
          </a:xfrm>
        </p:spPr>
        <p:txBody>
          <a:bodyPr vert="horz" lIns="0" tIns="0" rIns="0" bIns="0" rtlCol="0" anchor="t">
            <a:noAutofit/>
          </a:bodyPr>
          <a:lstStyle>
            <a:lvl1pPr>
              <a:defRPr lang="en-GB" dirty="0"/>
            </a:lvl1pPr>
          </a:lstStyle>
          <a:p>
            <a:pPr marL="0" lvl="0"/>
            <a:r>
              <a:rPr lang="en-US"/>
              <a:t>Click to edit Master title style</a:t>
            </a:r>
            <a:endParaRPr lang="en-GB"/>
          </a:p>
        </p:txBody>
      </p:sp>
    </p:spTree>
    <p:extLst>
      <p:ext uri="{BB962C8B-B14F-4D97-AF65-F5344CB8AC3E}">
        <p14:creationId xmlns:p14="http://schemas.microsoft.com/office/powerpoint/2010/main" val="649732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100000" fill="hold" grpId="0" nodeType="withEffect">
                                  <p:stCondLst>
                                    <p:cond delay="0"/>
                                  </p:stCondLst>
                                  <p:childTnLst>
                                    <p:animScale>
                                      <p:cBhvr>
                                        <p:cTn id="6" dur="3000" fill="hold"/>
                                        <p:tgtEl>
                                          <p:spTgt spid="4"/>
                                        </p:tgtEl>
                                      </p:cBhvr>
                                      <p:by x="180000" y="18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p:nvGrpSpPr>
        <p:grpSpPr>
          <a:xfrm>
            <a:off x="407988" y="695702"/>
            <a:ext cx="5040000" cy="1123653"/>
            <a:chOff x="728663" y="4465638"/>
            <a:chExt cx="5354637" cy="1193800"/>
          </a:xfrm>
        </p:grpSpPr>
        <p:sp>
          <p:nvSpPr>
            <p:cNvPr id="23" name="Freeform 11"/>
            <p:cNvSpPr>
              <a:spLocks/>
            </p:cNvSpPr>
            <p:nvPr/>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2" name="Freeform 6">
            <a:extLst>
              <a:ext uri="{FF2B5EF4-FFF2-40B4-BE49-F238E27FC236}">
                <a16:creationId xmlns:a16="http://schemas.microsoft.com/office/drawing/2014/main" id="{335971C8-052A-B740-9DE9-253BB46971E4}"/>
              </a:ext>
            </a:extLst>
          </p:cNvPr>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3" name="Group 14">
            <a:extLst>
              <a:ext uri="{FF2B5EF4-FFF2-40B4-BE49-F238E27FC236}">
                <a16:creationId xmlns:a16="http://schemas.microsoft.com/office/drawing/2014/main" id="{7B500CC4-F90E-C549-8FFD-16A83DCBEE5E}"/>
              </a:ext>
            </a:extLst>
          </p:cNvPr>
          <p:cNvGrpSpPr>
            <a:grpSpLocks noChangeAspect="1"/>
          </p:cNvGrpSpPr>
          <p:nvPr userDrawn="1"/>
        </p:nvGrpSpPr>
        <p:grpSpPr>
          <a:xfrm>
            <a:off x="407988" y="695702"/>
            <a:ext cx="5040000" cy="1123653"/>
            <a:chOff x="728663" y="4465638"/>
            <a:chExt cx="5354637" cy="1193800"/>
          </a:xfrm>
        </p:grpSpPr>
        <p:sp>
          <p:nvSpPr>
            <p:cNvPr id="14" name="Freeform 11">
              <a:extLst>
                <a:ext uri="{FF2B5EF4-FFF2-40B4-BE49-F238E27FC236}">
                  <a16:creationId xmlns:a16="http://schemas.microsoft.com/office/drawing/2014/main" id="{5BC2B627-113F-3E48-82FD-C90602618564}"/>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2">
              <a:extLst>
                <a:ext uri="{FF2B5EF4-FFF2-40B4-BE49-F238E27FC236}">
                  <a16:creationId xmlns:a16="http://schemas.microsoft.com/office/drawing/2014/main" id="{0EE848D5-13B1-0545-9F3A-5459CAB49178}"/>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a:extLst>
                <a:ext uri="{FF2B5EF4-FFF2-40B4-BE49-F238E27FC236}">
                  <a16:creationId xmlns:a16="http://schemas.microsoft.com/office/drawing/2014/main" id="{7A82D484-6115-B146-8DE2-50BF097D5FA7}"/>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a:extLst>
                <a:ext uri="{FF2B5EF4-FFF2-40B4-BE49-F238E27FC236}">
                  <a16:creationId xmlns:a16="http://schemas.microsoft.com/office/drawing/2014/main" id="{422E1BB0-11B1-5A4E-995E-788D3F58906F}"/>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a:extLst>
                <a:ext uri="{FF2B5EF4-FFF2-40B4-BE49-F238E27FC236}">
                  <a16:creationId xmlns:a16="http://schemas.microsoft.com/office/drawing/2014/main" id="{609B476B-67C3-9F4D-AC63-90EEE70C722F}"/>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00191969"/>
      </p:ext>
    </p:extLst>
  </p:cSld>
  <p:clrMapOvr>
    <a:masterClrMapping/>
  </p:clrMapOvr>
  <p:extLst>
    <p:ext uri="{DCECCB84-F9BA-43D5-87BE-67443E8EF086}">
      <p15:sldGuideLst xmlns:p15="http://schemas.microsoft.com/office/powerpoint/2012/main">
        <p15:guide id="1" orient="horz" pos="935">
          <p15:clr>
            <a:srgbClr val="FBAE40"/>
          </p15:clr>
        </p15:guide>
        <p15:guide id="2" pos="257">
          <p15:clr>
            <a:srgbClr val="FBAE40"/>
          </p15:clr>
        </p15:guide>
        <p15:guide id="3" pos="3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Only-white">
    <p:bg>
      <p:bgPr>
        <a:solidFill>
          <a:srgbClr val="12ABDB"/>
        </a:solidFill>
        <a:effectLst/>
      </p:bgPr>
    </p:bg>
    <p:spTree>
      <p:nvGrpSpPr>
        <p:cNvPr id="1" name=""/>
        <p:cNvGrpSpPr/>
        <p:nvPr/>
      </p:nvGrpSpPr>
      <p:grpSpPr>
        <a:xfrm>
          <a:off x="0" y="0"/>
          <a:ext cx="0" cy="0"/>
          <a:chOff x="0" y="0"/>
          <a:chExt cx="0" cy="0"/>
        </a:xfrm>
      </p:grpSpPr>
      <p:sp>
        <p:nvSpPr>
          <p:cNvPr id="4" name="Freeform 14">
            <a:extLst>
              <a:ext uri="{FF2B5EF4-FFF2-40B4-BE49-F238E27FC236}">
                <a16:creationId xmlns:a16="http://schemas.microsoft.com/office/drawing/2014/main" id="{A5202088-320A-4301-88FF-70BB2CB52272}"/>
              </a:ext>
            </a:extLst>
          </p:cNvPr>
          <p:cNvSpPr/>
          <p:nvPr userDrawn="1"/>
        </p:nvSpPr>
        <p:spPr>
          <a:xfrm>
            <a:off x="2703358" y="154075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rgbClr val="ECECE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373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404813"/>
            <a:ext cx="6678612" cy="863601"/>
          </a:xfrm>
        </p:spPr>
        <p:txBody>
          <a:bodyPr vert="horz" lIns="0" tIns="0" rIns="0" bIns="0" rtlCol="0" anchor="t">
            <a:noAutofit/>
          </a:bodyPr>
          <a:lstStyle>
            <a:lvl1pPr>
              <a:defRPr lang="en-GB" dirty="0"/>
            </a:lvl1pPr>
          </a:lstStyle>
          <a:p>
            <a:pPr marL="0" lvl="0"/>
            <a:r>
              <a:rPr lang="en-US"/>
              <a:t>Click to edit Master title style</a:t>
            </a:r>
            <a:endParaRPr lang="en-GB"/>
          </a:p>
        </p:txBody>
      </p:sp>
    </p:spTree>
    <p:extLst>
      <p:ext uri="{BB962C8B-B14F-4D97-AF65-F5344CB8AC3E}">
        <p14:creationId xmlns:p14="http://schemas.microsoft.com/office/powerpoint/2010/main" val="27126111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6_Title Only-white">
    <p:bg>
      <p:bgPr>
        <a:solidFill>
          <a:srgbClr val="12ABDB"/>
        </a:solidFill>
        <a:effectLst/>
      </p:bgPr>
    </p:bg>
    <p:spTree>
      <p:nvGrpSpPr>
        <p:cNvPr id="1" name=""/>
        <p:cNvGrpSpPr/>
        <p:nvPr/>
      </p:nvGrpSpPr>
      <p:grpSpPr>
        <a:xfrm>
          <a:off x="0" y="0"/>
          <a:ext cx="0" cy="0"/>
          <a:chOff x="0" y="0"/>
          <a:chExt cx="0" cy="0"/>
        </a:xfrm>
      </p:grpSpPr>
      <p:sp>
        <p:nvSpPr>
          <p:cNvPr id="6" name="Freeform 14">
            <a:extLst>
              <a:ext uri="{FF2B5EF4-FFF2-40B4-BE49-F238E27FC236}">
                <a16:creationId xmlns:a16="http://schemas.microsoft.com/office/drawing/2014/main" id="{AC2796B1-FD89-432C-A497-F2EA580CB583}"/>
              </a:ext>
            </a:extLst>
          </p:cNvPr>
          <p:cNvSpPr/>
          <p:nvPr userDrawn="1"/>
        </p:nvSpPr>
        <p:spPr>
          <a:xfrm flipH="1" flipV="1">
            <a:off x="0" y="0"/>
            <a:ext cx="5181600" cy="2908762"/>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rgbClr val="ECECE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14">
            <a:extLst>
              <a:ext uri="{FF2B5EF4-FFF2-40B4-BE49-F238E27FC236}">
                <a16:creationId xmlns:a16="http://schemas.microsoft.com/office/drawing/2014/main" id="{A5202088-320A-4301-88FF-70BB2CB52272}"/>
              </a:ext>
            </a:extLst>
          </p:cNvPr>
          <p:cNvSpPr/>
          <p:nvPr userDrawn="1"/>
        </p:nvSpPr>
        <p:spPr>
          <a:xfrm>
            <a:off x="2703358" y="154075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rgbClr val="ECECE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475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404813"/>
            <a:ext cx="6678612" cy="863601"/>
          </a:xfrm>
        </p:spPr>
        <p:txBody>
          <a:bodyPr vert="horz" lIns="0" tIns="0" rIns="0" bIns="0" rtlCol="0" anchor="t">
            <a:noAutofit/>
          </a:bodyPr>
          <a:lstStyle>
            <a:lvl1pPr>
              <a:defRPr lang="en-GB" dirty="0"/>
            </a:lvl1pPr>
          </a:lstStyle>
          <a:p>
            <a:pPr marL="0" lvl="0"/>
            <a:r>
              <a:rPr lang="en-US"/>
              <a:t>Click to edit Master title style</a:t>
            </a:r>
            <a:endParaRPr lang="en-GB"/>
          </a:p>
        </p:txBody>
      </p:sp>
    </p:spTree>
    <p:extLst>
      <p:ext uri="{BB962C8B-B14F-4D97-AF65-F5344CB8AC3E}">
        <p14:creationId xmlns:p14="http://schemas.microsoft.com/office/powerpoint/2010/main" val="151890444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Only-white">
    <p:bg>
      <p:bgPr>
        <a:solidFill>
          <a:srgbClr val="12ABDB"/>
        </a:solidFill>
        <a:effectLst/>
      </p:bgPr>
    </p:bg>
    <p:spTree>
      <p:nvGrpSpPr>
        <p:cNvPr id="1" name=""/>
        <p:cNvGrpSpPr/>
        <p:nvPr/>
      </p:nvGrpSpPr>
      <p:grpSpPr>
        <a:xfrm>
          <a:off x="0" y="0"/>
          <a:ext cx="0" cy="0"/>
          <a:chOff x="0" y="0"/>
          <a:chExt cx="0" cy="0"/>
        </a:xfrm>
      </p:grpSpPr>
      <p:sp>
        <p:nvSpPr>
          <p:cNvPr id="4" name="Freeform 14">
            <a:extLst>
              <a:ext uri="{FF2B5EF4-FFF2-40B4-BE49-F238E27FC236}">
                <a16:creationId xmlns:a16="http://schemas.microsoft.com/office/drawing/2014/main" id="{A5202088-320A-4301-88FF-70BB2CB52272}"/>
              </a:ext>
            </a:extLst>
          </p:cNvPr>
          <p:cNvSpPr/>
          <p:nvPr userDrawn="1"/>
        </p:nvSpPr>
        <p:spPr>
          <a:xfrm flipV="1">
            <a:off x="2703358" y="0"/>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rgbClr val="ECECE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77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404813"/>
            <a:ext cx="6678612" cy="863601"/>
          </a:xfrm>
        </p:spPr>
        <p:txBody>
          <a:bodyPr vert="horz" lIns="0" tIns="0" rIns="0" bIns="0" rtlCol="0" anchor="t">
            <a:noAutofit/>
          </a:bodyPr>
          <a:lstStyle>
            <a:lvl1pPr>
              <a:defRPr lang="en-GB" dirty="0"/>
            </a:lvl1pPr>
          </a:lstStyle>
          <a:p>
            <a:pPr marL="0" lvl="0"/>
            <a:r>
              <a:rPr lang="en-US"/>
              <a:t>Click to edit Master title style</a:t>
            </a:r>
            <a:endParaRPr lang="en-GB"/>
          </a:p>
        </p:txBody>
      </p:sp>
    </p:spTree>
    <p:extLst>
      <p:ext uri="{BB962C8B-B14F-4D97-AF65-F5344CB8AC3E}">
        <p14:creationId xmlns:p14="http://schemas.microsoft.com/office/powerpoint/2010/main" val="2036413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itle Only-white">
    <p:bg>
      <p:bgPr>
        <a:solidFill>
          <a:srgbClr val="12ABDB"/>
        </a:solidFill>
        <a:effectLst/>
      </p:bgPr>
    </p:bg>
    <p:spTree>
      <p:nvGrpSpPr>
        <p:cNvPr id="1" name=""/>
        <p:cNvGrpSpPr/>
        <p:nvPr/>
      </p:nvGrpSpPr>
      <p:grpSpPr>
        <a:xfrm>
          <a:off x="0" y="0"/>
          <a:ext cx="0" cy="0"/>
          <a:chOff x="0" y="0"/>
          <a:chExt cx="0" cy="0"/>
        </a:xfrm>
      </p:grpSpPr>
      <p:sp>
        <p:nvSpPr>
          <p:cNvPr id="4" name="Freeform 14">
            <a:extLst>
              <a:ext uri="{FF2B5EF4-FFF2-40B4-BE49-F238E27FC236}">
                <a16:creationId xmlns:a16="http://schemas.microsoft.com/office/drawing/2014/main" id="{A5202088-320A-4301-88FF-70BB2CB52272}"/>
              </a:ext>
            </a:extLst>
          </p:cNvPr>
          <p:cNvSpPr/>
          <p:nvPr userDrawn="1"/>
        </p:nvSpPr>
        <p:spPr>
          <a:xfrm flipH="1" flipV="1">
            <a:off x="0" y="0"/>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rgbClr val="ECECE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680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404813"/>
            <a:ext cx="6678612" cy="863601"/>
          </a:xfrm>
        </p:spPr>
        <p:txBody>
          <a:bodyPr vert="horz" lIns="0" tIns="0" rIns="0" bIns="0" rtlCol="0" anchor="t">
            <a:noAutofit/>
          </a:bodyPr>
          <a:lstStyle>
            <a:lvl1pPr>
              <a:defRPr lang="en-GB" dirty="0"/>
            </a:lvl1pPr>
          </a:lstStyle>
          <a:p>
            <a:pPr marL="0" lvl="0"/>
            <a:r>
              <a:rPr lang="en-US"/>
              <a:t>Click to edit Master title style</a:t>
            </a:r>
            <a:endParaRPr lang="en-GB"/>
          </a:p>
        </p:txBody>
      </p:sp>
    </p:spTree>
    <p:extLst>
      <p:ext uri="{BB962C8B-B14F-4D97-AF65-F5344CB8AC3E}">
        <p14:creationId xmlns:p14="http://schemas.microsoft.com/office/powerpoint/2010/main" val="40769363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ext with Shapes - Layout1">
    <p:bg>
      <p:bgPr>
        <a:solidFill>
          <a:srgbClr val="12ABDB"/>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Autofit/>
          </a:bodyPr>
          <a:lstStyle>
            <a:lvl1pPr>
              <a:defRPr lang="pt-PT" dirty="0"/>
            </a:lvl1pPr>
          </a:lstStyle>
          <a:p>
            <a:pPr marL="0" lvl="0"/>
            <a:r>
              <a:rPr lang="en-US"/>
              <a:t>Click to add title</a:t>
            </a:r>
            <a:endParaRPr lang="pt-PT"/>
          </a:p>
        </p:txBody>
      </p:sp>
      <p:grpSp>
        <p:nvGrpSpPr>
          <p:cNvPr id="31" name="Group 30"/>
          <p:cNvGrpSpPr/>
          <p:nvPr userDrawn="1"/>
        </p:nvGrpSpPr>
        <p:grpSpPr>
          <a:xfrm>
            <a:off x="407988" y="2118167"/>
            <a:ext cx="11376025" cy="2683397"/>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sp>
        <p:nvSpPr>
          <p:cNvPr id="41" name="Rectangle 40"/>
          <p:cNvSpPr/>
          <p:nvPr userDrawn="1"/>
        </p:nvSpPr>
        <p:spPr>
          <a:xfrm>
            <a:off x="407988" y="4020686"/>
            <a:ext cx="3634857" cy="23222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2" name="Rectangle 41"/>
          <p:cNvSpPr/>
          <p:nvPr userDrawn="1"/>
        </p:nvSpPr>
        <p:spPr>
          <a:xfrm>
            <a:off x="4278571" y="4020686"/>
            <a:ext cx="3634857" cy="23222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3" name="Rectangle 42"/>
          <p:cNvSpPr/>
          <p:nvPr userDrawn="1"/>
        </p:nvSpPr>
        <p:spPr>
          <a:xfrm>
            <a:off x="8149156" y="4020686"/>
            <a:ext cx="3634857" cy="23222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nvGrpSpPr>
          <p:cNvPr id="44" name="Group 43"/>
          <p:cNvGrpSpPr/>
          <p:nvPr userDrawn="1"/>
        </p:nvGrpSpPr>
        <p:grpSpPr>
          <a:xfrm>
            <a:off x="8373319" y="3927105"/>
            <a:ext cx="1060048" cy="656220"/>
            <a:chOff x="402908" y="4604216"/>
            <a:chExt cx="920734" cy="569978"/>
          </a:xfrm>
        </p:grpSpPr>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46" name="TextBox 45"/>
            <p:cNvSpPr txBox="1"/>
            <p:nvPr/>
          </p:nvSpPr>
          <p:spPr>
            <a:xfrm>
              <a:off x="588264" y="4685498"/>
              <a:ext cx="477849" cy="347527"/>
            </a:xfrm>
            <a:prstGeom prst="rect">
              <a:avLst/>
            </a:prstGeom>
            <a:noFill/>
          </p:spPr>
          <p:txBody>
            <a:bodyPr wrap="none" rtlCol="0">
              <a:spAutoFit/>
            </a:bodyPr>
            <a:lstStyle/>
            <a:p>
              <a:r>
                <a:rPr lang="en-US" sz="2000" b="1">
                  <a:solidFill>
                    <a:schemeClr val="accent1"/>
                  </a:solidFill>
                </a:rPr>
                <a:t>03</a:t>
              </a:r>
            </a:p>
          </p:txBody>
        </p:sp>
      </p:grpSp>
      <p:grpSp>
        <p:nvGrpSpPr>
          <p:cNvPr id="47" name="Group 46"/>
          <p:cNvGrpSpPr/>
          <p:nvPr userDrawn="1"/>
        </p:nvGrpSpPr>
        <p:grpSpPr>
          <a:xfrm>
            <a:off x="4391628" y="3927105"/>
            <a:ext cx="1060048" cy="656220"/>
            <a:chOff x="402908" y="4604216"/>
            <a:chExt cx="920734" cy="569978"/>
          </a:xfrm>
        </p:grpSpPr>
        <p:pic>
          <p:nvPicPr>
            <p:cNvPr id="49"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3" name="TextBox 52"/>
            <p:cNvSpPr txBox="1"/>
            <p:nvPr/>
          </p:nvSpPr>
          <p:spPr>
            <a:xfrm>
              <a:off x="588264" y="4685498"/>
              <a:ext cx="477849" cy="347527"/>
            </a:xfrm>
            <a:prstGeom prst="rect">
              <a:avLst/>
            </a:prstGeom>
            <a:noFill/>
          </p:spPr>
          <p:txBody>
            <a:bodyPr wrap="none" rtlCol="0">
              <a:spAutoFit/>
            </a:bodyPr>
            <a:lstStyle/>
            <a:p>
              <a:r>
                <a:rPr lang="en-US" sz="2000" b="1">
                  <a:solidFill>
                    <a:schemeClr val="accent1"/>
                  </a:solidFill>
                </a:rPr>
                <a:t>02</a:t>
              </a:r>
            </a:p>
          </p:txBody>
        </p:sp>
      </p:grpSp>
      <p:grpSp>
        <p:nvGrpSpPr>
          <p:cNvPr id="54" name="Group 53"/>
          <p:cNvGrpSpPr/>
          <p:nvPr userDrawn="1"/>
        </p:nvGrpSpPr>
        <p:grpSpPr>
          <a:xfrm>
            <a:off x="617317" y="3927105"/>
            <a:ext cx="1060048" cy="656220"/>
            <a:chOff x="402908" y="4604216"/>
            <a:chExt cx="920734" cy="569978"/>
          </a:xfrm>
        </p:grpSpPr>
        <p:pic>
          <p:nvPicPr>
            <p:cNvPr id="55" name="Picture 5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6" name="TextBox 55"/>
            <p:cNvSpPr txBox="1"/>
            <p:nvPr/>
          </p:nvSpPr>
          <p:spPr>
            <a:xfrm>
              <a:off x="588264" y="4685498"/>
              <a:ext cx="477849" cy="347527"/>
            </a:xfrm>
            <a:prstGeom prst="rect">
              <a:avLst/>
            </a:prstGeom>
            <a:noFill/>
          </p:spPr>
          <p:txBody>
            <a:bodyPr wrap="none" rtlCol="0">
              <a:spAutoFit/>
            </a:bodyPr>
            <a:lstStyle/>
            <a:p>
              <a:r>
                <a:rPr lang="en-US" sz="2000" b="1">
                  <a:solidFill>
                    <a:schemeClr val="accent1"/>
                  </a:solidFill>
                </a:rPr>
                <a:t>01</a:t>
              </a:r>
            </a:p>
          </p:txBody>
        </p:sp>
      </p:grpSp>
      <p:pic>
        <p:nvPicPr>
          <p:cNvPr id="57" name="Picture 5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7741" y="1862571"/>
            <a:ext cx="3193059" cy="1978701"/>
          </a:xfrm>
          <a:prstGeom prst="rect">
            <a:avLst/>
          </a:prstGeom>
        </p:spPr>
      </p:pic>
      <p:pic>
        <p:nvPicPr>
          <p:cNvPr id="58" name="Picture 5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1384726" y="1360456"/>
            <a:ext cx="1694139" cy="1933432"/>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28541" y="1862571"/>
            <a:ext cx="3193059" cy="1978701"/>
          </a:xfrm>
          <a:prstGeom prst="rect">
            <a:avLst/>
          </a:prstGeom>
        </p:spPr>
      </p:pic>
      <p:pic>
        <p:nvPicPr>
          <p:cNvPr id="60" name="Picture 5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56701" y="1395468"/>
            <a:ext cx="2168659" cy="2008131"/>
          </a:xfrm>
          <a:prstGeom prst="rect">
            <a:avLst/>
          </a:prstGeom>
        </p:spPr>
      </p:pic>
      <p:pic>
        <p:nvPicPr>
          <p:cNvPr id="61" name="Picture 6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28381" y="1862571"/>
            <a:ext cx="3193059" cy="1978701"/>
          </a:xfrm>
          <a:prstGeom prst="rect">
            <a:avLst/>
          </a:prstGeom>
        </p:spPr>
      </p:pic>
      <p:pic>
        <p:nvPicPr>
          <p:cNvPr id="62" name="Picture 6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976360" y="1578863"/>
            <a:ext cx="1996972" cy="1727697"/>
          </a:xfrm>
          <a:prstGeom prst="rect">
            <a:avLst/>
          </a:prstGeom>
        </p:spPr>
      </p:pic>
      <p:sp>
        <p:nvSpPr>
          <p:cNvPr id="36" name="Text Placeholder 7">
            <a:extLst>
              <a:ext uri="{FF2B5EF4-FFF2-40B4-BE49-F238E27FC236}">
                <a16:creationId xmlns:a16="http://schemas.microsoft.com/office/drawing/2014/main" id="{4E956B68-B273-4648-AC4B-C9A05A745160}"/>
              </a:ext>
            </a:extLst>
          </p:cNvPr>
          <p:cNvSpPr>
            <a:spLocks noGrp="1"/>
          </p:cNvSpPr>
          <p:nvPr userDrawn="1">
            <p:ph type="body" sz="quarter" idx="32" hasCustomPrompt="1"/>
          </p:nvPr>
        </p:nvSpPr>
        <p:spPr>
          <a:xfrm>
            <a:off x="54843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userDrawn="1">
            <p:ph type="body" sz="quarter" idx="33" hasCustomPrompt="1"/>
          </p:nvPr>
        </p:nvSpPr>
        <p:spPr>
          <a:xfrm>
            <a:off x="43990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userDrawn="1">
            <p:ph type="body" sz="quarter" idx="34" hasCustomPrompt="1"/>
          </p:nvPr>
        </p:nvSpPr>
        <p:spPr>
          <a:xfrm>
            <a:off x="8259872" y="4675270"/>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3736573991"/>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Autofit/>
          </a:bodyPr>
          <a:lstStyle>
            <a:lvl1pPr>
              <a:defRPr lang="pt-PT" dirty="0"/>
            </a:lvl1pPr>
          </a:lstStyle>
          <a:p>
            <a:pPr marL="0" lvl="0"/>
            <a:r>
              <a:rPr lang="en-US"/>
              <a:t>Click to add title</a:t>
            </a:r>
            <a:endParaRPr lang="pt-PT"/>
          </a:p>
        </p:txBody>
      </p:sp>
      <p:sp>
        <p:nvSpPr>
          <p:cNvPr id="32" name="Rectangle: Rounded Corners 31"/>
          <p:cNvSpPr/>
          <p:nvPr userDrawn="1"/>
        </p:nvSpPr>
        <p:spPr>
          <a:xfrm>
            <a:off x="407988" y="1486895"/>
            <a:ext cx="3634857" cy="3237506"/>
          </a:xfrm>
          <a:prstGeom prst="roundRect">
            <a:avLst>
              <a:gd name="adj" fmla="val 345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Rectangle: Rounded Corners 32"/>
          <p:cNvSpPr/>
          <p:nvPr userDrawn="1"/>
        </p:nvSpPr>
        <p:spPr>
          <a:xfrm>
            <a:off x="4278571" y="1486895"/>
            <a:ext cx="3634857" cy="3237506"/>
          </a:xfrm>
          <a:prstGeom prst="roundRect">
            <a:avLst>
              <a:gd name="adj" fmla="val 345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4" name="Rectangle: Rounded Corners 33"/>
          <p:cNvSpPr/>
          <p:nvPr userDrawn="1"/>
        </p:nvSpPr>
        <p:spPr>
          <a:xfrm>
            <a:off x="8149156" y="1486895"/>
            <a:ext cx="3634857" cy="3237506"/>
          </a:xfrm>
          <a:prstGeom prst="roundRect">
            <a:avLst>
              <a:gd name="adj" fmla="val 275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1" name="Rectangle: Rounded Corners 40"/>
          <p:cNvSpPr/>
          <p:nvPr userDrawn="1"/>
        </p:nvSpPr>
        <p:spPr>
          <a:xfrm>
            <a:off x="407988" y="3087094"/>
            <a:ext cx="3634857" cy="3366093"/>
          </a:xfrm>
          <a:prstGeom prst="roundRect">
            <a:avLst>
              <a:gd name="adj" fmla="val 4149"/>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2" name="Rectangle: Rounded Corners 41"/>
          <p:cNvSpPr/>
          <p:nvPr userDrawn="1"/>
        </p:nvSpPr>
        <p:spPr>
          <a:xfrm>
            <a:off x="4278571" y="3087094"/>
            <a:ext cx="3634857" cy="3366093"/>
          </a:xfrm>
          <a:prstGeom prst="roundRect">
            <a:avLst>
              <a:gd name="adj" fmla="val 4497"/>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43" name="Rectangle: Rounded Corners 42"/>
          <p:cNvSpPr/>
          <p:nvPr userDrawn="1"/>
        </p:nvSpPr>
        <p:spPr>
          <a:xfrm>
            <a:off x="8149156" y="3087094"/>
            <a:ext cx="3634857" cy="3366093"/>
          </a:xfrm>
          <a:prstGeom prst="roundRect">
            <a:avLst>
              <a:gd name="adj" fmla="val 4149"/>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6" name="Text Placeholder 7">
            <a:extLst>
              <a:ext uri="{FF2B5EF4-FFF2-40B4-BE49-F238E27FC236}">
                <a16:creationId xmlns:a16="http://schemas.microsoft.com/office/drawing/2014/main" id="{4E956B68-B273-4648-AC4B-C9A05A745160}"/>
              </a:ext>
            </a:extLst>
          </p:cNvPr>
          <p:cNvSpPr>
            <a:spLocks noGrp="1"/>
          </p:cNvSpPr>
          <p:nvPr userDrawn="1">
            <p:ph type="body" sz="quarter" idx="32" hasCustomPrompt="1"/>
          </p:nvPr>
        </p:nvSpPr>
        <p:spPr>
          <a:xfrm>
            <a:off x="572882" y="3744944"/>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userDrawn="1">
            <p:ph type="body" sz="quarter" idx="33" hasCustomPrompt="1"/>
          </p:nvPr>
        </p:nvSpPr>
        <p:spPr>
          <a:xfrm>
            <a:off x="4423522" y="3744944"/>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userDrawn="1">
            <p:ph type="body" sz="quarter" idx="34" hasCustomPrompt="1"/>
          </p:nvPr>
        </p:nvSpPr>
        <p:spPr>
          <a:xfrm>
            <a:off x="8259872" y="3744944"/>
            <a:ext cx="3373328" cy="152233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2495037637"/>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4_Text with Shapes - Layout1">
    <p:bg>
      <p:bgRef idx="1001">
        <a:schemeClr val="bg1"/>
      </p:bgRef>
    </p:bg>
    <p:spTree>
      <p:nvGrpSpPr>
        <p:cNvPr id="1" name=""/>
        <p:cNvGrpSpPr/>
        <p:nvPr/>
      </p:nvGrpSpPr>
      <p:grpSpPr>
        <a:xfrm>
          <a:off x="0" y="0"/>
          <a:ext cx="0" cy="0"/>
          <a:chOff x="0" y="0"/>
          <a:chExt cx="0" cy="0"/>
        </a:xfrm>
      </p:grpSpPr>
      <p:pic>
        <p:nvPicPr>
          <p:cNvPr id="23" name="Picture 2" descr="https://duckduckgo.com/i/be21e438.png">
            <a:extLst>
              <a:ext uri="{FF2B5EF4-FFF2-40B4-BE49-F238E27FC236}">
                <a16:creationId xmlns:a16="http://schemas.microsoft.com/office/drawing/2014/main" id="{07E61328-B2E6-4723-9509-0B1343BC1B7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2522" y="3196968"/>
            <a:ext cx="763470" cy="80790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ExxonMobil Logo ~ Logo 22">
            <a:extLst>
              <a:ext uri="{FF2B5EF4-FFF2-40B4-BE49-F238E27FC236}">
                <a16:creationId xmlns:a16="http://schemas.microsoft.com/office/drawing/2014/main" id="{B5DD7879-4A41-44B2-B915-22B3F2089492}"/>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t="37833" b="37833"/>
          <a:stretch/>
        </p:blipFill>
        <p:spPr bwMode="auto">
          <a:xfrm>
            <a:off x="1552587" y="3503544"/>
            <a:ext cx="1504938" cy="36620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Icbc Logo PNG Transparent Icbc Logo.PNG Images. | PlusPNG">
            <a:extLst>
              <a:ext uri="{FF2B5EF4-FFF2-40B4-BE49-F238E27FC236}">
                <a16:creationId xmlns:a16="http://schemas.microsoft.com/office/drawing/2014/main" id="{D8BE1E56-8341-4D6A-A10D-774F69CD571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261341" y="3315394"/>
            <a:ext cx="577688" cy="57542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8" descr="Wal-Mart Builds More Warehouses, Better Tech to Boost E ...">
            <a:extLst>
              <a:ext uri="{FF2B5EF4-FFF2-40B4-BE49-F238E27FC236}">
                <a16:creationId xmlns:a16="http://schemas.microsoft.com/office/drawing/2014/main" id="{AD07C6B4-888C-4C17-B098-A56B8C475341}"/>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32500" b="32500"/>
          <a:stretch/>
        </p:blipFill>
        <p:spPr bwMode="auto">
          <a:xfrm>
            <a:off x="630969" y="4243680"/>
            <a:ext cx="996745" cy="26164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Berkshire Hathaway logo Vector - AI PDF - Free Graphics ...">
            <a:extLst>
              <a:ext uri="{FF2B5EF4-FFF2-40B4-BE49-F238E27FC236}">
                <a16:creationId xmlns:a16="http://schemas.microsoft.com/office/drawing/2014/main" id="{89802CAD-4348-41E1-A79F-E94DD4F433C5}"/>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43050" b="43050"/>
          <a:stretch/>
        </p:blipFill>
        <p:spPr bwMode="auto">
          <a:xfrm>
            <a:off x="1790549" y="4229079"/>
            <a:ext cx="2092476" cy="29084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2" descr="Petrobras">
            <a:extLst>
              <a:ext uri="{FF2B5EF4-FFF2-40B4-BE49-F238E27FC236}">
                <a16:creationId xmlns:a16="http://schemas.microsoft.com/office/drawing/2014/main" id="{64F2C807-F2ED-4D60-A215-DF3C60DE49BB}"/>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9148" y="4716919"/>
            <a:ext cx="1044905" cy="65526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4" descr="Cbc Logo Vectors Free Download">
            <a:extLst>
              <a:ext uri="{FF2B5EF4-FFF2-40B4-BE49-F238E27FC236}">
                <a16:creationId xmlns:a16="http://schemas.microsoft.com/office/drawing/2014/main" id="{858F2C0A-7DA5-4120-BFF3-6AC71DA70059}"/>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t="36250" b="36250"/>
          <a:stretch/>
        </p:blipFill>
        <p:spPr bwMode="auto">
          <a:xfrm>
            <a:off x="1943100" y="4810269"/>
            <a:ext cx="1731818" cy="47625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6" descr="Apple Releases iPad Air, iPad Mini Retina at the October ...">
            <a:extLst>
              <a:ext uri="{FF2B5EF4-FFF2-40B4-BE49-F238E27FC236}">
                <a16:creationId xmlns:a16="http://schemas.microsoft.com/office/drawing/2014/main" id="{6FA2D4D1-0BCD-4FC8-9774-98E51A957CB7}"/>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418205" y="3173173"/>
            <a:ext cx="842477" cy="84247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ExxonMobil Logo ~ Logo 22">
            <a:extLst>
              <a:ext uri="{FF2B5EF4-FFF2-40B4-BE49-F238E27FC236}">
                <a16:creationId xmlns:a16="http://schemas.microsoft.com/office/drawing/2014/main" id="{B236A497-5BC1-4E00-B071-3DE655E2135F}"/>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t="37833" b="37833"/>
          <a:stretch/>
        </p:blipFill>
        <p:spPr bwMode="auto">
          <a:xfrm>
            <a:off x="5209814" y="3503544"/>
            <a:ext cx="1504938" cy="366202"/>
          </a:xfrm>
          <a:prstGeom prst="rect">
            <a:avLst/>
          </a:prstGeom>
          <a:noFill/>
          <a:extLst>
            <a:ext uri="{909E8E84-426E-40DD-AFC4-6F175D3DCCD1}">
              <a14:hiddenFill xmlns:a14="http://schemas.microsoft.com/office/drawing/2010/main">
                <a:solidFill>
                  <a:srgbClr val="FFFFFF"/>
                </a:solidFill>
              </a14:hiddenFill>
            </a:ext>
          </a:extLst>
        </p:spPr>
      </p:pic>
      <p:pic>
        <p:nvPicPr>
          <p:cNvPr id="15362" name="Picture 2" descr="Google le dice adiÃ³s a su antiguo logo con esta nueva ...">
            <a:extLst>
              <a:ext uri="{FF2B5EF4-FFF2-40B4-BE49-F238E27FC236}">
                <a16:creationId xmlns:a16="http://schemas.microsoft.com/office/drawing/2014/main" id="{20E9AE4B-98BD-49AF-BBE9-535FE77FFE26}"/>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t="28348" b="28348"/>
          <a:stretch/>
        </p:blipFill>
        <p:spPr bwMode="auto">
          <a:xfrm>
            <a:off x="6781800" y="3499546"/>
            <a:ext cx="1021185" cy="331667"/>
          </a:xfrm>
          <a:prstGeom prst="rect">
            <a:avLst/>
          </a:prstGeom>
          <a:noFill/>
          <a:extLst>
            <a:ext uri="{909E8E84-426E-40DD-AFC4-6F175D3DCCD1}">
              <a14:hiddenFill xmlns:a14="http://schemas.microsoft.com/office/drawing/2010/main">
                <a:solidFill>
                  <a:srgbClr val="FFFFFF"/>
                </a:solidFill>
              </a14:hiddenFill>
            </a:ext>
          </a:extLst>
        </p:spPr>
      </p:pic>
      <p:pic>
        <p:nvPicPr>
          <p:cNvPr id="15366" name="Picture 6" descr="Stock Update (NASDAQ:MSFT): Qisda Signs Patent Licensing ...">
            <a:extLst>
              <a:ext uri="{FF2B5EF4-FFF2-40B4-BE49-F238E27FC236}">
                <a16:creationId xmlns:a16="http://schemas.microsoft.com/office/drawing/2014/main" id="{B1CB1CCF-B0D8-468F-8697-0CCB9ECCB72A}"/>
              </a:ext>
            </a:extLst>
          </p:cNvPr>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t="22262" b="29343"/>
          <a:stretch/>
        </p:blipFill>
        <p:spPr bwMode="auto">
          <a:xfrm>
            <a:off x="4507638" y="4166790"/>
            <a:ext cx="1206062" cy="32831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0" descr="Berkshire Hathaway logo Vector - AI PDF - Free Graphics ...">
            <a:extLst>
              <a:ext uri="{FF2B5EF4-FFF2-40B4-BE49-F238E27FC236}">
                <a16:creationId xmlns:a16="http://schemas.microsoft.com/office/drawing/2014/main" id="{D19C1A11-43A7-4E79-B2AB-48B03355CD34}"/>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43050" b="43050"/>
          <a:stretch/>
        </p:blipFill>
        <p:spPr bwMode="auto">
          <a:xfrm>
            <a:off x="5810250" y="4184393"/>
            <a:ext cx="2092476" cy="290846"/>
          </a:xfrm>
          <a:prstGeom prst="rect">
            <a:avLst/>
          </a:prstGeom>
          <a:noFill/>
          <a:extLst>
            <a:ext uri="{909E8E84-426E-40DD-AFC4-6F175D3DCCD1}">
              <a14:hiddenFill xmlns:a14="http://schemas.microsoft.com/office/drawing/2010/main">
                <a:solidFill>
                  <a:srgbClr val="FFFFFF"/>
                </a:solidFill>
              </a14:hiddenFill>
            </a:ext>
          </a:extLst>
        </p:spPr>
      </p:pic>
      <p:pic>
        <p:nvPicPr>
          <p:cNvPr id="15368" name="Picture 8" descr="Johnson and Johnson Logo">
            <a:extLst>
              <a:ext uri="{FF2B5EF4-FFF2-40B4-BE49-F238E27FC236}">
                <a16:creationId xmlns:a16="http://schemas.microsoft.com/office/drawing/2014/main" id="{C6482FA1-D80A-4D43-ACC2-1380531B1F2F}"/>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15517" t="45023" b="22647"/>
          <a:stretch/>
        </p:blipFill>
        <p:spPr bwMode="auto">
          <a:xfrm>
            <a:off x="4600763" y="4799720"/>
            <a:ext cx="1736796" cy="348937"/>
          </a:xfrm>
          <a:prstGeom prst="rect">
            <a:avLst/>
          </a:prstGeom>
          <a:noFill/>
          <a:extLst>
            <a:ext uri="{909E8E84-426E-40DD-AFC4-6F175D3DCCD1}">
              <a14:hiddenFill xmlns:a14="http://schemas.microsoft.com/office/drawing/2010/main">
                <a:solidFill>
                  <a:srgbClr val="FFFFFF"/>
                </a:solidFill>
              </a14:hiddenFill>
            </a:ext>
          </a:extLst>
        </p:spPr>
      </p:pic>
      <p:pic>
        <p:nvPicPr>
          <p:cNvPr id="15370" name="Picture 10" descr="Wells Fargo Financial â Free Vectors, Logos, Icons and ...">
            <a:extLst>
              <a:ext uri="{FF2B5EF4-FFF2-40B4-BE49-F238E27FC236}">
                <a16:creationId xmlns:a16="http://schemas.microsoft.com/office/drawing/2014/main" id="{E1784339-FC6C-4862-9537-C846588BB230}"/>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t="29296" b="29296"/>
          <a:stretch/>
        </p:blipFill>
        <p:spPr bwMode="auto">
          <a:xfrm>
            <a:off x="6338052" y="4695825"/>
            <a:ext cx="1358388" cy="561844"/>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6" descr="Apple Releases iPad Air, iPad Mini Retina at the October ...">
            <a:extLst>
              <a:ext uri="{FF2B5EF4-FFF2-40B4-BE49-F238E27FC236}">
                <a16:creationId xmlns:a16="http://schemas.microsoft.com/office/drawing/2014/main" id="{74ADDD57-1DBC-4195-AB86-169A36C0DACC}"/>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8304405" y="3173173"/>
            <a:ext cx="842477" cy="842477"/>
          </a:xfrm>
          <a:prstGeom prst="rect">
            <a:avLst/>
          </a:prstGeom>
          <a:noFill/>
          <a:extLst>
            <a:ext uri="{909E8E84-426E-40DD-AFC4-6F175D3DCCD1}">
              <a14:hiddenFill xmlns:a14="http://schemas.microsoft.com/office/drawing/2010/main">
                <a:solidFill>
                  <a:srgbClr val="FFFFFF"/>
                </a:solidFill>
              </a14:hiddenFill>
            </a:ext>
          </a:extLst>
        </p:spPr>
      </p:pic>
      <p:pic>
        <p:nvPicPr>
          <p:cNvPr id="15372" name="Picture 12" descr="Le cloud d'Amazon bientÃÂ´t accessible en Direct Connect en ...">
            <a:extLst>
              <a:ext uri="{FF2B5EF4-FFF2-40B4-BE49-F238E27FC236}">
                <a16:creationId xmlns:a16="http://schemas.microsoft.com/office/drawing/2014/main" id="{5E78D826-4912-4D17-818B-141BBC556F30}"/>
              </a:ext>
            </a:extLst>
          </p:cNvPr>
          <p:cNvPicPr>
            <a:picLocks noChangeAspect="1" noChangeArrowheads="1"/>
          </p:cNvPicPr>
          <p:nvPr userDrawn="1"/>
        </p:nvPicPr>
        <p:blipFill rotWithShape="1">
          <a:blip r:embed="rId14">
            <a:extLst>
              <a:ext uri="{28A0092B-C50C-407E-A947-70E740481C1C}">
                <a14:useLocalDpi xmlns:a14="http://schemas.microsoft.com/office/drawing/2010/main" val="0"/>
              </a:ext>
            </a:extLst>
          </a:blip>
          <a:srcRect l="6321" t="35603" r="6321" b="35603"/>
          <a:stretch/>
        </p:blipFill>
        <p:spPr bwMode="auto">
          <a:xfrm>
            <a:off x="9161865" y="3472864"/>
            <a:ext cx="1195167" cy="393938"/>
          </a:xfrm>
          <a:prstGeom prst="rect">
            <a:avLst/>
          </a:prstGeom>
          <a:noFill/>
          <a:extLst>
            <a:ext uri="{909E8E84-426E-40DD-AFC4-6F175D3DCCD1}">
              <a14:hiddenFill xmlns:a14="http://schemas.microsoft.com/office/drawing/2010/main">
                <a:solidFill>
                  <a:srgbClr val="FFFFFF"/>
                </a:solidFill>
              </a14:hiddenFill>
            </a:ext>
          </a:extLst>
        </p:spPr>
      </p:pic>
      <p:pic>
        <p:nvPicPr>
          <p:cNvPr id="15374" name="Picture 14" descr="Une explication pour &quot;Alphabet&quot;, le nouveau nom de Google">
            <a:extLst>
              <a:ext uri="{FF2B5EF4-FFF2-40B4-BE49-F238E27FC236}">
                <a16:creationId xmlns:a16="http://schemas.microsoft.com/office/drawing/2014/main" id="{86AC7EB8-DAF0-4F70-9F79-1A158EFE4E19}"/>
              </a:ext>
            </a:extLst>
          </p:cNvPr>
          <p:cNvPicPr>
            <a:picLocks noChangeAspect="1" noChangeArrowheads="1"/>
          </p:cNvPicPr>
          <p:nvPr userDrawn="1"/>
        </p:nvPicPr>
        <p:blipFill rotWithShape="1">
          <a:blip r:embed="rId15">
            <a:extLst>
              <a:ext uri="{28A0092B-C50C-407E-A947-70E740481C1C}">
                <a14:useLocalDpi xmlns:a14="http://schemas.microsoft.com/office/drawing/2010/main" val="0"/>
              </a:ext>
            </a:extLst>
          </a:blip>
          <a:srcRect l="11634" t="24138" r="15029" b="38105"/>
          <a:stretch/>
        </p:blipFill>
        <p:spPr bwMode="auto">
          <a:xfrm>
            <a:off x="10486315" y="3459745"/>
            <a:ext cx="1064157" cy="321681"/>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Stock Update (NASDAQ:MSFT): Qisda Signs Patent Licensing ...">
            <a:extLst>
              <a:ext uri="{FF2B5EF4-FFF2-40B4-BE49-F238E27FC236}">
                <a16:creationId xmlns:a16="http://schemas.microsoft.com/office/drawing/2014/main" id="{BF72ACEC-7C30-4B2A-8B78-A6F43ABD0458}"/>
              </a:ext>
            </a:extLst>
          </p:cNvPr>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t="22262" b="29343"/>
          <a:stretch/>
        </p:blipFill>
        <p:spPr bwMode="auto">
          <a:xfrm>
            <a:off x="8633263" y="4166790"/>
            <a:ext cx="1206062" cy="328314"/>
          </a:xfrm>
          <a:prstGeom prst="rect">
            <a:avLst/>
          </a:prstGeom>
          <a:noFill/>
          <a:extLst>
            <a:ext uri="{909E8E84-426E-40DD-AFC4-6F175D3DCCD1}">
              <a14:hiddenFill xmlns:a14="http://schemas.microsoft.com/office/drawing/2010/main">
                <a:solidFill>
                  <a:srgbClr val="FFFFFF"/>
                </a:solidFill>
              </a14:hiddenFill>
            </a:ext>
          </a:extLst>
        </p:spPr>
      </p:pic>
      <p:pic>
        <p:nvPicPr>
          <p:cNvPr id="15376" name="Picture 16" descr="Facebook logo vector (.EPS + .AI + .PDF) free download ...">
            <a:extLst>
              <a:ext uri="{FF2B5EF4-FFF2-40B4-BE49-F238E27FC236}">
                <a16:creationId xmlns:a16="http://schemas.microsoft.com/office/drawing/2014/main" id="{EB2D4348-CA46-4962-B347-502AB694B379}"/>
              </a:ext>
            </a:extLst>
          </p:cNvPr>
          <p:cNvPicPr>
            <a:picLocks noChangeAspect="1" noChangeArrowheads="1"/>
          </p:cNvPicPr>
          <p:nvPr userDrawn="1"/>
        </p:nvPicPr>
        <p:blipFill rotWithShape="1">
          <a:blip r:embed="rId16">
            <a:extLst>
              <a:ext uri="{28A0092B-C50C-407E-A947-70E740481C1C}">
                <a14:useLocalDpi xmlns:a14="http://schemas.microsoft.com/office/drawing/2010/main" val="0"/>
              </a:ext>
            </a:extLst>
          </a:blip>
          <a:srcRect l="4297" t="38867" r="4297" b="38867"/>
          <a:stretch/>
        </p:blipFill>
        <p:spPr bwMode="auto">
          <a:xfrm>
            <a:off x="10071402" y="4171368"/>
            <a:ext cx="1173851" cy="285938"/>
          </a:xfrm>
          <a:prstGeom prst="rect">
            <a:avLst/>
          </a:prstGeom>
          <a:noFill/>
          <a:extLst>
            <a:ext uri="{909E8E84-426E-40DD-AFC4-6F175D3DCCD1}">
              <a14:hiddenFill xmlns:a14="http://schemas.microsoft.com/office/drawing/2010/main">
                <a:solidFill>
                  <a:srgbClr val="FFFFFF"/>
                </a:solidFill>
              </a14:hiddenFill>
            </a:ext>
          </a:extLst>
        </p:spPr>
      </p:pic>
      <p:pic>
        <p:nvPicPr>
          <p:cNvPr id="15378" name="Picture 18" descr="Alibaba China Logo">
            <a:extLst>
              <a:ext uri="{FF2B5EF4-FFF2-40B4-BE49-F238E27FC236}">
                <a16:creationId xmlns:a16="http://schemas.microsoft.com/office/drawing/2014/main" id="{52A567F2-7EC4-4FA9-AF3D-5C4B7F138846}"/>
              </a:ext>
            </a:extLst>
          </p:cNvPr>
          <p:cNvPicPr>
            <a:picLocks noChangeAspect="1" noChangeArrowheads="1"/>
          </p:cNvPicPr>
          <p:nvPr userDrawn="1"/>
        </p:nvPicPr>
        <p:blipFill rotWithShape="1">
          <a:blip r:embed="rId17">
            <a:extLst>
              <a:ext uri="{28A0092B-C50C-407E-A947-70E740481C1C}">
                <a14:useLocalDpi xmlns:a14="http://schemas.microsoft.com/office/drawing/2010/main" val="0"/>
              </a:ext>
            </a:extLst>
          </a:blip>
          <a:srcRect l="12523" t="21541" r="12523" b="21541"/>
          <a:stretch/>
        </p:blipFill>
        <p:spPr bwMode="auto">
          <a:xfrm>
            <a:off x="8353425" y="4633555"/>
            <a:ext cx="1145758" cy="580223"/>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0" descr="Berkshire Hathaway logo Vector - AI PDF - Free Graphics ...">
            <a:extLst>
              <a:ext uri="{FF2B5EF4-FFF2-40B4-BE49-F238E27FC236}">
                <a16:creationId xmlns:a16="http://schemas.microsoft.com/office/drawing/2014/main" id="{2B42A8BA-2264-4BFD-9714-4AD01F2E6D8E}"/>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43050" b="43050"/>
          <a:stretch/>
        </p:blipFill>
        <p:spPr bwMode="auto">
          <a:xfrm>
            <a:off x="9572625" y="4793993"/>
            <a:ext cx="2092476" cy="290846"/>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p:cNvSpPr/>
          <p:nvPr userDrawn="1"/>
        </p:nvSpPr>
        <p:spPr>
          <a:xfrm>
            <a:off x="407988" y="1824512"/>
            <a:ext cx="3634857" cy="3661888"/>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Autofit/>
          </a:bodyPr>
          <a:lstStyle>
            <a:lvl1pPr>
              <a:defRPr lang="pt-PT" dirty="0"/>
            </a:lvl1pPr>
          </a:lstStyle>
          <a:p>
            <a:pPr marL="0" lvl="0"/>
            <a:r>
              <a:rPr lang="en-US"/>
              <a:t>Click to add title</a:t>
            </a:r>
            <a:endParaRPr lang="pt-PT"/>
          </a:p>
        </p:txBody>
      </p:sp>
      <p:sp>
        <p:nvSpPr>
          <p:cNvPr id="33" name="Rectangle 32"/>
          <p:cNvSpPr/>
          <p:nvPr userDrawn="1"/>
        </p:nvSpPr>
        <p:spPr>
          <a:xfrm>
            <a:off x="4278571" y="1824512"/>
            <a:ext cx="3634857" cy="3661888"/>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4" name="Rectangle 33"/>
          <p:cNvSpPr/>
          <p:nvPr userDrawn="1"/>
        </p:nvSpPr>
        <p:spPr>
          <a:xfrm>
            <a:off x="8149156" y="1824512"/>
            <a:ext cx="3634857" cy="3661888"/>
          </a:xfrm>
          <a:prstGeom prst="rect">
            <a:avLst/>
          </a:prstGeom>
          <a:solidFill>
            <a:schemeClr val="tx1">
              <a:alpha val="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grpSp>
        <p:nvGrpSpPr>
          <p:cNvPr id="2" name="Group 1">
            <a:extLst>
              <a:ext uri="{FF2B5EF4-FFF2-40B4-BE49-F238E27FC236}">
                <a16:creationId xmlns:a16="http://schemas.microsoft.com/office/drawing/2014/main" id="{1CB60705-F6FA-4143-8006-7B4927039446}"/>
              </a:ext>
            </a:extLst>
          </p:cNvPr>
          <p:cNvGrpSpPr/>
          <p:nvPr userDrawn="1"/>
        </p:nvGrpSpPr>
        <p:grpSpPr>
          <a:xfrm>
            <a:off x="1009912" y="1227870"/>
            <a:ext cx="2508718" cy="1949124"/>
            <a:chOff x="667741" y="1066800"/>
            <a:chExt cx="3193059" cy="2480816"/>
          </a:xfrm>
        </p:grpSpPr>
        <p:pic>
          <p:nvPicPr>
            <p:cNvPr id="57" name="Picture 56"/>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667741" y="1568915"/>
              <a:ext cx="3193059" cy="1978701"/>
            </a:xfrm>
            <a:prstGeom prst="rect">
              <a:avLst/>
            </a:prstGeom>
          </p:spPr>
        </p:pic>
        <p:pic>
          <p:nvPicPr>
            <p:cNvPr id="58" name="Picture 57"/>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flipH="1">
              <a:off x="1384726" y="1066800"/>
              <a:ext cx="1694139" cy="1933432"/>
            </a:xfrm>
            <a:prstGeom prst="rect">
              <a:avLst/>
            </a:prstGeom>
          </p:spPr>
        </p:pic>
      </p:grpSp>
      <p:grpSp>
        <p:nvGrpSpPr>
          <p:cNvPr id="3" name="Group 2">
            <a:extLst>
              <a:ext uri="{FF2B5EF4-FFF2-40B4-BE49-F238E27FC236}">
                <a16:creationId xmlns:a16="http://schemas.microsoft.com/office/drawing/2014/main" id="{064FD4E7-950C-4B57-991B-500A76277A96}"/>
              </a:ext>
            </a:extLst>
          </p:cNvPr>
          <p:cNvGrpSpPr/>
          <p:nvPr userDrawn="1"/>
        </p:nvGrpSpPr>
        <p:grpSpPr>
          <a:xfrm>
            <a:off x="4870711" y="1259130"/>
            <a:ext cx="2508720" cy="1921616"/>
            <a:chOff x="4528541" y="1101812"/>
            <a:chExt cx="3193059" cy="2445804"/>
          </a:xfrm>
        </p:grpSpPr>
        <p:pic>
          <p:nvPicPr>
            <p:cNvPr id="59" name="Picture 58"/>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4528541" y="1568915"/>
              <a:ext cx="3193059" cy="1978701"/>
            </a:xfrm>
            <a:prstGeom prst="rect">
              <a:avLst/>
            </a:prstGeom>
          </p:spPr>
        </p:pic>
        <p:pic>
          <p:nvPicPr>
            <p:cNvPr id="60" name="Picture 59"/>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5156701" y="1101812"/>
              <a:ext cx="2168659" cy="2008131"/>
            </a:xfrm>
            <a:prstGeom prst="rect">
              <a:avLst/>
            </a:prstGeom>
          </p:spPr>
        </p:pic>
      </p:grpSp>
      <p:grpSp>
        <p:nvGrpSpPr>
          <p:cNvPr id="4" name="Group 3">
            <a:extLst>
              <a:ext uri="{FF2B5EF4-FFF2-40B4-BE49-F238E27FC236}">
                <a16:creationId xmlns:a16="http://schemas.microsoft.com/office/drawing/2014/main" id="{CB7C4353-A183-4AF2-A24F-AD3FE2411BD5}"/>
              </a:ext>
            </a:extLst>
          </p:cNvPr>
          <p:cNvGrpSpPr/>
          <p:nvPr userDrawn="1"/>
        </p:nvGrpSpPr>
        <p:grpSpPr>
          <a:xfrm>
            <a:off x="8740305" y="1422872"/>
            <a:ext cx="2508720" cy="1777528"/>
            <a:chOff x="8328381" y="1285207"/>
            <a:chExt cx="3193059" cy="2262409"/>
          </a:xfrm>
        </p:grpSpPr>
        <p:pic>
          <p:nvPicPr>
            <p:cNvPr id="61" name="Picture 60"/>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8328381" y="1568915"/>
              <a:ext cx="3193059" cy="1978701"/>
            </a:xfrm>
            <a:prstGeom prst="rect">
              <a:avLst/>
            </a:prstGeom>
          </p:spPr>
        </p:pic>
        <p:pic>
          <p:nvPicPr>
            <p:cNvPr id="62" name="Picture 61"/>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8976360" y="1285207"/>
              <a:ext cx="1996972" cy="1727697"/>
            </a:xfrm>
            <a:prstGeom prst="rect">
              <a:avLst/>
            </a:prstGeom>
          </p:spPr>
        </p:pic>
      </p:grpSp>
    </p:spTree>
    <p:extLst>
      <p:ext uri="{BB962C8B-B14F-4D97-AF65-F5344CB8AC3E}">
        <p14:creationId xmlns:p14="http://schemas.microsoft.com/office/powerpoint/2010/main" val="3656450383"/>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userDrawn="1"/>
        </p:nvSpPr>
        <p:spPr bwMode="auto">
          <a:xfrm>
            <a:off x="0" y="0"/>
            <a:ext cx="51816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50" name="Picture 4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69654" y="1742070"/>
            <a:ext cx="2793738" cy="4710964"/>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4"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6240463" y="1412874"/>
            <a:ext cx="5543549" cy="504016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327119349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750"/>
                                        <p:tgtEl>
                                          <p:spTgt spid="39"/>
                                        </p:tgtEl>
                                      </p:cBhvr>
                                    </p:animEffect>
                                  </p:childTnLst>
                                </p:cTn>
                              </p:par>
                              <p:par>
                                <p:cTn id="8" presetID="42" presetClass="path" presetSubtype="0" decel="100000" fill="hold" grpId="1" nodeType="withEffect">
                                  <p:stCondLst>
                                    <p:cond delay="250"/>
                                  </p:stCondLst>
                                  <p:childTnLst>
                                    <p:animMotion origin="layout" path="M 2.77556E-17 -0.15116 L 2.77556E-17 2.60209E-18 " pathEditMode="relative" rAng="0" ptsTypes="AA">
                                      <p:cBhvr>
                                        <p:cTn id="9" dur="2000" fill="hold"/>
                                        <p:tgtEl>
                                          <p:spTgt spid="39"/>
                                        </p:tgtEl>
                                        <p:attrNameLst>
                                          <p:attrName>ppt_x</p:attrName>
                                          <p:attrName>ppt_y</p:attrName>
                                        </p:attrNameLst>
                                      </p:cBhvr>
                                      <p:rCtr x="0" y="777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9" grpId="1" animBg="1"/>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Text with Shapes - Layout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3886200"/>
            <a:ext cx="9319260" cy="2576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5" name="Freeform 24"/>
          <p:cNvSpPr/>
          <p:nvPr userDrawn="1"/>
        </p:nvSpPr>
        <p:spPr>
          <a:xfrm>
            <a:off x="5120014" y="1680518"/>
            <a:ext cx="7071986" cy="517748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Autofit/>
          </a:bodyPr>
          <a:lstStyle>
            <a:lvl1pPr>
              <a:defRPr lang="pt-PT" dirty="0"/>
            </a:lvl1pPr>
          </a:lstStyle>
          <a:p>
            <a:pPr marL="0" lvl="0"/>
            <a:r>
              <a:rPr lang="en-US"/>
              <a:t>Click to add title</a:t>
            </a:r>
            <a:endParaRPr lang="pt-PT"/>
          </a:p>
        </p:txBody>
      </p:sp>
      <p:grpSp>
        <p:nvGrpSpPr>
          <p:cNvPr id="10" name="Group 9"/>
          <p:cNvGrpSpPr/>
          <p:nvPr userDrawn="1"/>
        </p:nvGrpSpPr>
        <p:grpSpPr>
          <a:xfrm>
            <a:off x="5856419" y="1375746"/>
            <a:ext cx="5927594" cy="4974907"/>
            <a:chOff x="5532556" y="1291077"/>
            <a:chExt cx="5927594" cy="4974907"/>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32556" y="1291077"/>
              <a:ext cx="5927594" cy="4974907"/>
            </a:xfrm>
            <a:prstGeom prst="rect">
              <a:avLst/>
            </a:prstGeom>
          </p:spPr>
        </p:pic>
        <p:sp>
          <p:nvSpPr>
            <p:cNvPr id="12" name="Rectangle 11"/>
            <p:cNvSpPr/>
            <p:nvPr/>
          </p:nvSpPr>
          <p:spPr>
            <a:xfrm>
              <a:off x="6217920" y="5250181"/>
              <a:ext cx="1219200" cy="461665"/>
            </a:xfrm>
            <a:prstGeom prst="rect">
              <a:avLst/>
            </a:prstGeom>
          </p:spPr>
          <p:txBody>
            <a:bodyPr wrap="square" lIns="0" tIns="0" rIns="0" bIns="91440">
              <a:spAutoFit/>
            </a:bodyPr>
            <a:lstStyle/>
            <a:p>
              <a:pPr algn="ctr"/>
              <a:r>
                <a:rPr lang="en-US" sz="2400" b="1">
                  <a:solidFill>
                    <a:schemeClr val="accent1"/>
                  </a:solidFill>
                </a:rPr>
                <a:t>10%</a:t>
              </a:r>
            </a:p>
          </p:txBody>
        </p:sp>
        <p:sp>
          <p:nvSpPr>
            <p:cNvPr id="14" name="Rectangle 13"/>
            <p:cNvSpPr/>
            <p:nvPr/>
          </p:nvSpPr>
          <p:spPr>
            <a:xfrm>
              <a:off x="7139940" y="4488181"/>
              <a:ext cx="1219200" cy="461665"/>
            </a:xfrm>
            <a:prstGeom prst="rect">
              <a:avLst/>
            </a:prstGeom>
          </p:spPr>
          <p:txBody>
            <a:bodyPr wrap="square" lIns="0" tIns="0" rIns="0" bIns="91440">
              <a:spAutoFit/>
            </a:bodyPr>
            <a:lstStyle/>
            <a:p>
              <a:pPr algn="ctr"/>
              <a:r>
                <a:rPr lang="en-US" sz="2400" b="1">
                  <a:solidFill>
                    <a:schemeClr val="accent1"/>
                  </a:solidFill>
                </a:rPr>
                <a:t>20%</a:t>
              </a:r>
            </a:p>
          </p:txBody>
        </p:sp>
        <p:sp>
          <p:nvSpPr>
            <p:cNvPr id="15" name="Rectangle 14"/>
            <p:cNvSpPr/>
            <p:nvPr/>
          </p:nvSpPr>
          <p:spPr>
            <a:xfrm>
              <a:off x="8100060" y="3756661"/>
              <a:ext cx="1219200" cy="461665"/>
            </a:xfrm>
            <a:prstGeom prst="rect">
              <a:avLst/>
            </a:prstGeom>
          </p:spPr>
          <p:txBody>
            <a:bodyPr wrap="square" lIns="0" tIns="0" rIns="0" bIns="91440">
              <a:spAutoFit/>
            </a:bodyPr>
            <a:lstStyle/>
            <a:p>
              <a:pPr algn="ctr"/>
              <a:r>
                <a:rPr lang="en-US" sz="2400" b="1">
                  <a:solidFill>
                    <a:schemeClr val="accent1"/>
                  </a:solidFill>
                </a:rPr>
                <a:t>30%</a:t>
              </a:r>
            </a:p>
          </p:txBody>
        </p:sp>
      </p:gr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4083602"/>
            <a:ext cx="4591062" cy="2170410"/>
          </a:xfrm>
          <a:prstGeom prst="rect">
            <a:avLst/>
          </a:prstGeom>
        </p:spPr>
        <p:txBody>
          <a:bodyPr anchor="t" anchorCtr="0">
            <a:noAutofit/>
          </a:bodyPr>
          <a:lstStyle>
            <a:lvl1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423891450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5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ppt_x"/>
                                          </p:val>
                                        </p:tav>
                                        <p:tav tm="100000">
                                          <p:val>
                                            <p:strVal val="#ppt_x"/>
                                          </p:val>
                                        </p:tav>
                                      </p:tavLst>
                                    </p:anim>
                                    <p:anim calcmode="lin" valueType="num">
                                      <p:cBhvr additive="base">
                                        <p:cTn id="8" dur="1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2_Text with Shapes - Layout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3048000"/>
            <a:ext cx="9319260" cy="3185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5" name="Freeform 24"/>
          <p:cNvSpPr/>
          <p:nvPr userDrawn="1"/>
        </p:nvSpPr>
        <p:spPr>
          <a:xfrm>
            <a:off x="4724400" y="958079"/>
            <a:ext cx="7467600" cy="5899921"/>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Autofit/>
          </a:bodyPr>
          <a:lstStyle>
            <a:lvl1pPr>
              <a:defRPr lang="pt-PT" dirty="0"/>
            </a:lvl1pPr>
          </a:lstStyle>
          <a:p>
            <a:pPr marL="0" lvl="0"/>
            <a:r>
              <a:rPr lang="en-US"/>
              <a:t>Click to add title</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4083602"/>
            <a:ext cx="4591062" cy="2170410"/>
          </a:xfrm>
          <a:prstGeom prst="rect">
            <a:avLst/>
          </a:prstGeom>
        </p:spPr>
        <p:txBody>
          <a:bodyPr anchor="t" anchorCtr="0">
            <a:noAutofit/>
          </a:bodyPr>
          <a:lstStyle>
            <a:lvl1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295457909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5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ppt_x"/>
                                          </p:val>
                                        </p:tav>
                                        <p:tav tm="100000">
                                          <p:val>
                                            <p:strVal val="#ppt_x"/>
                                          </p:val>
                                        </p:tav>
                                      </p:tavLst>
                                    </p:anim>
                                    <p:anim calcmode="lin" valueType="num">
                                      <p:cBhvr additive="base">
                                        <p:cTn id="8" dur="1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en-US"/>
              <a:t>Click icon to add picture</a:t>
            </a:r>
            <a:endParaRPr lang="pt-PT"/>
          </a:p>
        </p:txBody>
      </p:sp>
      <p:grpSp>
        <p:nvGrpSpPr>
          <p:cNvPr id="17" name="Group 14"/>
          <p:cNvGrpSpPr>
            <a:grpSpLocks noChangeAspect="1"/>
          </p:cNvGrpSpPr>
          <p:nvPr/>
        </p:nvGrpSpPr>
        <p:grpSpPr>
          <a:xfrm>
            <a:off x="407988" y="695702"/>
            <a:ext cx="5040000" cy="1123653"/>
            <a:chOff x="728663" y="4465638"/>
            <a:chExt cx="5354637" cy="1193800"/>
          </a:xfrm>
        </p:grpSpPr>
        <p:sp>
          <p:nvSpPr>
            <p:cNvPr id="18" name="Freeform 11"/>
            <p:cNvSpPr>
              <a:spLocks/>
            </p:cNvSpPr>
            <p:nvPr/>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3" name="Freeform 7">
            <a:extLst>
              <a:ext uri="{FF2B5EF4-FFF2-40B4-BE49-F238E27FC236}">
                <a16:creationId xmlns:a16="http://schemas.microsoft.com/office/drawing/2014/main" id="{44788671-C9CC-7147-B04C-C4C9033C97B9}"/>
              </a:ext>
            </a:extLst>
          </p:cNvPr>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a:extLst>
              <a:ext uri="{FF2B5EF4-FFF2-40B4-BE49-F238E27FC236}">
                <a16:creationId xmlns:a16="http://schemas.microsoft.com/office/drawing/2014/main" id="{B051659C-6388-9647-8D84-63767CF42C4A}"/>
              </a:ext>
            </a:extLst>
          </p:cNvPr>
          <p:cNvGrpSpPr>
            <a:grpSpLocks noChangeAspect="1"/>
          </p:cNvGrpSpPr>
          <p:nvPr userDrawn="1"/>
        </p:nvGrpSpPr>
        <p:grpSpPr>
          <a:xfrm>
            <a:off x="407988" y="695702"/>
            <a:ext cx="5040000" cy="1123653"/>
            <a:chOff x="728663" y="4465638"/>
            <a:chExt cx="5354637" cy="1193800"/>
          </a:xfrm>
        </p:grpSpPr>
        <p:sp>
          <p:nvSpPr>
            <p:cNvPr id="23" name="Freeform 11">
              <a:extLst>
                <a:ext uri="{FF2B5EF4-FFF2-40B4-BE49-F238E27FC236}">
                  <a16:creationId xmlns:a16="http://schemas.microsoft.com/office/drawing/2014/main" id="{0F720869-8623-4443-B56C-7FA795DBC36F}"/>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a:extLst>
                <a:ext uri="{FF2B5EF4-FFF2-40B4-BE49-F238E27FC236}">
                  <a16:creationId xmlns:a16="http://schemas.microsoft.com/office/drawing/2014/main" id="{E4B0E8E2-0EB1-0B4D-BDA2-0D674006EEE5}"/>
                </a:ext>
              </a:extLst>
            </p:cNvPr>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a:extLst>
                <a:ext uri="{FF2B5EF4-FFF2-40B4-BE49-F238E27FC236}">
                  <a16:creationId xmlns:a16="http://schemas.microsoft.com/office/drawing/2014/main" id="{59387069-4217-AF47-9A46-4097D9FBAA1B}"/>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a:extLst>
                <a:ext uri="{FF2B5EF4-FFF2-40B4-BE49-F238E27FC236}">
                  <a16:creationId xmlns:a16="http://schemas.microsoft.com/office/drawing/2014/main" id="{6C5AEC33-9227-A54A-9236-6D8ABC3C6340}"/>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a:extLst>
                <a:ext uri="{FF2B5EF4-FFF2-40B4-BE49-F238E27FC236}">
                  <a16:creationId xmlns:a16="http://schemas.microsoft.com/office/drawing/2014/main" id="{D2B3C9A1-CEA3-2742-B06D-D9687CE2BCF2}"/>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03918491"/>
      </p:ext>
    </p:extLst>
  </p:cSld>
  <p:clrMapOvr>
    <a:masterClrMapping/>
  </p:clrMapOvr>
  <p:extLst>
    <p:ext uri="{DCECCB84-F9BA-43D5-87BE-67443E8EF086}">
      <p15:sldGuideLst xmlns:p15="http://schemas.microsoft.com/office/powerpoint/2012/main">
        <p15:guide id="1" pos="240">
          <p15:clr>
            <a:srgbClr val="FBAE40"/>
          </p15:clr>
        </p15:guide>
        <p15:guide id="2" orient="horz" pos="935">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15" name="Freeform 14"/>
          <p:cNvSpPr/>
          <p:nvPr userDrawn="1"/>
        </p:nvSpPr>
        <p:spPr>
          <a:xfrm>
            <a:off x="5334000" y="3853580"/>
            <a:ext cx="6873945" cy="3004421"/>
          </a:xfrm>
          <a:custGeom>
            <a:avLst/>
            <a:gdLst>
              <a:gd name="connsiteX0" fmla="*/ 3131715 w 6873945"/>
              <a:gd name="connsiteY0" fmla="*/ 226 h 3004421"/>
              <a:gd name="connsiteX1" fmla="*/ 6873945 w 6873945"/>
              <a:gd name="connsiteY1" fmla="*/ 549103 h 3004421"/>
              <a:gd name="connsiteX2" fmla="*/ 6873945 w 6873945"/>
              <a:gd name="connsiteY2" fmla="*/ 2848107 h 3004421"/>
              <a:gd name="connsiteX3" fmla="*/ 6873945 w 6873945"/>
              <a:gd name="connsiteY3" fmla="*/ 3004421 h 3004421"/>
              <a:gd name="connsiteX4" fmla="*/ 0 w 6873945"/>
              <a:gd name="connsiteY4" fmla="*/ 3004421 h 3004421"/>
              <a:gd name="connsiteX5" fmla="*/ 0 w 6873945"/>
              <a:gd name="connsiteY5" fmla="*/ 2711764 h 3004421"/>
              <a:gd name="connsiteX6" fmla="*/ 0 w 6873945"/>
              <a:gd name="connsiteY6" fmla="*/ 1986869 h 3004421"/>
              <a:gd name="connsiteX7" fmla="*/ 3131715 w 6873945"/>
              <a:gd name="connsiteY7" fmla="*/ 226 h 300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3945" h="3004421">
                <a:moveTo>
                  <a:pt x="3131715" y="226"/>
                </a:moveTo>
                <a:cubicBezTo>
                  <a:pt x="4748449" y="11559"/>
                  <a:pt x="6466935" y="445480"/>
                  <a:pt x="6873945" y="549103"/>
                </a:cubicBezTo>
                <a:cubicBezTo>
                  <a:pt x="6873945" y="549103"/>
                  <a:pt x="6873945" y="549103"/>
                  <a:pt x="6873945" y="2848107"/>
                </a:cubicBezTo>
                <a:lnTo>
                  <a:pt x="6873945" y="3004421"/>
                </a:lnTo>
                <a:lnTo>
                  <a:pt x="0" y="3004421"/>
                </a:lnTo>
                <a:lnTo>
                  <a:pt x="0" y="2711764"/>
                </a:lnTo>
                <a:cubicBezTo>
                  <a:pt x="0" y="2477761"/>
                  <a:pt x="0" y="2236211"/>
                  <a:pt x="0" y="1986869"/>
                </a:cubicBezTo>
                <a:cubicBezTo>
                  <a:pt x="0" y="400145"/>
                  <a:pt x="1514981" y="-11108"/>
                  <a:pt x="3131715" y="2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9400" y="836613"/>
            <a:ext cx="4986972" cy="573047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Autofit/>
          </a:bodyPr>
          <a:lstStyle>
            <a:lvl1pPr>
              <a:defRPr lang="pt-PT" dirty="0"/>
            </a:lvl1pPr>
          </a:lstStyle>
          <a:p>
            <a:pPr marL="0" lvl="0"/>
            <a:r>
              <a:rPr lang="en-US"/>
              <a:t>Click to add title</a:t>
            </a:r>
            <a:endParaRPr lang="pt-PT"/>
          </a:p>
        </p:txBody>
      </p:sp>
      <p:sp>
        <p:nvSpPr>
          <p:cNvPr id="16"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6221413" cy="2091210"/>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solidFill>
                  <a:schemeClr val="tx1"/>
                </a:solidFill>
              </a:defRPr>
            </a:lvl2pPr>
            <a:lvl3pPr>
              <a:lnSpc>
                <a:spcPct val="100000"/>
              </a:lnSpc>
              <a:defRPr sz="1400">
                <a:solidFill>
                  <a:schemeClr val="tx1"/>
                </a:solidFill>
              </a:defRPr>
            </a:lvl3pPr>
            <a:lvl4pPr>
              <a:lnSpc>
                <a:spcPct val="100000"/>
              </a:lnSpc>
              <a:defRPr sz="1400">
                <a:solidFill>
                  <a:schemeClr val="tx1"/>
                </a:solidFill>
              </a:defRPr>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21"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444692" y="3958859"/>
            <a:ext cx="4840287" cy="2456339"/>
          </a:xfrm>
          <a:prstGeom prst="rect">
            <a:avLst/>
          </a:prstGeom>
        </p:spPr>
        <p:txBody>
          <a:bodyPr anchor="ctr"/>
          <a:lstStyle>
            <a:lvl1pPr marL="0" indent="0" algn="ctr">
              <a:buNone/>
              <a:defRPr sz="2000"/>
            </a:lvl1pPr>
          </a:lstStyle>
          <a:p>
            <a:endParaRPr lang="pt-PT"/>
          </a:p>
        </p:txBody>
      </p:sp>
    </p:spTree>
    <p:extLst>
      <p:ext uri="{BB962C8B-B14F-4D97-AF65-F5344CB8AC3E}">
        <p14:creationId xmlns:p14="http://schemas.microsoft.com/office/powerpoint/2010/main" val="125244607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4_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2461399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1415"/>
                                        </p:tgtEl>
                                        <p:attrNameLst>
                                          <p:attrName>style.visibility</p:attrName>
                                        </p:attrNameLst>
                                      </p:cBhvr>
                                      <p:to>
                                        <p:strVal val="visible"/>
                                      </p:to>
                                    </p:set>
                                    <p:animEffect transition="in" filter="fade">
                                      <p:cBhvr>
                                        <p:cTn id="7" dur="1000"/>
                                        <p:tgtEl>
                                          <p:spTgt spid="1415"/>
                                        </p:tgtEl>
                                      </p:cBhvr>
                                    </p:animEffect>
                                  </p:childTnLst>
                                </p:cTn>
                              </p:par>
                              <p:par>
                                <p:cTn id="8" presetID="10" presetClass="entr" presetSubtype="0" fill="hold" nodeType="withEffect">
                                  <p:stCondLst>
                                    <p:cond delay="500"/>
                                  </p:stCondLst>
                                  <p:childTnLst>
                                    <p:set>
                                      <p:cBhvr>
                                        <p:cTn id="9" dur="1" fill="hold">
                                          <p:stCondLst>
                                            <p:cond delay="0"/>
                                          </p:stCondLst>
                                        </p:cTn>
                                        <p:tgtEl>
                                          <p:spTgt spid="1590"/>
                                        </p:tgtEl>
                                        <p:attrNameLst>
                                          <p:attrName>style.visibility</p:attrName>
                                        </p:attrNameLst>
                                      </p:cBhvr>
                                      <p:to>
                                        <p:strVal val="visible"/>
                                      </p:to>
                                    </p:set>
                                    <p:animEffect transition="in" filter="fade">
                                      <p:cBhvr>
                                        <p:cTn id="10" dur="500"/>
                                        <p:tgtEl>
                                          <p:spTgt spid="1590"/>
                                        </p:tgtEl>
                                      </p:cBhvr>
                                    </p:animEffect>
                                  </p:childTnLst>
                                </p:cTn>
                              </p:par>
                              <p:par>
                                <p:cTn id="11" presetID="35" presetClass="path" presetSubtype="0" decel="100000" fill="hold" nodeType="withEffect">
                                  <p:stCondLst>
                                    <p:cond delay="500"/>
                                  </p:stCondLst>
                                  <p:childTnLst>
                                    <p:animMotion origin="layout" path="M 0.07057 4.07407E-6 L 1.18395E-16 4.07407E-6 " pathEditMode="relative" rAng="0" ptsTypes="AA">
                                      <p:cBhvr>
                                        <p:cTn id="12" dur="2000" fill="hold"/>
                                        <p:tgtEl>
                                          <p:spTgt spid="1590"/>
                                        </p:tgtEl>
                                        <p:attrNameLst>
                                          <p:attrName>ppt_x</p:attrName>
                                          <p:attrName>ppt_y</p:attrName>
                                        </p:attrNameLst>
                                      </p:cBhvr>
                                      <p:rCtr x="-343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15" grpId="0" animBg="1"/>
    </p:bldLst>
  </p:timing>
  <p:extLst>
    <p:ext uri="{DCECCB84-F9BA-43D5-87BE-67443E8EF086}">
      <p15:sldGuideLst xmlns:p15="http://schemas.microsoft.com/office/powerpoint/2012/main">
        <p15:guide id="1" pos="7219">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Cover1">
    <p:bg>
      <p:bgPr>
        <a:solidFill>
          <a:schemeClr val="bg1"/>
        </a:solidFill>
        <a:effectLst/>
      </p:bgPr>
    </p:bg>
    <p:spTree>
      <p:nvGrpSpPr>
        <p:cNvPr id="1" name=""/>
        <p:cNvGrpSpPr/>
        <p:nvPr/>
      </p:nvGrpSpPr>
      <p:grpSpPr>
        <a:xfrm>
          <a:off x="0" y="0"/>
          <a:ext cx="0" cy="0"/>
          <a:chOff x="0" y="0"/>
          <a:chExt cx="0" cy="0"/>
        </a:xfrm>
      </p:grpSpPr>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1606874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1415"/>
                                        </p:tgtEl>
                                        <p:attrNameLst>
                                          <p:attrName>style.visibility</p:attrName>
                                        </p:attrNameLst>
                                      </p:cBhvr>
                                      <p:to>
                                        <p:strVal val="visible"/>
                                      </p:to>
                                    </p:set>
                                    <p:animEffect transition="in" filter="fade">
                                      <p:cBhvr>
                                        <p:cTn id="7" dur="1000"/>
                                        <p:tgtEl>
                                          <p:spTgt spid="14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15" grpId="0" animBg="1"/>
    </p:bldLst>
  </p:timing>
  <p:extLst>
    <p:ext uri="{DCECCB84-F9BA-43D5-87BE-67443E8EF086}">
      <p15:sldGuideLst xmlns:p15="http://schemas.microsoft.com/office/powerpoint/2012/main">
        <p15:guide id="1" pos="721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6_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1872594968"/>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a:t>Subtitle</a:t>
            </a:r>
          </a:p>
        </p:txBody>
      </p:sp>
    </p:spTree>
    <p:extLst>
      <p:ext uri="{BB962C8B-B14F-4D97-AF65-F5344CB8AC3E}">
        <p14:creationId xmlns:p14="http://schemas.microsoft.com/office/powerpoint/2010/main" val="1801432514"/>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Blank-Gre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a:solidFill>
                <a:prstClr val="black">
                  <a:lumMod val="50000"/>
                  <a:lumOff val="50000"/>
                </a:prstClr>
              </a:solidFill>
              <a:cs typeface="Arial" panose="020B0604020202020204" pitchFamily="34" charset="0"/>
            </a:endParaRPr>
          </a:p>
        </p:txBody>
      </p:sp>
      <p:sp>
        <p:nvSpPr>
          <p:cNvPr id="7" name="Title Placeholder 1">
            <a:extLst>
              <a:ext uri="{FF2B5EF4-FFF2-40B4-BE49-F238E27FC236}">
                <a16:creationId xmlns:a16="http://schemas.microsoft.com/office/drawing/2014/main" id="{7A615D41-74E9-4061-AB12-E9CB0955B45C}"/>
              </a:ext>
            </a:extLst>
          </p:cNvPr>
          <p:cNvSpPr>
            <a:spLocks noGrp="1"/>
          </p:cNvSpPr>
          <p:nvPr>
            <p:ph type="title" hasCustomPrompt="1"/>
          </p:nvPr>
        </p:nvSpPr>
        <p:spPr>
          <a:xfrm>
            <a:off x="407988" y="404813"/>
            <a:ext cx="9864476" cy="863600"/>
          </a:xfrm>
          <a:prstGeom prst="rect">
            <a:avLst/>
          </a:prstGeom>
        </p:spPr>
        <p:txBody>
          <a:bodyPr vert="horz" lIns="0" tIns="0" rIns="0" bIns="0" rtlCol="0" anchor="t">
            <a:noAutofit/>
          </a:bodyPr>
          <a:lstStyle>
            <a:lvl1pPr>
              <a:defRPr lang="pt-PT" dirty="0"/>
            </a:lvl1pPr>
          </a:lstStyle>
          <a:p>
            <a:pPr marL="0" lvl="0"/>
            <a:r>
              <a:rPr lang="en-US"/>
              <a:t>Click to add title</a:t>
            </a:r>
            <a:endParaRPr lang="pt-PT"/>
          </a:p>
        </p:txBody>
      </p:sp>
    </p:spTree>
    <p:extLst>
      <p:ext uri="{BB962C8B-B14F-4D97-AF65-F5344CB8AC3E}">
        <p14:creationId xmlns:p14="http://schemas.microsoft.com/office/powerpoint/2010/main" val="9031794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Title Only-white">
    <p:spTree>
      <p:nvGrpSpPr>
        <p:cNvPr id="1" name=""/>
        <p:cNvGrpSpPr/>
        <p:nvPr/>
      </p:nvGrpSpPr>
      <p:grpSpPr>
        <a:xfrm>
          <a:off x="0" y="0"/>
          <a:ext cx="0" cy="0"/>
          <a:chOff x="0" y="0"/>
          <a:chExt cx="0" cy="0"/>
        </a:xfrm>
      </p:grpSpPr>
      <p:sp>
        <p:nvSpPr>
          <p:cNvPr id="4" name="Freeform 15">
            <a:extLst>
              <a:ext uri="{FF2B5EF4-FFF2-40B4-BE49-F238E27FC236}">
                <a16:creationId xmlns:a16="http://schemas.microsoft.com/office/drawing/2014/main" id="{4CB18E24-5B4B-4B14-8E71-B8CB31C8850A}"/>
              </a:ext>
            </a:extLst>
          </p:cNvPr>
          <p:cNvSpPr>
            <a:spLocks/>
          </p:cNvSpPr>
          <p:nvPr userDrawn="1"/>
        </p:nvSpPr>
        <p:spPr bwMode="auto">
          <a:xfrm rot="10800000" flipH="1">
            <a:off x="0" y="533400"/>
            <a:ext cx="12192000" cy="6324600"/>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gradFill>
            <a:gsLst>
              <a:gs pos="50000">
                <a:srgbClr val="12ABDB"/>
              </a:gs>
              <a:gs pos="50000">
                <a:srgbClr val="FF304C"/>
              </a:gs>
            </a:gsLst>
            <a:lin ang="0" scaled="0"/>
          </a:gradFill>
          <a:ln>
            <a:noFill/>
          </a:ln>
        </p:spPr>
        <p:txBody>
          <a:bodyPr vert="horz" wrap="square" lIns="91440" tIns="45720" rIns="91440" bIns="45720" numCol="1" anchor="t" anchorCtr="0" compatLnSpc="1">
            <a:prstTxWarp prst="textNoShape">
              <a:avLst/>
            </a:prstTxWarp>
          </a:bodyPr>
          <a:lstStyle/>
          <a:p>
            <a:endParaRPr lang="en-US"/>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011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404813"/>
            <a:ext cx="6678612" cy="863601"/>
          </a:xfrm>
        </p:spPr>
        <p:txBody>
          <a:bodyPr vert="horz" lIns="0" tIns="0" rIns="0" bIns="0" rtlCol="0" anchor="t">
            <a:noAutofit/>
          </a:bodyPr>
          <a:lstStyle>
            <a:lvl1pPr>
              <a:defRPr lang="en-GB" sz="3200" dirty="0">
                <a:latin typeface="Ubuntu Light" panose="020B0604030602030204" pitchFamily="34" charset="0"/>
              </a:defRPr>
            </a:lvl1pPr>
          </a:lstStyle>
          <a:p>
            <a:pPr marL="0" lvl="0"/>
            <a:r>
              <a:rPr lang="en-US"/>
              <a:t>Click to edit Master title style</a:t>
            </a:r>
            <a:endParaRPr lang="en-GB"/>
          </a:p>
        </p:txBody>
      </p:sp>
      <p:sp>
        <p:nvSpPr>
          <p:cNvPr id="6" name="Retângulo 43">
            <a:extLst>
              <a:ext uri="{FF2B5EF4-FFF2-40B4-BE49-F238E27FC236}">
                <a16:creationId xmlns:a16="http://schemas.microsoft.com/office/drawing/2014/main" id="{CF3A1E6E-9DA6-4EDD-95C0-E32260880501}"/>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9" name="Rectangle 27">
            <a:extLst>
              <a:ext uri="{FF2B5EF4-FFF2-40B4-BE49-F238E27FC236}">
                <a16:creationId xmlns:a16="http://schemas.microsoft.com/office/drawing/2014/main" id="{B8896433-61D5-4939-A544-214897B1319F}"/>
              </a:ext>
            </a:extLst>
          </p:cNvPr>
          <p:cNvSpPr/>
          <p:nvPr userDrawn="1"/>
        </p:nvSpPr>
        <p:spPr>
          <a:xfrm>
            <a:off x="399153" y="6555971"/>
            <a:ext cx="42490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Ubuntu" panose="020B0504030602030204" pitchFamily="34" charset="0"/>
                <a:cs typeface="Arial" panose="020B0604020202020204" pitchFamily="34" charset="0"/>
              </a:rPr>
              <a:t>Sogeti Global Leadership &amp; Sales Meeting   |   </a:t>
            </a:r>
            <a:r>
              <a:rPr lang="en-US" sz="800">
                <a:solidFill>
                  <a:schemeClr val="bg1"/>
                </a:solidFill>
                <a:latin typeface="Ubuntu" panose="020B0504030602030204" pitchFamily="34" charset="0"/>
                <a:cs typeface="Arial" panose="020B0604020202020204" pitchFamily="34" charset="0"/>
              </a:rPr>
              <a:t>© 2019 Sogeti. All rights reserved.</a:t>
            </a:r>
            <a:endParaRPr lang="en-GB" sz="800" kern="0">
              <a:solidFill>
                <a:schemeClr val="bg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2468213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900"/>
                                        <p:tgtEl>
                                          <p:spTgt spid="4"/>
                                        </p:tgtEl>
                                      </p:cBhvr>
                                    </p:animEffect>
                                  </p:childTnLst>
                                </p:cTn>
                              </p:par>
                              <p:par>
                                <p:cTn id="8" presetID="64" presetClass="path" presetSubtype="0" accel="50000" decel="50000" fill="hold" grpId="1" nodeType="withEffect">
                                  <p:stCondLst>
                                    <p:cond delay="0"/>
                                  </p:stCondLst>
                                  <p:childTnLst>
                                    <p:animMotion origin="layout" path="M 0 0.37222 L 0 -4.44444E-6 " pathEditMode="relative" rAng="0" ptsTypes="AA">
                                      <p:cBhvr>
                                        <p:cTn id="9" dur="2000" fill="hold"/>
                                        <p:tgtEl>
                                          <p:spTgt spid="4"/>
                                        </p:tgtEl>
                                        <p:attrNameLst>
                                          <p:attrName>ppt_x</p:attrName>
                                          <p:attrName>ppt_y</p:attrName>
                                        </p:attrNameLst>
                                      </p:cBhvr>
                                      <p:rCtr x="0" y="-1833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1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4"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6240463" y="1412874"/>
            <a:ext cx="5543549" cy="504016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1646409321"/>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0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50" name="Picture 4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a:t>Click to add title</a:t>
            </a:r>
            <a:endParaRPr lang="pt-PT"/>
          </a:p>
        </p:txBody>
      </p:sp>
      <p:sp>
        <p:nvSpPr>
          <p:cNvPr id="14"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6240463" y="1412874"/>
            <a:ext cx="5543549" cy="504016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2951486449"/>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6_Text with Shapes - Layout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3886200"/>
            <a:ext cx="9319260" cy="2576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5" name="Freeform 24"/>
          <p:cNvSpPr/>
          <p:nvPr userDrawn="1"/>
        </p:nvSpPr>
        <p:spPr>
          <a:xfrm>
            <a:off x="5120014" y="1680518"/>
            <a:ext cx="7071986" cy="517748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a:t>Click to add title</a:t>
            </a:r>
            <a:endParaRPr lang="pt-PT"/>
          </a:p>
        </p:txBody>
      </p:sp>
      <p:grpSp>
        <p:nvGrpSpPr>
          <p:cNvPr id="10" name="Group 9"/>
          <p:cNvGrpSpPr/>
          <p:nvPr userDrawn="1"/>
        </p:nvGrpSpPr>
        <p:grpSpPr>
          <a:xfrm>
            <a:off x="5856419" y="1375746"/>
            <a:ext cx="5927594" cy="4974907"/>
            <a:chOff x="5532556" y="1291077"/>
            <a:chExt cx="5927594" cy="4974907"/>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32556" y="1291077"/>
              <a:ext cx="5927594" cy="4974907"/>
            </a:xfrm>
            <a:prstGeom prst="rect">
              <a:avLst/>
            </a:prstGeom>
          </p:spPr>
        </p:pic>
        <p:sp>
          <p:nvSpPr>
            <p:cNvPr id="12" name="Rectangle 11"/>
            <p:cNvSpPr/>
            <p:nvPr/>
          </p:nvSpPr>
          <p:spPr>
            <a:xfrm>
              <a:off x="6217920" y="5250181"/>
              <a:ext cx="1219200" cy="461665"/>
            </a:xfrm>
            <a:prstGeom prst="rect">
              <a:avLst/>
            </a:prstGeom>
          </p:spPr>
          <p:txBody>
            <a:bodyPr wrap="square" lIns="0" tIns="0" rIns="0" bIns="91440">
              <a:spAutoFit/>
            </a:bodyPr>
            <a:lstStyle/>
            <a:p>
              <a:pPr algn="ctr"/>
              <a:r>
                <a:rPr lang="en-US" sz="2400" b="1">
                  <a:solidFill>
                    <a:schemeClr val="accent1"/>
                  </a:solidFill>
                </a:rPr>
                <a:t>10%</a:t>
              </a:r>
            </a:p>
          </p:txBody>
        </p:sp>
        <p:sp>
          <p:nvSpPr>
            <p:cNvPr id="14" name="Rectangle 13"/>
            <p:cNvSpPr/>
            <p:nvPr/>
          </p:nvSpPr>
          <p:spPr>
            <a:xfrm>
              <a:off x="7139940" y="4488181"/>
              <a:ext cx="1219200" cy="461665"/>
            </a:xfrm>
            <a:prstGeom prst="rect">
              <a:avLst/>
            </a:prstGeom>
          </p:spPr>
          <p:txBody>
            <a:bodyPr wrap="square" lIns="0" tIns="0" rIns="0" bIns="91440">
              <a:spAutoFit/>
            </a:bodyPr>
            <a:lstStyle/>
            <a:p>
              <a:pPr algn="ctr"/>
              <a:r>
                <a:rPr lang="en-US" sz="2400" b="1">
                  <a:solidFill>
                    <a:schemeClr val="accent1"/>
                  </a:solidFill>
                </a:rPr>
                <a:t>20%</a:t>
              </a:r>
            </a:p>
          </p:txBody>
        </p:sp>
        <p:sp>
          <p:nvSpPr>
            <p:cNvPr id="15" name="Rectangle 14"/>
            <p:cNvSpPr/>
            <p:nvPr/>
          </p:nvSpPr>
          <p:spPr>
            <a:xfrm>
              <a:off x="8100060" y="3756661"/>
              <a:ext cx="1219200" cy="461665"/>
            </a:xfrm>
            <a:prstGeom prst="rect">
              <a:avLst/>
            </a:prstGeom>
          </p:spPr>
          <p:txBody>
            <a:bodyPr wrap="square" lIns="0" tIns="0" rIns="0" bIns="91440">
              <a:spAutoFit/>
            </a:bodyPr>
            <a:lstStyle/>
            <a:p>
              <a:pPr algn="ctr"/>
              <a:r>
                <a:rPr lang="en-US" sz="2400" b="1">
                  <a:solidFill>
                    <a:schemeClr val="accent1"/>
                  </a:solidFill>
                </a:rPr>
                <a:t>30%</a:t>
              </a:r>
            </a:p>
          </p:txBody>
        </p:sp>
      </p:grpSp>
      <p:sp>
        <p:nvSpPr>
          <p:cNvPr id="13"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t>‹#›</a:t>
            </a:fld>
            <a:endParaRPr lang="en-US" sz="800">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7" y="1413990"/>
            <a:ext cx="11376025" cy="2222235"/>
          </a:xfrm>
          <a:prstGeom prst="rect">
            <a:avLst/>
          </a:prstGeom>
        </p:spPr>
        <p:txBody>
          <a:bodyPr>
            <a:noAutofit/>
          </a:bodyPr>
          <a:lstStyle>
            <a:lvl1pPr marL="0" indent="0">
              <a:lnSpc>
                <a:spcPts val="2200"/>
              </a:lnSpc>
              <a:buNone/>
              <a:defRPr sz="18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225425" indent="-225425">
              <a:buClr>
                <a:schemeClr val="tx2"/>
              </a:buClr>
              <a:buFont typeface="Wingdings" panose="05000000000000000000" pitchFamily="2" charset="2"/>
              <a:buChar char="§"/>
            </a:pPr>
            <a:r>
              <a:rPr lang="en-US"/>
              <a:t>Click to insert text</a:t>
            </a:r>
          </a:p>
          <a:p>
            <a:pPr marL="461963" lvl="1" indent="-236538">
              <a:buClr>
                <a:schemeClr val="accent4"/>
              </a:buClr>
              <a:buFont typeface="Arial" panose="020B0604020202020204" pitchFamily="34" charset="0"/>
              <a:buChar char="•"/>
            </a:pPr>
            <a:r>
              <a:rPr lang="en-US" sz="1600"/>
              <a:t>Click to insert text</a:t>
            </a:r>
            <a:endParaRPr lang="pt-PT" sz="1600"/>
          </a:p>
          <a:p>
            <a:pPr marL="688975" lvl="2" indent="-241300">
              <a:buClr>
                <a:schemeClr val="accent2"/>
              </a:buClr>
              <a:buFont typeface="Verdana" panose="020B0604030504040204" pitchFamily="34" charset="0"/>
              <a:buChar char="–"/>
            </a:pPr>
            <a:r>
              <a:rPr lang="en-US"/>
              <a:t>Click to insert text</a:t>
            </a:r>
            <a:endParaRPr lang="pt-PT"/>
          </a:p>
          <a:p>
            <a:pPr marL="914400" lvl="3" indent="-225425">
              <a:buClr>
                <a:schemeClr val="accent3"/>
              </a:buClr>
              <a:buFont typeface="Wingdings" panose="05000000000000000000" pitchFamily="2" charset="2"/>
              <a:buChar char="§"/>
            </a:pPr>
            <a:r>
              <a:rPr lang="en-US"/>
              <a:t>Click to insert text</a:t>
            </a:r>
            <a:endParaRPr lang="pt-PT"/>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407988" y="4083602"/>
            <a:ext cx="4591062" cy="2170410"/>
          </a:xfrm>
          <a:prstGeom prst="rect">
            <a:avLst/>
          </a:prstGeom>
        </p:spPr>
        <p:txBody>
          <a:bodyPr anchor="t" anchorCtr="0">
            <a:noAutofit/>
          </a:bodyPr>
          <a:lstStyle>
            <a:lvl1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19043683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5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ppt_x"/>
                                          </p:val>
                                        </p:tav>
                                        <p:tav tm="100000">
                                          <p:val>
                                            <p:strVal val="#ppt_x"/>
                                          </p:val>
                                        </p:tav>
                                      </p:tavLst>
                                    </p:anim>
                                    <p:anim calcmode="lin" valueType="num">
                                      <p:cBhvr additive="base">
                                        <p:cTn id="8" dur="1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6_Cover1">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62049" y="2312504"/>
            <a:ext cx="12833350" cy="4247664"/>
          </a:xfrm>
          <a:prstGeom prst="rect">
            <a:avLst/>
          </a:prstGeom>
        </p:spPr>
      </p:pic>
      <p:sp>
        <p:nvSpPr>
          <p:cNvPr id="16" name="Title 1">
            <a:extLst>
              <a:ext uri="{FF2B5EF4-FFF2-40B4-BE49-F238E27FC236}">
                <a16:creationId xmlns:a16="http://schemas.microsoft.com/office/drawing/2014/main" id="{7D6F175B-45C3-462F-A5E7-3F3AD5266C08}"/>
              </a:ext>
            </a:extLst>
          </p:cNvPr>
          <p:cNvSpPr>
            <a:spLocks noGrp="1"/>
          </p:cNvSpPr>
          <p:nvPr>
            <p:ph type="ctrTitle" hasCustomPrompt="1"/>
          </p:nvPr>
        </p:nvSpPr>
        <p:spPr>
          <a:xfrm>
            <a:off x="381000" y="216538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1" dirty="0">
                <a:solidFill>
                  <a:srgbClr val="0070AD"/>
                </a:solidFill>
              </a:defRPr>
            </a:lvl1pPr>
          </a:lstStyle>
          <a:p>
            <a:pPr marL="0" lvl="0"/>
            <a:r>
              <a:rPr lang="en-US" dirty="0"/>
              <a:t>Click to insert title</a:t>
            </a:r>
          </a:p>
        </p:txBody>
      </p:sp>
      <p:sp>
        <p:nvSpPr>
          <p:cNvPr id="17" name="Subtitle 2">
            <a:extLst>
              <a:ext uri="{FF2B5EF4-FFF2-40B4-BE49-F238E27FC236}">
                <a16:creationId xmlns:a16="http://schemas.microsoft.com/office/drawing/2014/main" id="{9AA2A9A7-D42C-4DBF-AFDD-FCD88B72168D}"/>
              </a:ext>
            </a:extLst>
          </p:cNvPr>
          <p:cNvSpPr>
            <a:spLocks noGrp="1"/>
          </p:cNvSpPr>
          <p:nvPr>
            <p:ph type="subTitle" idx="1" hasCustomPrompt="1"/>
          </p:nvPr>
        </p:nvSpPr>
        <p:spPr>
          <a:xfrm>
            <a:off x="381000" y="3012440"/>
            <a:ext cx="4967932" cy="393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400" dirty="0">
                <a:solidFill>
                  <a:srgbClr val="0070AD"/>
                </a:solidFill>
              </a:defRPr>
            </a:lvl1pPr>
          </a:lstStyle>
          <a:p>
            <a:pPr marL="0" lvl="0"/>
            <a:r>
              <a:rPr lang="en-US" dirty="0"/>
              <a:t>Click to insert presenter, location, and date</a:t>
            </a:r>
          </a:p>
        </p:txBody>
      </p:sp>
      <p:sp>
        <p:nvSpPr>
          <p:cNvPr id="6" name="Rectangle 5">
            <a:extLst>
              <a:ext uri="{FF2B5EF4-FFF2-40B4-BE49-F238E27FC236}">
                <a16:creationId xmlns:a16="http://schemas.microsoft.com/office/drawing/2014/main" id="{A86C43E5-2BF1-4F48-9B07-6807F6EB3DCE}"/>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B60D4999-6AF7-AC4A-8A86-DBD66A5B408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2049" y="2312504"/>
            <a:ext cx="12833350" cy="4247664"/>
          </a:xfrm>
          <a:prstGeom prst="rect">
            <a:avLst/>
          </a:prstGeom>
        </p:spPr>
      </p:pic>
    </p:spTree>
    <p:extLst>
      <p:ext uri="{BB962C8B-B14F-4D97-AF65-F5344CB8AC3E}">
        <p14:creationId xmlns:p14="http://schemas.microsoft.com/office/powerpoint/2010/main" val="2109731470"/>
      </p:ext>
    </p:extLst>
  </p:cSld>
  <p:clrMapOvr>
    <a:masterClrMapping/>
  </p:clrMapOvr>
  <p:extLst>
    <p:ext uri="{DCECCB84-F9BA-43D5-87BE-67443E8EF086}">
      <p15:sldGuideLst xmlns:p15="http://schemas.microsoft.com/office/powerpoint/2012/main">
        <p15:guide id="1" pos="240">
          <p15:clr>
            <a:srgbClr val="FBAE40"/>
          </p15:clr>
        </p15:guide>
        <p15:guide id="2" orient="horz" pos="520">
          <p15:clr>
            <a:srgbClr val="FBAE40"/>
          </p15:clr>
        </p15:guide>
        <p15:guide id="3" orient="horz" pos="2152">
          <p15:clr>
            <a:srgbClr val="FBAE40"/>
          </p15:clr>
        </p15:guide>
        <p15:guide id="4" pos="74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3_Text with Shapes - Layout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3352800"/>
            <a:ext cx="12192000" cy="28809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atin typeface="Ubuntu" panose="020B0504030602030204" pitchFamily="34" charset="0"/>
              </a:defRPr>
            </a:lvl1pPr>
          </a:lstStyle>
          <a:p>
            <a:pPr lvl="0">
              <a:lnSpc>
                <a:spcPts val="3000"/>
              </a:lnSpc>
            </a:pPr>
            <a:r>
              <a:rPr lang="en-US"/>
              <a:t>Click to add title</a:t>
            </a:r>
            <a:endParaRPr lang="pt-PT"/>
          </a:p>
        </p:txBody>
      </p:sp>
      <p:sp>
        <p:nvSpPr>
          <p:cNvPr id="9" name="Freeform 7">
            <a:extLst>
              <a:ext uri="{FF2B5EF4-FFF2-40B4-BE49-F238E27FC236}">
                <a16:creationId xmlns:a16="http://schemas.microsoft.com/office/drawing/2014/main" id="{3C41AB00-696B-49EA-9351-68105B080AD1}"/>
              </a:ext>
            </a:extLst>
          </p:cNvPr>
          <p:cNvSpPr/>
          <p:nvPr userDrawn="1"/>
        </p:nvSpPr>
        <p:spPr>
          <a:xfrm>
            <a:off x="9448800" y="1"/>
            <a:ext cx="2743200" cy="6553199"/>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a:solidFill>
                <a:schemeClr val="tx1"/>
              </a:solidFill>
            </a:endParaRPr>
          </a:p>
        </p:txBody>
      </p:sp>
    </p:spTree>
    <p:extLst>
      <p:ext uri="{BB962C8B-B14F-4D97-AF65-F5344CB8AC3E}">
        <p14:creationId xmlns:p14="http://schemas.microsoft.com/office/powerpoint/2010/main" val="178766519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15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ppt_x"/>
                                          </p:val>
                                        </p:tav>
                                        <p:tav tm="100000">
                                          <p:val>
                                            <p:strVal val="#ppt_x"/>
                                          </p:val>
                                        </p:tav>
                                      </p:tavLst>
                                    </p:anim>
                                    <p:anim calcmode="lin" valueType="num">
                                      <p:cBhvr additive="base">
                                        <p:cTn id="8" dur="1000" fill="hold"/>
                                        <p:tgtEl>
                                          <p:spTgt spid="8"/>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30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par>
                                <p:cTn id="12" presetID="63" presetClass="path" presetSubtype="0" decel="100000" fill="hold" grpId="1" nodeType="withEffect">
                                  <p:stCondLst>
                                    <p:cond delay="2200"/>
                                  </p:stCondLst>
                                  <p:childTnLst>
                                    <p:animMotion origin="layout" path="M 0.08125 2.22222E-6 L 0 2.22222E-6 " pathEditMode="relative" rAng="0" ptsTypes="AA">
                                      <p:cBhvr>
                                        <p:cTn id="13" dur="2800" fill="hold"/>
                                        <p:tgtEl>
                                          <p:spTgt spid="9"/>
                                        </p:tgtEl>
                                        <p:attrNameLst>
                                          <p:attrName>ppt_x</p:attrName>
                                          <p:attrName>ppt_y</p:attrName>
                                        </p:attrNameLst>
                                      </p:cBhvr>
                                      <p:rCtr x="-406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9" grpId="1" animBg="1"/>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Title Only-white">
    <p:bg>
      <p:bgPr>
        <a:solidFill>
          <a:srgbClr val="BFBDC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523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07988" y="404813"/>
            <a:ext cx="6678612" cy="863601"/>
          </a:xfrm>
        </p:spPr>
        <p:txBody>
          <a:bodyPr vert="horz" lIns="0" tIns="0" rIns="0" bIns="0" rtlCol="0" anchor="t">
            <a:noAutofit/>
          </a:bodyPr>
          <a:lstStyle>
            <a:lvl1pPr>
              <a:defRPr lang="en-GB" sz="3200" dirty="0">
                <a:solidFill>
                  <a:schemeClr val="bg1"/>
                </a:solidFill>
                <a:latin typeface="Ubuntu" panose="020B0504030602030204" pitchFamily="34" charset="0"/>
              </a:defRPr>
            </a:lvl1pPr>
          </a:lstStyle>
          <a:p>
            <a:pPr marL="0" lvl="0"/>
            <a:r>
              <a:rPr lang="en-US"/>
              <a:t>Click to edit Master title style</a:t>
            </a:r>
            <a:endParaRPr lang="en-GB"/>
          </a:p>
        </p:txBody>
      </p:sp>
    </p:spTree>
    <p:extLst>
      <p:ext uri="{BB962C8B-B14F-4D97-AF65-F5344CB8AC3E}">
        <p14:creationId xmlns:p14="http://schemas.microsoft.com/office/powerpoint/2010/main" val="286837021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9_Cover2">
    <p:spTree>
      <p:nvGrpSpPr>
        <p:cNvPr id="1" name=""/>
        <p:cNvGrpSpPr/>
        <p:nvPr/>
      </p:nvGrpSpPr>
      <p:grpSpPr>
        <a:xfrm>
          <a:off x="0" y="0"/>
          <a:ext cx="0" cy="0"/>
          <a:chOff x="0" y="0"/>
          <a:chExt cx="0" cy="0"/>
        </a:xfrm>
      </p:grpSpPr>
      <p:sp>
        <p:nvSpPr>
          <p:cNvPr id="17" name="Freeform 16"/>
          <p:cNvSpPr/>
          <p:nvPr userDrawn="1"/>
        </p:nvSpPr>
        <p:spPr>
          <a:xfrm>
            <a:off x="-22987" y="0"/>
            <a:ext cx="7185787"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Subtitle</a:t>
            </a:r>
          </a:p>
        </p:txBody>
      </p:sp>
      <p:pic>
        <p:nvPicPr>
          <p:cNvPr id="12" name="Picture 11">
            <a:extLst>
              <a:ext uri="{FF2B5EF4-FFF2-40B4-BE49-F238E27FC236}">
                <a16:creationId xmlns:a16="http://schemas.microsoft.com/office/drawing/2014/main" id="{5F43D62D-86D5-455D-ADFA-BF0977FD7AD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324600" y="777924"/>
            <a:ext cx="5321672" cy="5770487"/>
          </a:xfrm>
          <a:prstGeom prst="rect">
            <a:avLst/>
          </a:prstGeom>
        </p:spPr>
      </p:pic>
      <p:sp>
        <p:nvSpPr>
          <p:cNvPr id="10" name="Rectangle 27">
            <a:extLst>
              <a:ext uri="{FF2B5EF4-FFF2-40B4-BE49-F238E27FC236}">
                <a16:creationId xmlns:a16="http://schemas.microsoft.com/office/drawing/2014/main" id="{29A77DF0-C294-4847-8C16-F941D90CD8F7}"/>
              </a:ext>
            </a:extLst>
          </p:cNvPr>
          <p:cNvSpPr/>
          <p:nvPr userDrawn="1"/>
        </p:nvSpPr>
        <p:spPr>
          <a:xfrm>
            <a:off x="399153" y="6555971"/>
            <a:ext cx="42490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Ubuntu" panose="020B0504030602030204" pitchFamily="34" charset="0"/>
                <a:cs typeface="Arial" panose="020B0604020202020204" pitchFamily="34" charset="0"/>
              </a:rPr>
              <a:t>Sogeti Global Leadership &amp; Sales Meeting   |   </a:t>
            </a:r>
            <a:r>
              <a:rPr lang="en-US" sz="800">
                <a:solidFill>
                  <a:schemeClr val="bg1"/>
                </a:solidFill>
                <a:latin typeface="Ubuntu" panose="020B0504030602030204" pitchFamily="34" charset="0"/>
                <a:cs typeface="Arial" panose="020B0604020202020204" pitchFamily="34" charset="0"/>
              </a:rPr>
              <a:t>© 2019 Sogeti. All rights reserved.</a:t>
            </a:r>
            <a:endParaRPr lang="en-GB" sz="800" kern="0">
              <a:solidFill>
                <a:schemeClr val="bg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321555744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7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6" presetClass="emph" presetSubtype="0" fill="hold" nodeType="withEffect" p14:presetBounceEnd="98750">
                                      <p:stCondLst>
                                        <p:cond delay="0"/>
                                      </p:stCondLst>
                                      <p:childTnLst>
                                        <p:animScale p14:bounceEnd="98750">
                                          <p:cBhvr>
                                            <p:cTn id="12" dur="2400" fill="hold"/>
                                            <p:tgtEl>
                                              <p:spTgt spid="7"/>
                                            </p:tgtEl>
                                          </p:cBhvr>
                                          <p:by x="95000" y="95000"/>
                                        </p:animScale>
                                      </p:childTnLst>
                                    </p:cTn>
                                  </p:par>
                                  <p:par>
                                    <p:cTn id="13" presetID="10" presetClass="entr" presetSubtype="0" fill="hold" nodeType="withEffect">
                                      <p:stCondLst>
                                        <p:cond delay="150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par>
                                    <p:cTn id="16" presetID="63" presetClass="path" presetSubtype="0" decel="100000" fill="hold" nodeType="withEffect">
                                      <p:stCondLst>
                                        <p:cond delay="1400"/>
                                      </p:stCondLst>
                                      <p:childTnLst>
                                        <p:animMotion origin="layout" path="M -0.11823 2.22222E-6 L 8.33333E-7 2.22222E-6 " pathEditMode="relative" rAng="0" ptsTypes="AA">
                                          <p:cBhvr>
                                            <p:cTn id="17" dur="2800" fill="hold"/>
                                            <p:tgtEl>
                                              <p:spTgt spid="12"/>
                                            </p:tgtEl>
                                            <p:attrNameLst>
                                              <p:attrName>ppt_x</p:attrName>
                                              <p:attrName>ppt_y</p:attrName>
                                            </p:attrNameLst>
                                          </p:cBhvr>
                                          <p:rCtr x="591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7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6" presetClass="emph" presetSubtype="0" fill="hold" nodeType="withEffect">
                                      <p:stCondLst>
                                        <p:cond delay="0"/>
                                      </p:stCondLst>
                                      <p:childTnLst>
                                        <p:animScale>
                                          <p:cBhvr>
                                            <p:cTn id="12" dur="2400" fill="hold"/>
                                            <p:tgtEl>
                                              <p:spTgt spid="7"/>
                                            </p:tgtEl>
                                          </p:cBhvr>
                                          <p:by x="95000" y="95000"/>
                                        </p:animScale>
                                      </p:childTnLst>
                                    </p:cTn>
                                  </p:par>
                                  <p:par>
                                    <p:cTn id="13" presetID="10" presetClass="entr" presetSubtype="0" fill="hold" nodeType="withEffect">
                                      <p:stCondLst>
                                        <p:cond delay="150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par>
                                    <p:cTn id="16" presetID="63" presetClass="path" presetSubtype="0" decel="100000" fill="hold" nodeType="withEffect">
                                      <p:stCondLst>
                                        <p:cond delay="1400"/>
                                      </p:stCondLst>
                                      <p:childTnLst>
                                        <p:animMotion origin="layout" path="M -0.11823 2.22222E-6 L 8.33333E-7 2.22222E-6 " pathEditMode="relative" rAng="0" ptsTypes="AA">
                                          <p:cBhvr>
                                            <p:cTn id="17" dur="2800" fill="hold"/>
                                            <p:tgtEl>
                                              <p:spTgt spid="12"/>
                                            </p:tgtEl>
                                            <p:attrNameLst>
                                              <p:attrName>ppt_x</p:attrName>
                                              <p:attrName>ppt_y</p:attrName>
                                            </p:attrNameLst>
                                          </p:cBhvr>
                                          <p:rCtr x="591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rgbClr val="12A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06D367-911F-4F10-8DE9-3A7C0CC44ACA}"/>
              </a:ext>
            </a:extLst>
          </p:cNvPr>
          <p:cNvSpPr>
            <a:spLocks noGrp="1"/>
          </p:cNvSpPr>
          <p:nvPr>
            <p:ph type="title"/>
          </p:nvPr>
        </p:nvSpPr>
        <p:spPr/>
        <p:txBody>
          <a:bodyPr vert="horz" lIns="0" tIns="0" rIns="0" bIns="0" rtlCol="0" anchor="t">
            <a:noAutofit/>
          </a:bodyPr>
          <a:lstStyle>
            <a:lvl1pPr>
              <a:defRPr lang="en-GB" dirty="0">
                <a:solidFill>
                  <a:schemeClr val="bg1"/>
                </a:solidFill>
                <a:latin typeface="Ubuntu" panose="020B0504030602030204" pitchFamily="34" charset="0"/>
              </a:defRPr>
            </a:lvl1pPr>
          </a:lstStyle>
          <a:p>
            <a:pPr marL="0" lvl="0"/>
            <a:r>
              <a:rPr lang="en-US"/>
              <a:t>Click to edit Master title style</a:t>
            </a:r>
            <a:endParaRPr lang="en-GB"/>
          </a:p>
        </p:txBody>
      </p:sp>
    </p:spTree>
    <p:extLst>
      <p:ext uri="{BB962C8B-B14F-4D97-AF65-F5344CB8AC3E}">
        <p14:creationId xmlns:p14="http://schemas.microsoft.com/office/powerpoint/2010/main" val="24350072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70A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06D367-911F-4F10-8DE9-3A7C0CC44ACA}"/>
              </a:ext>
            </a:extLst>
          </p:cNvPr>
          <p:cNvSpPr>
            <a:spLocks noGrp="1"/>
          </p:cNvSpPr>
          <p:nvPr>
            <p:ph type="title"/>
          </p:nvPr>
        </p:nvSpPr>
        <p:spPr/>
        <p:txBody>
          <a:bodyPr vert="horz" lIns="0" tIns="0" rIns="0" bIns="0" rtlCol="0" anchor="t">
            <a:noAutofit/>
          </a:bodyPr>
          <a:lstStyle>
            <a:lvl1pPr>
              <a:defRPr lang="en-GB" dirty="0">
                <a:solidFill>
                  <a:schemeClr val="bg1"/>
                </a:solidFill>
                <a:latin typeface="Ubuntu" panose="020B0504030602030204" pitchFamily="34" charset="0"/>
              </a:defRPr>
            </a:lvl1pPr>
          </a:lstStyle>
          <a:p>
            <a:pPr marL="0" lvl="0"/>
            <a:r>
              <a:rPr lang="en-US"/>
              <a:t>Click to edit Master title style</a:t>
            </a:r>
            <a:endParaRPr lang="en-GB"/>
          </a:p>
        </p:txBody>
      </p:sp>
    </p:spTree>
    <p:extLst>
      <p:ext uri="{BB962C8B-B14F-4D97-AF65-F5344CB8AC3E}">
        <p14:creationId xmlns:p14="http://schemas.microsoft.com/office/powerpoint/2010/main" val="228144312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theme" Target="../theme/theme2.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67" imgW="270" imgH="270" progId="TCLayout.ActiveDocument.1">
                  <p:embed/>
                </p:oleObj>
              </mc:Choice>
              <mc:Fallback>
                <p:oleObj name="think-cell Slide" r:id="rId67" imgW="270" imgH="270" progId="TCLayout.ActiveDocument.1">
                  <p:embed/>
                  <p:pic>
                    <p:nvPicPr>
                      <p:cNvPr id="21" name="Object 20" hidden="1"/>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4180855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 id="2147483721" r:id="rId26"/>
    <p:sldLayoutId id="2147483661" r:id="rId27"/>
    <p:sldLayoutId id="2147483662" r:id="rId28"/>
    <p:sldLayoutId id="2147483663" r:id="rId29"/>
    <p:sldLayoutId id="2147483664" r:id="rId30"/>
    <p:sldLayoutId id="2147483665" r:id="rId31"/>
    <p:sldLayoutId id="2147483666" r:id="rId32"/>
    <p:sldLayoutId id="2147483667" r:id="rId33"/>
    <p:sldLayoutId id="2147483668" r:id="rId34"/>
    <p:sldLayoutId id="2147483669" r:id="rId35"/>
    <p:sldLayoutId id="2147483670" r:id="rId36"/>
    <p:sldLayoutId id="2147483671" r:id="rId37"/>
    <p:sldLayoutId id="2147483672" r:id="rId38"/>
    <p:sldLayoutId id="2147483673" r:id="rId39"/>
    <p:sldLayoutId id="2147483674" r:id="rId40"/>
    <p:sldLayoutId id="2147483675" r:id="rId41"/>
    <p:sldLayoutId id="2147483676" r:id="rId42"/>
    <p:sldLayoutId id="2147483677" r:id="rId43"/>
    <p:sldLayoutId id="2147483678" r:id="rId44"/>
    <p:sldLayoutId id="2147483679" r:id="rId45"/>
    <p:sldLayoutId id="2147483680" r:id="rId46"/>
    <p:sldLayoutId id="2147483681" r:id="rId47"/>
    <p:sldLayoutId id="2147483682" r:id="rId48"/>
    <p:sldLayoutId id="2147483683" r:id="rId49"/>
    <p:sldLayoutId id="2147483684" r:id="rId50"/>
    <p:sldLayoutId id="2147483724" r:id="rId51"/>
    <p:sldLayoutId id="2147483685" r:id="rId52"/>
    <p:sldLayoutId id="2147483686" r:id="rId53"/>
    <p:sldLayoutId id="2147483727" r:id="rId54"/>
    <p:sldLayoutId id="2147483726" r:id="rId55"/>
    <p:sldLayoutId id="2147483725" r:id="rId56"/>
    <p:sldLayoutId id="2147483687" r:id="rId57"/>
    <p:sldLayoutId id="2147483688" r:id="rId58"/>
    <p:sldLayoutId id="2147483660" r:id="rId59"/>
    <p:sldLayoutId id="2147483722" r:id="rId60"/>
    <p:sldLayoutId id="2147483723" r:id="rId61"/>
    <p:sldLayoutId id="2147483729" r:id="rId62"/>
    <p:sldLayoutId id="2147483730" r:id="rId6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4"/>
            <a:ext cx="11016604" cy="570670"/>
          </a:xfrm>
          <a:prstGeom prst="rect">
            <a:avLst/>
          </a:prstGeom>
        </p:spPr>
        <p:txBody>
          <a:bodyPr vert="horz" lIns="0" tIns="0" rIns="0" bIns="0" rtlCol="0" anchor="t">
            <a:noAutofit/>
          </a:bodyPr>
          <a:lstStyle/>
          <a:p>
            <a:pPr marL="0" lvl="0"/>
            <a:r>
              <a:rPr lang="en-US"/>
              <a:t>Click to edit Master title style</a:t>
            </a:r>
            <a:endParaRPr lang="pt-PT"/>
          </a:p>
        </p:txBody>
      </p:sp>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grpSp>
        <p:nvGrpSpPr>
          <p:cNvPr id="3" name="Group 2"/>
          <p:cNvGrpSpPr/>
          <p:nvPr userDrawn="1"/>
        </p:nvGrpSpPr>
        <p:grpSpPr>
          <a:xfrm rot="5400000">
            <a:off x="11885731" y="885110"/>
            <a:ext cx="1723717" cy="344332"/>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26" name="Rectangle 25"/>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2"/>
                </a:solidFill>
              </a:rPr>
              <a:t>Infographic Palette</a:t>
            </a:r>
          </a:p>
        </p:txBody>
      </p:sp>
      <p:grpSp>
        <p:nvGrpSpPr>
          <p:cNvPr id="64" name="Group 63"/>
          <p:cNvGrpSpPr/>
          <p:nvPr userDrawn="1"/>
        </p:nvGrpSpPr>
        <p:grpSpPr>
          <a:xfrm>
            <a:off x="12575423" y="2015626"/>
            <a:ext cx="347472" cy="4821246"/>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a:p>
          </p:txBody>
        </p:sp>
      </p:grpSp>
      <p:sp>
        <p:nvSpPr>
          <p:cNvPr id="60" name="Rectangle 59"/>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a:solidFill>
                  <a:schemeClr val="tx2"/>
                </a:solidFill>
              </a:rPr>
              <a:t>Primary</a:t>
            </a:r>
          </a:p>
        </p:txBody>
      </p:sp>
      <p:sp>
        <p:nvSpPr>
          <p:cNvPr id="27"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271211473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 id="2147483753" r:id="rId22"/>
    <p:sldLayoutId id="2147483754" r:id="rId23"/>
    <p:sldLayoutId id="2147483755" r:id="rId24"/>
    <p:sldLayoutId id="2147483756" r:id="rId25"/>
    <p:sldLayoutId id="2147483757" r:id="rId26"/>
    <p:sldLayoutId id="2147483758" r:id="rId27"/>
    <p:sldLayoutId id="2147483759" r:id="rId28"/>
    <p:sldLayoutId id="2147483760" r:id="rId29"/>
    <p:sldLayoutId id="2147483761" r:id="rId30"/>
    <p:sldLayoutId id="2147483762" r:id="rId31"/>
  </p:sldLayoutIdLst>
  <p:txStyles>
    <p:titleStyle>
      <a:lvl1pPr algn="l" defTabSz="914400" rtl="0" eaLnBrk="1" latinLnBrk="0" hangingPunct="1">
        <a:lnSpc>
          <a:spcPct val="90000"/>
        </a:lnSpc>
        <a:spcBef>
          <a:spcPct val="0"/>
        </a:spcBef>
        <a:buNone/>
        <a:defRPr lang="pt-PT" sz="3200" kern="1200" dirty="0">
          <a:solidFill>
            <a:schemeClr val="tx2"/>
          </a:solidFill>
          <a:latin typeface="Ubuntu" panose="020B0504030602030204" pitchFamily="34" charset="0"/>
          <a:ea typeface="Verdana" panose="020B0604030504040204" pitchFamily="34" charset="0"/>
          <a:cs typeface="Ubuntu" panose="020B050403060203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2400" kern="1200">
          <a:solidFill>
            <a:schemeClr val="tx1"/>
          </a:solidFill>
          <a:latin typeface="Ubuntu" panose="020B0504030602030204" pitchFamily="34" charset="0"/>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2000" kern="1200">
          <a:solidFill>
            <a:schemeClr val="tx1"/>
          </a:solidFill>
          <a:latin typeface="Ubuntu" panose="020B0504030602030204" pitchFamily="34" charset="0"/>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800" kern="1200">
          <a:solidFill>
            <a:schemeClr val="tx1"/>
          </a:solidFill>
          <a:latin typeface="Ubuntu" panose="020B0504030602030204" pitchFamily="34" charset="0"/>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600" kern="1200">
          <a:solidFill>
            <a:schemeClr val="tx1"/>
          </a:solidFill>
          <a:latin typeface="Ubuntu" panose="020B05040306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s/_rels/slide1.xml.rels><?xml version="1.0" encoding="UTF-8" standalone="yes"?>
<Relationships xmlns="http://schemas.openxmlformats.org/package/2006/relationships"><Relationship Id="rId117" Type="http://schemas.openxmlformats.org/officeDocument/2006/relationships/image" Target="../media/image171.png"/><Relationship Id="rId299" Type="http://schemas.openxmlformats.org/officeDocument/2006/relationships/image" Target="../media/image353.png"/><Relationship Id="rId21" Type="http://schemas.openxmlformats.org/officeDocument/2006/relationships/image" Target="../media/image75.png"/><Relationship Id="rId63" Type="http://schemas.openxmlformats.org/officeDocument/2006/relationships/image" Target="../media/image117.png"/><Relationship Id="rId159" Type="http://schemas.openxmlformats.org/officeDocument/2006/relationships/image" Target="../media/image213.png"/><Relationship Id="rId324" Type="http://schemas.openxmlformats.org/officeDocument/2006/relationships/image" Target="../media/image378.png"/><Relationship Id="rId366" Type="http://schemas.openxmlformats.org/officeDocument/2006/relationships/image" Target="../media/image420.png"/><Relationship Id="rId170" Type="http://schemas.openxmlformats.org/officeDocument/2006/relationships/image" Target="../media/image224.png"/><Relationship Id="rId226" Type="http://schemas.openxmlformats.org/officeDocument/2006/relationships/image" Target="../media/image280.png"/><Relationship Id="rId268" Type="http://schemas.openxmlformats.org/officeDocument/2006/relationships/image" Target="../media/image322.png"/><Relationship Id="rId32" Type="http://schemas.openxmlformats.org/officeDocument/2006/relationships/image" Target="../media/image86.png"/><Relationship Id="rId74" Type="http://schemas.openxmlformats.org/officeDocument/2006/relationships/image" Target="../media/image128.png"/><Relationship Id="rId128" Type="http://schemas.openxmlformats.org/officeDocument/2006/relationships/image" Target="../media/image182.png"/><Relationship Id="rId335" Type="http://schemas.openxmlformats.org/officeDocument/2006/relationships/image" Target="../media/image389.png"/><Relationship Id="rId377" Type="http://schemas.openxmlformats.org/officeDocument/2006/relationships/image" Target="../media/image431.png"/><Relationship Id="rId5" Type="http://schemas.openxmlformats.org/officeDocument/2006/relationships/image" Target="../media/image59.png"/><Relationship Id="rId95" Type="http://schemas.openxmlformats.org/officeDocument/2006/relationships/image" Target="../media/image149.png"/><Relationship Id="rId160" Type="http://schemas.openxmlformats.org/officeDocument/2006/relationships/image" Target="../media/image214.png"/><Relationship Id="rId181" Type="http://schemas.openxmlformats.org/officeDocument/2006/relationships/image" Target="../media/image235.png"/><Relationship Id="rId216" Type="http://schemas.openxmlformats.org/officeDocument/2006/relationships/image" Target="../media/image270.png"/><Relationship Id="rId237" Type="http://schemas.openxmlformats.org/officeDocument/2006/relationships/image" Target="../media/image291.png"/><Relationship Id="rId402" Type="http://schemas.openxmlformats.org/officeDocument/2006/relationships/image" Target="../media/image456.png"/><Relationship Id="rId258" Type="http://schemas.openxmlformats.org/officeDocument/2006/relationships/image" Target="../media/image312.png"/><Relationship Id="rId279" Type="http://schemas.openxmlformats.org/officeDocument/2006/relationships/image" Target="../media/image333.png"/><Relationship Id="rId22" Type="http://schemas.openxmlformats.org/officeDocument/2006/relationships/image" Target="../media/image76.png"/><Relationship Id="rId43" Type="http://schemas.openxmlformats.org/officeDocument/2006/relationships/image" Target="../media/image97.png"/><Relationship Id="rId64" Type="http://schemas.openxmlformats.org/officeDocument/2006/relationships/image" Target="../media/image118.png"/><Relationship Id="rId118" Type="http://schemas.openxmlformats.org/officeDocument/2006/relationships/image" Target="../media/image172.png"/><Relationship Id="rId139" Type="http://schemas.openxmlformats.org/officeDocument/2006/relationships/image" Target="../media/image193.png"/><Relationship Id="rId290" Type="http://schemas.openxmlformats.org/officeDocument/2006/relationships/image" Target="../media/image344.png"/><Relationship Id="rId304" Type="http://schemas.openxmlformats.org/officeDocument/2006/relationships/image" Target="../media/image358.png"/><Relationship Id="rId325" Type="http://schemas.openxmlformats.org/officeDocument/2006/relationships/image" Target="../media/image379.png"/><Relationship Id="rId346" Type="http://schemas.openxmlformats.org/officeDocument/2006/relationships/image" Target="../media/image400.png"/><Relationship Id="rId367" Type="http://schemas.openxmlformats.org/officeDocument/2006/relationships/image" Target="../media/image421.png"/><Relationship Id="rId388" Type="http://schemas.openxmlformats.org/officeDocument/2006/relationships/image" Target="../media/image442.png"/><Relationship Id="rId85" Type="http://schemas.openxmlformats.org/officeDocument/2006/relationships/image" Target="../media/image139.png"/><Relationship Id="rId150" Type="http://schemas.openxmlformats.org/officeDocument/2006/relationships/image" Target="../media/image204.png"/><Relationship Id="rId171" Type="http://schemas.openxmlformats.org/officeDocument/2006/relationships/image" Target="../media/image225.png"/><Relationship Id="rId192" Type="http://schemas.openxmlformats.org/officeDocument/2006/relationships/image" Target="../media/image246.png"/><Relationship Id="rId206" Type="http://schemas.openxmlformats.org/officeDocument/2006/relationships/image" Target="../media/image260.png"/><Relationship Id="rId227" Type="http://schemas.openxmlformats.org/officeDocument/2006/relationships/image" Target="../media/image281.png"/><Relationship Id="rId248" Type="http://schemas.openxmlformats.org/officeDocument/2006/relationships/image" Target="../media/image302.png"/><Relationship Id="rId269" Type="http://schemas.openxmlformats.org/officeDocument/2006/relationships/image" Target="../media/image323.png"/><Relationship Id="rId12" Type="http://schemas.openxmlformats.org/officeDocument/2006/relationships/image" Target="../media/image66.png"/><Relationship Id="rId33" Type="http://schemas.openxmlformats.org/officeDocument/2006/relationships/image" Target="../media/image87.png"/><Relationship Id="rId108" Type="http://schemas.openxmlformats.org/officeDocument/2006/relationships/image" Target="../media/image162.png"/><Relationship Id="rId129" Type="http://schemas.openxmlformats.org/officeDocument/2006/relationships/image" Target="../media/image183.png"/><Relationship Id="rId280" Type="http://schemas.openxmlformats.org/officeDocument/2006/relationships/image" Target="../media/image334.png"/><Relationship Id="rId315" Type="http://schemas.openxmlformats.org/officeDocument/2006/relationships/image" Target="../media/image369.png"/><Relationship Id="rId336" Type="http://schemas.openxmlformats.org/officeDocument/2006/relationships/image" Target="../media/image390.png"/><Relationship Id="rId357" Type="http://schemas.openxmlformats.org/officeDocument/2006/relationships/image" Target="../media/image411.png"/><Relationship Id="rId54" Type="http://schemas.openxmlformats.org/officeDocument/2006/relationships/image" Target="../media/image108.png"/><Relationship Id="rId75" Type="http://schemas.openxmlformats.org/officeDocument/2006/relationships/image" Target="../media/image129.png"/><Relationship Id="rId96" Type="http://schemas.openxmlformats.org/officeDocument/2006/relationships/image" Target="../media/image150.png"/><Relationship Id="rId140" Type="http://schemas.openxmlformats.org/officeDocument/2006/relationships/image" Target="../media/image194.png"/><Relationship Id="rId161" Type="http://schemas.openxmlformats.org/officeDocument/2006/relationships/image" Target="../media/image215.png"/><Relationship Id="rId182" Type="http://schemas.openxmlformats.org/officeDocument/2006/relationships/image" Target="../media/image236.png"/><Relationship Id="rId217" Type="http://schemas.openxmlformats.org/officeDocument/2006/relationships/image" Target="../media/image271.png"/><Relationship Id="rId378" Type="http://schemas.openxmlformats.org/officeDocument/2006/relationships/image" Target="../media/image432.png"/><Relationship Id="rId399" Type="http://schemas.openxmlformats.org/officeDocument/2006/relationships/image" Target="../media/image453.png"/><Relationship Id="rId403" Type="http://schemas.openxmlformats.org/officeDocument/2006/relationships/image" Target="../media/image457.png"/><Relationship Id="rId6" Type="http://schemas.openxmlformats.org/officeDocument/2006/relationships/image" Target="../media/image60.png"/><Relationship Id="rId238" Type="http://schemas.openxmlformats.org/officeDocument/2006/relationships/image" Target="../media/image292.png"/><Relationship Id="rId259" Type="http://schemas.openxmlformats.org/officeDocument/2006/relationships/image" Target="../media/image313.png"/><Relationship Id="rId23" Type="http://schemas.openxmlformats.org/officeDocument/2006/relationships/image" Target="../media/image77.png"/><Relationship Id="rId119" Type="http://schemas.openxmlformats.org/officeDocument/2006/relationships/image" Target="../media/image173.png"/><Relationship Id="rId270" Type="http://schemas.openxmlformats.org/officeDocument/2006/relationships/image" Target="../media/image324.png"/><Relationship Id="rId291" Type="http://schemas.openxmlformats.org/officeDocument/2006/relationships/image" Target="../media/image345.png"/><Relationship Id="rId305" Type="http://schemas.openxmlformats.org/officeDocument/2006/relationships/image" Target="../media/image359.png"/><Relationship Id="rId326" Type="http://schemas.openxmlformats.org/officeDocument/2006/relationships/image" Target="../media/image380.png"/><Relationship Id="rId347" Type="http://schemas.openxmlformats.org/officeDocument/2006/relationships/image" Target="../media/image401.png"/><Relationship Id="rId44" Type="http://schemas.openxmlformats.org/officeDocument/2006/relationships/image" Target="../media/image98.png"/><Relationship Id="rId65" Type="http://schemas.openxmlformats.org/officeDocument/2006/relationships/image" Target="../media/image119.png"/><Relationship Id="rId86" Type="http://schemas.openxmlformats.org/officeDocument/2006/relationships/image" Target="../media/image140.png"/><Relationship Id="rId130" Type="http://schemas.openxmlformats.org/officeDocument/2006/relationships/image" Target="../media/image184.png"/><Relationship Id="rId151" Type="http://schemas.openxmlformats.org/officeDocument/2006/relationships/image" Target="../media/image205.png"/><Relationship Id="rId368" Type="http://schemas.openxmlformats.org/officeDocument/2006/relationships/image" Target="../media/image422.png"/><Relationship Id="rId389" Type="http://schemas.openxmlformats.org/officeDocument/2006/relationships/image" Target="../media/image443.png"/><Relationship Id="rId172" Type="http://schemas.openxmlformats.org/officeDocument/2006/relationships/image" Target="../media/image226.png"/><Relationship Id="rId193" Type="http://schemas.openxmlformats.org/officeDocument/2006/relationships/image" Target="../media/image247.png"/><Relationship Id="rId207" Type="http://schemas.openxmlformats.org/officeDocument/2006/relationships/image" Target="../media/image261.png"/><Relationship Id="rId228" Type="http://schemas.openxmlformats.org/officeDocument/2006/relationships/image" Target="../media/image282.png"/><Relationship Id="rId249" Type="http://schemas.openxmlformats.org/officeDocument/2006/relationships/image" Target="../media/image303.png"/><Relationship Id="rId13" Type="http://schemas.openxmlformats.org/officeDocument/2006/relationships/image" Target="../media/image67.png"/><Relationship Id="rId109" Type="http://schemas.openxmlformats.org/officeDocument/2006/relationships/image" Target="../media/image163.png"/><Relationship Id="rId260" Type="http://schemas.openxmlformats.org/officeDocument/2006/relationships/image" Target="../media/image314.png"/><Relationship Id="rId281" Type="http://schemas.openxmlformats.org/officeDocument/2006/relationships/image" Target="../media/image335.png"/><Relationship Id="rId316" Type="http://schemas.openxmlformats.org/officeDocument/2006/relationships/image" Target="../media/image370.png"/><Relationship Id="rId337" Type="http://schemas.openxmlformats.org/officeDocument/2006/relationships/image" Target="../media/image391.png"/><Relationship Id="rId34" Type="http://schemas.openxmlformats.org/officeDocument/2006/relationships/image" Target="../media/image88.png"/><Relationship Id="rId55" Type="http://schemas.openxmlformats.org/officeDocument/2006/relationships/image" Target="../media/image109.png"/><Relationship Id="rId76" Type="http://schemas.openxmlformats.org/officeDocument/2006/relationships/image" Target="../media/image130.png"/><Relationship Id="rId97" Type="http://schemas.openxmlformats.org/officeDocument/2006/relationships/image" Target="../media/image151.png"/><Relationship Id="rId120" Type="http://schemas.openxmlformats.org/officeDocument/2006/relationships/image" Target="../media/image174.png"/><Relationship Id="rId141" Type="http://schemas.openxmlformats.org/officeDocument/2006/relationships/image" Target="../media/image195.png"/><Relationship Id="rId358" Type="http://schemas.openxmlformats.org/officeDocument/2006/relationships/image" Target="../media/image412.png"/><Relationship Id="rId379" Type="http://schemas.openxmlformats.org/officeDocument/2006/relationships/image" Target="../media/image433.png"/><Relationship Id="rId7" Type="http://schemas.openxmlformats.org/officeDocument/2006/relationships/image" Target="../media/image61.png"/><Relationship Id="rId162" Type="http://schemas.openxmlformats.org/officeDocument/2006/relationships/image" Target="../media/image216.png"/><Relationship Id="rId183" Type="http://schemas.openxmlformats.org/officeDocument/2006/relationships/image" Target="../media/image237.png"/><Relationship Id="rId218" Type="http://schemas.openxmlformats.org/officeDocument/2006/relationships/image" Target="../media/image272.png"/><Relationship Id="rId239" Type="http://schemas.openxmlformats.org/officeDocument/2006/relationships/image" Target="../media/image293.png"/><Relationship Id="rId390" Type="http://schemas.openxmlformats.org/officeDocument/2006/relationships/image" Target="../media/image444.png"/><Relationship Id="rId404" Type="http://schemas.openxmlformats.org/officeDocument/2006/relationships/image" Target="../media/image458.png"/><Relationship Id="rId250" Type="http://schemas.openxmlformats.org/officeDocument/2006/relationships/image" Target="../media/image304.png"/><Relationship Id="rId271" Type="http://schemas.openxmlformats.org/officeDocument/2006/relationships/image" Target="../media/image325.png"/><Relationship Id="rId292" Type="http://schemas.openxmlformats.org/officeDocument/2006/relationships/image" Target="../media/image346.png"/><Relationship Id="rId306" Type="http://schemas.openxmlformats.org/officeDocument/2006/relationships/image" Target="../media/image360.png"/><Relationship Id="rId24" Type="http://schemas.openxmlformats.org/officeDocument/2006/relationships/image" Target="../media/image78.png"/><Relationship Id="rId45" Type="http://schemas.openxmlformats.org/officeDocument/2006/relationships/image" Target="../media/image99.png"/><Relationship Id="rId66" Type="http://schemas.openxmlformats.org/officeDocument/2006/relationships/image" Target="../media/image120.png"/><Relationship Id="rId87" Type="http://schemas.openxmlformats.org/officeDocument/2006/relationships/image" Target="../media/image141.png"/><Relationship Id="rId110" Type="http://schemas.openxmlformats.org/officeDocument/2006/relationships/image" Target="../media/image164.png"/><Relationship Id="rId131" Type="http://schemas.openxmlformats.org/officeDocument/2006/relationships/image" Target="../media/image185.png"/><Relationship Id="rId327" Type="http://schemas.openxmlformats.org/officeDocument/2006/relationships/image" Target="../media/image381.png"/><Relationship Id="rId348" Type="http://schemas.openxmlformats.org/officeDocument/2006/relationships/image" Target="../media/image402.png"/><Relationship Id="rId369" Type="http://schemas.openxmlformats.org/officeDocument/2006/relationships/image" Target="../media/image423.png"/><Relationship Id="rId152" Type="http://schemas.openxmlformats.org/officeDocument/2006/relationships/image" Target="../media/image206.png"/><Relationship Id="rId173" Type="http://schemas.openxmlformats.org/officeDocument/2006/relationships/image" Target="../media/image227.png"/><Relationship Id="rId194" Type="http://schemas.openxmlformats.org/officeDocument/2006/relationships/image" Target="../media/image248.png"/><Relationship Id="rId208" Type="http://schemas.openxmlformats.org/officeDocument/2006/relationships/image" Target="../media/image262.png"/><Relationship Id="rId229" Type="http://schemas.openxmlformats.org/officeDocument/2006/relationships/image" Target="../media/image283.png"/><Relationship Id="rId380" Type="http://schemas.openxmlformats.org/officeDocument/2006/relationships/image" Target="../media/image434.png"/><Relationship Id="rId240" Type="http://schemas.openxmlformats.org/officeDocument/2006/relationships/image" Target="../media/image294.png"/><Relationship Id="rId261" Type="http://schemas.openxmlformats.org/officeDocument/2006/relationships/image" Target="../media/image315.png"/><Relationship Id="rId14" Type="http://schemas.openxmlformats.org/officeDocument/2006/relationships/image" Target="../media/image68.png"/><Relationship Id="rId35" Type="http://schemas.openxmlformats.org/officeDocument/2006/relationships/image" Target="../media/image89.png"/><Relationship Id="rId56" Type="http://schemas.openxmlformats.org/officeDocument/2006/relationships/image" Target="../media/image110.png"/><Relationship Id="rId77" Type="http://schemas.openxmlformats.org/officeDocument/2006/relationships/image" Target="../media/image131.png"/><Relationship Id="rId100" Type="http://schemas.openxmlformats.org/officeDocument/2006/relationships/image" Target="../media/image154.png"/><Relationship Id="rId282" Type="http://schemas.openxmlformats.org/officeDocument/2006/relationships/image" Target="../media/image336.png"/><Relationship Id="rId317" Type="http://schemas.openxmlformats.org/officeDocument/2006/relationships/image" Target="../media/image371.png"/><Relationship Id="rId338" Type="http://schemas.openxmlformats.org/officeDocument/2006/relationships/image" Target="../media/image392.png"/><Relationship Id="rId359" Type="http://schemas.openxmlformats.org/officeDocument/2006/relationships/image" Target="../media/image413.png"/><Relationship Id="rId8" Type="http://schemas.openxmlformats.org/officeDocument/2006/relationships/image" Target="../media/image62.png"/><Relationship Id="rId98" Type="http://schemas.openxmlformats.org/officeDocument/2006/relationships/image" Target="../media/image152.png"/><Relationship Id="rId121" Type="http://schemas.openxmlformats.org/officeDocument/2006/relationships/image" Target="../media/image175.png"/><Relationship Id="rId142" Type="http://schemas.openxmlformats.org/officeDocument/2006/relationships/image" Target="../media/image196.png"/><Relationship Id="rId163" Type="http://schemas.openxmlformats.org/officeDocument/2006/relationships/image" Target="../media/image217.png"/><Relationship Id="rId184" Type="http://schemas.openxmlformats.org/officeDocument/2006/relationships/image" Target="../media/image238.png"/><Relationship Id="rId219" Type="http://schemas.openxmlformats.org/officeDocument/2006/relationships/image" Target="../media/image273.png"/><Relationship Id="rId370" Type="http://schemas.openxmlformats.org/officeDocument/2006/relationships/image" Target="../media/image424.png"/><Relationship Id="rId391" Type="http://schemas.openxmlformats.org/officeDocument/2006/relationships/image" Target="../media/image445.png"/><Relationship Id="rId405" Type="http://schemas.openxmlformats.org/officeDocument/2006/relationships/image" Target="../media/image459.png"/><Relationship Id="rId230" Type="http://schemas.openxmlformats.org/officeDocument/2006/relationships/image" Target="../media/image284.png"/><Relationship Id="rId251" Type="http://schemas.openxmlformats.org/officeDocument/2006/relationships/image" Target="../media/image305.png"/><Relationship Id="rId25" Type="http://schemas.openxmlformats.org/officeDocument/2006/relationships/image" Target="../media/image79.png"/><Relationship Id="rId46" Type="http://schemas.openxmlformats.org/officeDocument/2006/relationships/image" Target="../media/image100.png"/><Relationship Id="rId67" Type="http://schemas.openxmlformats.org/officeDocument/2006/relationships/image" Target="../media/image121.png"/><Relationship Id="rId272" Type="http://schemas.openxmlformats.org/officeDocument/2006/relationships/image" Target="../media/image326.png"/><Relationship Id="rId293" Type="http://schemas.openxmlformats.org/officeDocument/2006/relationships/image" Target="../media/image347.png"/><Relationship Id="rId307" Type="http://schemas.openxmlformats.org/officeDocument/2006/relationships/image" Target="../media/image361.png"/><Relationship Id="rId328" Type="http://schemas.openxmlformats.org/officeDocument/2006/relationships/image" Target="../media/image382.png"/><Relationship Id="rId349" Type="http://schemas.openxmlformats.org/officeDocument/2006/relationships/image" Target="../media/image403.png"/><Relationship Id="rId88" Type="http://schemas.openxmlformats.org/officeDocument/2006/relationships/image" Target="../media/image142.png"/><Relationship Id="rId111" Type="http://schemas.openxmlformats.org/officeDocument/2006/relationships/image" Target="../media/image165.png"/><Relationship Id="rId132" Type="http://schemas.openxmlformats.org/officeDocument/2006/relationships/image" Target="../media/image186.png"/><Relationship Id="rId153" Type="http://schemas.openxmlformats.org/officeDocument/2006/relationships/image" Target="../media/image207.png"/><Relationship Id="rId174" Type="http://schemas.openxmlformats.org/officeDocument/2006/relationships/image" Target="../media/image228.png"/><Relationship Id="rId195" Type="http://schemas.openxmlformats.org/officeDocument/2006/relationships/image" Target="../media/image249.png"/><Relationship Id="rId209" Type="http://schemas.openxmlformats.org/officeDocument/2006/relationships/image" Target="../media/image263.png"/><Relationship Id="rId360" Type="http://schemas.openxmlformats.org/officeDocument/2006/relationships/image" Target="../media/image414.png"/><Relationship Id="rId381" Type="http://schemas.openxmlformats.org/officeDocument/2006/relationships/image" Target="../media/image435.png"/><Relationship Id="rId220" Type="http://schemas.openxmlformats.org/officeDocument/2006/relationships/image" Target="../media/image274.png"/><Relationship Id="rId241" Type="http://schemas.openxmlformats.org/officeDocument/2006/relationships/image" Target="../media/image295.png"/><Relationship Id="rId15" Type="http://schemas.openxmlformats.org/officeDocument/2006/relationships/image" Target="../media/image69.png"/><Relationship Id="rId36" Type="http://schemas.openxmlformats.org/officeDocument/2006/relationships/image" Target="../media/image90.png"/><Relationship Id="rId57" Type="http://schemas.openxmlformats.org/officeDocument/2006/relationships/image" Target="../media/image111.png"/><Relationship Id="rId262" Type="http://schemas.openxmlformats.org/officeDocument/2006/relationships/image" Target="../media/image316.png"/><Relationship Id="rId283" Type="http://schemas.openxmlformats.org/officeDocument/2006/relationships/image" Target="../media/image337.png"/><Relationship Id="rId318" Type="http://schemas.openxmlformats.org/officeDocument/2006/relationships/image" Target="../media/image372.png"/><Relationship Id="rId339" Type="http://schemas.openxmlformats.org/officeDocument/2006/relationships/image" Target="../media/image393.png"/><Relationship Id="rId78" Type="http://schemas.openxmlformats.org/officeDocument/2006/relationships/image" Target="../media/image132.png"/><Relationship Id="rId99" Type="http://schemas.openxmlformats.org/officeDocument/2006/relationships/image" Target="../media/image153.png"/><Relationship Id="rId101" Type="http://schemas.openxmlformats.org/officeDocument/2006/relationships/image" Target="../media/image155.png"/><Relationship Id="rId122" Type="http://schemas.openxmlformats.org/officeDocument/2006/relationships/image" Target="../media/image176.png"/><Relationship Id="rId143" Type="http://schemas.openxmlformats.org/officeDocument/2006/relationships/image" Target="../media/image197.png"/><Relationship Id="rId164" Type="http://schemas.openxmlformats.org/officeDocument/2006/relationships/image" Target="../media/image218.png"/><Relationship Id="rId185" Type="http://schemas.openxmlformats.org/officeDocument/2006/relationships/image" Target="../media/image239.png"/><Relationship Id="rId350" Type="http://schemas.openxmlformats.org/officeDocument/2006/relationships/image" Target="../media/image404.png"/><Relationship Id="rId371" Type="http://schemas.openxmlformats.org/officeDocument/2006/relationships/image" Target="../media/image425.png"/><Relationship Id="rId406" Type="http://schemas.openxmlformats.org/officeDocument/2006/relationships/image" Target="../media/image460.png"/><Relationship Id="rId9" Type="http://schemas.openxmlformats.org/officeDocument/2006/relationships/image" Target="../media/image63.png"/><Relationship Id="rId210" Type="http://schemas.openxmlformats.org/officeDocument/2006/relationships/image" Target="../media/image264.png"/><Relationship Id="rId392" Type="http://schemas.openxmlformats.org/officeDocument/2006/relationships/image" Target="../media/image446.png"/><Relationship Id="rId26" Type="http://schemas.openxmlformats.org/officeDocument/2006/relationships/image" Target="../media/image80.png"/><Relationship Id="rId231" Type="http://schemas.openxmlformats.org/officeDocument/2006/relationships/image" Target="../media/image285.png"/><Relationship Id="rId252" Type="http://schemas.openxmlformats.org/officeDocument/2006/relationships/image" Target="../media/image306.png"/><Relationship Id="rId273" Type="http://schemas.openxmlformats.org/officeDocument/2006/relationships/image" Target="../media/image327.png"/><Relationship Id="rId294" Type="http://schemas.openxmlformats.org/officeDocument/2006/relationships/image" Target="../media/image348.png"/><Relationship Id="rId308" Type="http://schemas.openxmlformats.org/officeDocument/2006/relationships/image" Target="../media/image362.png"/><Relationship Id="rId329" Type="http://schemas.openxmlformats.org/officeDocument/2006/relationships/image" Target="../media/image383.png"/><Relationship Id="rId47" Type="http://schemas.openxmlformats.org/officeDocument/2006/relationships/image" Target="../media/image101.png"/><Relationship Id="rId68" Type="http://schemas.openxmlformats.org/officeDocument/2006/relationships/image" Target="../media/image122.png"/><Relationship Id="rId89" Type="http://schemas.openxmlformats.org/officeDocument/2006/relationships/image" Target="../media/image143.png"/><Relationship Id="rId112" Type="http://schemas.openxmlformats.org/officeDocument/2006/relationships/image" Target="../media/image166.png"/><Relationship Id="rId133" Type="http://schemas.openxmlformats.org/officeDocument/2006/relationships/image" Target="../media/image187.png"/><Relationship Id="rId154" Type="http://schemas.openxmlformats.org/officeDocument/2006/relationships/image" Target="../media/image208.png"/><Relationship Id="rId175" Type="http://schemas.openxmlformats.org/officeDocument/2006/relationships/image" Target="../media/image229.png"/><Relationship Id="rId340" Type="http://schemas.openxmlformats.org/officeDocument/2006/relationships/image" Target="../media/image394.png"/><Relationship Id="rId361" Type="http://schemas.openxmlformats.org/officeDocument/2006/relationships/image" Target="../media/image415.png"/><Relationship Id="rId196" Type="http://schemas.openxmlformats.org/officeDocument/2006/relationships/image" Target="../media/image250.png"/><Relationship Id="rId200" Type="http://schemas.openxmlformats.org/officeDocument/2006/relationships/image" Target="../media/image254.png"/><Relationship Id="rId382" Type="http://schemas.openxmlformats.org/officeDocument/2006/relationships/image" Target="../media/image436.png"/><Relationship Id="rId16" Type="http://schemas.openxmlformats.org/officeDocument/2006/relationships/image" Target="../media/image70.png"/><Relationship Id="rId221" Type="http://schemas.openxmlformats.org/officeDocument/2006/relationships/image" Target="../media/image275.png"/><Relationship Id="rId242" Type="http://schemas.openxmlformats.org/officeDocument/2006/relationships/image" Target="../media/image296.png"/><Relationship Id="rId263" Type="http://schemas.openxmlformats.org/officeDocument/2006/relationships/image" Target="../media/image317.png"/><Relationship Id="rId284" Type="http://schemas.openxmlformats.org/officeDocument/2006/relationships/image" Target="../media/image338.png"/><Relationship Id="rId319" Type="http://schemas.openxmlformats.org/officeDocument/2006/relationships/image" Target="../media/image373.png"/><Relationship Id="rId37" Type="http://schemas.openxmlformats.org/officeDocument/2006/relationships/image" Target="../media/image91.png"/><Relationship Id="rId58" Type="http://schemas.openxmlformats.org/officeDocument/2006/relationships/image" Target="../media/image112.png"/><Relationship Id="rId79" Type="http://schemas.openxmlformats.org/officeDocument/2006/relationships/image" Target="../media/image133.png"/><Relationship Id="rId102" Type="http://schemas.openxmlformats.org/officeDocument/2006/relationships/image" Target="../media/image156.png"/><Relationship Id="rId123" Type="http://schemas.openxmlformats.org/officeDocument/2006/relationships/image" Target="../media/image177.png"/><Relationship Id="rId144" Type="http://schemas.openxmlformats.org/officeDocument/2006/relationships/image" Target="../media/image198.png"/><Relationship Id="rId330" Type="http://schemas.openxmlformats.org/officeDocument/2006/relationships/image" Target="../media/image384.png"/><Relationship Id="rId90" Type="http://schemas.openxmlformats.org/officeDocument/2006/relationships/image" Target="../media/image144.png"/><Relationship Id="rId165" Type="http://schemas.openxmlformats.org/officeDocument/2006/relationships/image" Target="../media/image219.png"/><Relationship Id="rId186" Type="http://schemas.openxmlformats.org/officeDocument/2006/relationships/image" Target="../media/image240.png"/><Relationship Id="rId351" Type="http://schemas.openxmlformats.org/officeDocument/2006/relationships/image" Target="../media/image405.png"/><Relationship Id="rId372" Type="http://schemas.openxmlformats.org/officeDocument/2006/relationships/image" Target="../media/image426.png"/><Relationship Id="rId393" Type="http://schemas.openxmlformats.org/officeDocument/2006/relationships/image" Target="../media/image447.png"/><Relationship Id="rId407" Type="http://schemas.openxmlformats.org/officeDocument/2006/relationships/image" Target="../media/image461.png"/><Relationship Id="rId211" Type="http://schemas.openxmlformats.org/officeDocument/2006/relationships/image" Target="../media/image265.png"/><Relationship Id="rId232" Type="http://schemas.openxmlformats.org/officeDocument/2006/relationships/image" Target="../media/image286.png"/><Relationship Id="rId253" Type="http://schemas.openxmlformats.org/officeDocument/2006/relationships/image" Target="../media/image307.png"/><Relationship Id="rId274" Type="http://schemas.openxmlformats.org/officeDocument/2006/relationships/image" Target="../media/image328.png"/><Relationship Id="rId295" Type="http://schemas.openxmlformats.org/officeDocument/2006/relationships/image" Target="../media/image349.png"/><Relationship Id="rId309" Type="http://schemas.openxmlformats.org/officeDocument/2006/relationships/image" Target="../media/image363.png"/><Relationship Id="rId27" Type="http://schemas.openxmlformats.org/officeDocument/2006/relationships/image" Target="../media/image81.png"/><Relationship Id="rId48" Type="http://schemas.openxmlformats.org/officeDocument/2006/relationships/image" Target="../media/image102.png"/><Relationship Id="rId69" Type="http://schemas.openxmlformats.org/officeDocument/2006/relationships/image" Target="../media/image123.png"/><Relationship Id="rId113" Type="http://schemas.openxmlformats.org/officeDocument/2006/relationships/image" Target="../media/image167.png"/><Relationship Id="rId134" Type="http://schemas.openxmlformats.org/officeDocument/2006/relationships/image" Target="../media/image188.png"/><Relationship Id="rId320" Type="http://schemas.openxmlformats.org/officeDocument/2006/relationships/image" Target="../media/image374.png"/><Relationship Id="rId80" Type="http://schemas.openxmlformats.org/officeDocument/2006/relationships/image" Target="../media/image134.png"/><Relationship Id="rId155" Type="http://schemas.openxmlformats.org/officeDocument/2006/relationships/image" Target="../media/image209.png"/><Relationship Id="rId176" Type="http://schemas.openxmlformats.org/officeDocument/2006/relationships/image" Target="../media/image230.png"/><Relationship Id="rId197" Type="http://schemas.openxmlformats.org/officeDocument/2006/relationships/image" Target="../media/image251.png"/><Relationship Id="rId341" Type="http://schemas.openxmlformats.org/officeDocument/2006/relationships/image" Target="../media/image395.png"/><Relationship Id="rId362" Type="http://schemas.openxmlformats.org/officeDocument/2006/relationships/image" Target="../media/image416.png"/><Relationship Id="rId383" Type="http://schemas.openxmlformats.org/officeDocument/2006/relationships/image" Target="../media/image437.png"/><Relationship Id="rId201" Type="http://schemas.openxmlformats.org/officeDocument/2006/relationships/image" Target="../media/image255.png"/><Relationship Id="rId222" Type="http://schemas.openxmlformats.org/officeDocument/2006/relationships/image" Target="../media/image276.png"/><Relationship Id="rId243" Type="http://schemas.openxmlformats.org/officeDocument/2006/relationships/image" Target="../media/image297.png"/><Relationship Id="rId264" Type="http://schemas.openxmlformats.org/officeDocument/2006/relationships/image" Target="../media/image318.png"/><Relationship Id="rId285" Type="http://schemas.openxmlformats.org/officeDocument/2006/relationships/image" Target="../media/image339.png"/><Relationship Id="rId17" Type="http://schemas.openxmlformats.org/officeDocument/2006/relationships/image" Target="../media/image71.png"/><Relationship Id="rId38" Type="http://schemas.openxmlformats.org/officeDocument/2006/relationships/image" Target="../media/image92.png"/><Relationship Id="rId59" Type="http://schemas.openxmlformats.org/officeDocument/2006/relationships/image" Target="../media/image113.png"/><Relationship Id="rId103" Type="http://schemas.openxmlformats.org/officeDocument/2006/relationships/image" Target="../media/image157.png"/><Relationship Id="rId124" Type="http://schemas.openxmlformats.org/officeDocument/2006/relationships/image" Target="../media/image178.png"/><Relationship Id="rId310" Type="http://schemas.openxmlformats.org/officeDocument/2006/relationships/image" Target="../media/image364.png"/><Relationship Id="rId70" Type="http://schemas.openxmlformats.org/officeDocument/2006/relationships/image" Target="../media/image124.png"/><Relationship Id="rId91" Type="http://schemas.openxmlformats.org/officeDocument/2006/relationships/image" Target="../media/image145.png"/><Relationship Id="rId145" Type="http://schemas.openxmlformats.org/officeDocument/2006/relationships/image" Target="../media/image199.png"/><Relationship Id="rId166" Type="http://schemas.openxmlformats.org/officeDocument/2006/relationships/image" Target="../media/image220.png"/><Relationship Id="rId187" Type="http://schemas.openxmlformats.org/officeDocument/2006/relationships/image" Target="../media/image241.png"/><Relationship Id="rId331" Type="http://schemas.openxmlformats.org/officeDocument/2006/relationships/image" Target="../media/image385.png"/><Relationship Id="rId352" Type="http://schemas.openxmlformats.org/officeDocument/2006/relationships/image" Target="../media/image406.png"/><Relationship Id="rId373" Type="http://schemas.openxmlformats.org/officeDocument/2006/relationships/image" Target="../media/image427.png"/><Relationship Id="rId394" Type="http://schemas.openxmlformats.org/officeDocument/2006/relationships/image" Target="../media/image448.png"/><Relationship Id="rId408" Type="http://schemas.openxmlformats.org/officeDocument/2006/relationships/image" Target="../media/image462.png"/><Relationship Id="rId1" Type="http://schemas.openxmlformats.org/officeDocument/2006/relationships/slideLayout" Target="../slideLayouts/slideLayout60.xml"/><Relationship Id="rId212" Type="http://schemas.openxmlformats.org/officeDocument/2006/relationships/image" Target="../media/image266.png"/><Relationship Id="rId233" Type="http://schemas.openxmlformats.org/officeDocument/2006/relationships/image" Target="../media/image287.png"/><Relationship Id="rId254" Type="http://schemas.openxmlformats.org/officeDocument/2006/relationships/image" Target="../media/image308.png"/><Relationship Id="rId28" Type="http://schemas.openxmlformats.org/officeDocument/2006/relationships/image" Target="../media/image82.png"/><Relationship Id="rId49" Type="http://schemas.openxmlformats.org/officeDocument/2006/relationships/image" Target="../media/image103.png"/><Relationship Id="rId114" Type="http://schemas.openxmlformats.org/officeDocument/2006/relationships/image" Target="../media/image168.png"/><Relationship Id="rId275" Type="http://schemas.openxmlformats.org/officeDocument/2006/relationships/image" Target="../media/image329.png"/><Relationship Id="rId296" Type="http://schemas.openxmlformats.org/officeDocument/2006/relationships/image" Target="../media/image350.png"/><Relationship Id="rId300" Type="http://schemas.openxmlformats.org/officeDocument/2006/relationships/image" Target="../media/image354.png"/><Relationship Id="rId60" Type="http://schemas.openxmlformats.org/officeDocument/2006/relationships/image" Target="../media/image114.png"/><Relationship Id="rId81" Type="http://schemas.openxmlformats.org/officeDocument/2006/relationships/image" Target="../media/image135.png"/><Relationship Id="rId135" Type="http://schemas.openxmlformats.org/officeDocument/2006/relationships/image" Target="../media/image189.png"/><Relationship Id="rId156" Type="http://schemas.openxmlformats.org/officeDocument/2006/relationships/image" Target="../media/image210.png"/><Relationship Id="rId177" Type="http://schemas.openxmlformats.org/officeDocument/2006/relationships/image" Target="../media/image231.png"/><Relationship Id="rId198" Type="http://schemas.openxmlformats.org/officeDocument/2006/relationships/image" Target="../media/image252.png"/><Relationship Id="rId321" Type="http://schemas.openxmlformats.org/officeDocument/2006/relationships/image" Target="../media/image375.png"/><Relationship Id="rId342" Type="http://schemas.openxmlformats.org/officeDocument/2006/relationships/image" Target="../media/image396.png"/><Relationship Id="rId363" Type="http://schemas.openxmlformats.org/officeDocument/2006/relationships/image" Target="../media/image417.png"/><Relationship Id="rId384" Type="http://schemas.openxmlformats.org/officeDocument/2006/relationships/image" Target="../media/image438.png"/><Relationship Id="rId202" Type="http://schemas.openxmlformats.org/officeDocument/2006/relationships/image" Target="../media/image256.png"/><Relationship Id="rId223" Type="http://schemas.openxmlformats.org/officeDocument/2006/relationships/image" Target="../media/image277.png"/><Relationship Id="rId244" Type="http://schemas.openxmlformats.org/officeDocument/2006/relationships/image" Target="../media/image298.png"/><Relationship Id="rId18" Type="http://schemas.openxmlformats.org/officeDocument/2006/relationships/image" Target="../media/image72.png"/><Relationship Id="rId39" Type="http://schemas.openxmlformats.org/officeDocument/2006/relationships/image" Target="../media/image93.png"/><Relationship Id="rId265" Type="http://schemas.openxmlformats.org/officeDocument/2006/relationships/image" Target="../media/image319.png"/><Relationship Id="rId286" Type="http://schemas.openxmlformats.org/officeDocument/2006/relationships/image" Target="../media/image340.png"/><Relationship Id="rId50" Type="http://schemas.openxmlformats.org/officeDocument/2006/relationships/image" Target="../media/image104.png"/><Relationship Id="rId104" Type="http://schemas.openxmlformats.org/officeDocument/2006/relationships/image" Target="../media/image158.png"/><Relationship Id="rId125" Type="http://schemas.openxmlformats.org/officeDocument/2006/relationships/image" Target="../media/image179.png"/><Relationship Id="rId146" Type="http://schemas.openxmlformats.org/officeDocument/2006/relationships/image" Target="../media/image200.png"/><Relationship Id="rId167" Type="http://schemas.openxmlformats.org/officeDocument/2006/relationships/image" Target="../media/image221.png"/><Relationship Id="rId188" Type="http://schemas.openxmlformats.org/officeDocument/2006/relationships/image" Target="../media/image242.png"/><Relationship Id="rId311" Type="http://schemas.openxmlformats.org/officeDocument/2006/relationships/image" Target="../media/image365.png"/><Relationship Id="rId332" Type="http://schemas.openxmlformats.org/officeDocument/2006/relationships/image" Target="../media/image386.png"/><Relationship Id="rId353" Type="http://schemas.openxmlformats.org/officeDocument/2006/relationships/image" Target="../media/image407.png"/><Relationship Id="rId374" Type="http://schemas.openxmlformats.org/officeDocument/2006/relationships/image" Target="../media/image428.png"/><Relationship Id="rId395" Type="http://schemas.openxmlformats.org/officeDocument/2006/relationships/image" Target="../media/image449.png"/><Relationship Id="rId409" Type="http://schemas.openxmlformats.org/officeDocument/2006/relationships/image" Target="../media/image463.svg"/><Relationship Id="rId71" Type="http://schemas.openxmlformats.org/officeDocument/2006/relationships/image" Target="../media/image125.png"/><Relationship Id="rId92" Type="http://schemas.openxmlformats.org/officeDocument/2006/relationships/image" Target="../media/image146.png"/><Relationship Id="rId213" Type="http://schemas.openxmlformats.org/officeDocument/2006/relationships/image" Target="../media/image267.png"/><Relationship Id="rId234" Type="http://schemas.openxmlformats.org/officeDocument/2006/relationships/image" Target="../media/image288.png"/><Relationship Id="rId2" Type="http://schemas.openxmlformats.org/officeDocument/2006/relationships/image" Target="../media/image56.png"/><Relationship Id="rId29" Type="http://schemas.openxmlformats.org/officeDocument/2006/relationships/image" Target="../media/image83.png"/><Relationship Id="rId255" Type="http://schemas.openxmlformats.org/officeDocument/2006/relationships/image" Target="../media/image309.png"/><Relationship Id="rId276" Type="http://schemas.openxmlformats.org/officeDocument/2006/relationships/image" Target="../media/image330.png"/><Relationship Id="rId297" Type="http://schemas.openxmlformats.org/officeDocument/2006/relationships/image" Target="../media/image351.png"/><Relationship Id="rId40" Type="http://schemas.openxmlformats.org/officeDocument/2006/relationships/image" Target="../media/image94.png"/><Relationship Id="rId115" Type="http://schemas.openxmlformats.org/officeDocument/2006/relationships/image" Target="../media/image169.png"/><Relationship Id="rId136" Type="http://schemas.openxmlformats.org/officeDocument/2006/relationships/image" Target="../media/image190.png"/><Relationship Id="rId157" Type="http://schemas.openxmlformats.org/officeDocument/2006/relationships/image" Target="../media/image211.png"/><Relationship Id="rId178" Type="http://schemas.openxmlformats.org/officeDocument/2006/relationships/image" Target="../media/image232.png"/><Relationship Id="rId301" Type="http://schemas.openxmlformats.org/officeDocument/2006/relationships/image" Target="../media/image355.png"/><Relationship Id="rId322" Type="http://schemas.openxmlformats.org/officeDocument/2006/relationships/image" Target="../media/image376.png"/><Relationship Id="rId343" Type="http://schemas.openxmlformats.org/officeDocument/2006/relationships/image" Target="../media/image397.png"/><Relationship Id="rId364" Type="http://schemas.openxmlformats.org/officeDocument/2006/relationships/image" Target="../media/image418.png"/><Relationship Id="rId61" Type="http://schemas.openxmlformats.org/officeDocument/2006/relationships/image" Target="../media/image115.png"/><Relationship Id="rId82" Type="http://schemas.openxmlformats.org/officeDocument/2006/relationships/image" Target="../media/image136.png"/><Relationship Id="rId199" Type="http://schemas.openxmlformats.org/officeDocument/2006/relationships/image" Target="../media/image253.png"/><Relationship Id="rId203" Type="http://schemas.openxmlformats.org/officeDocument/2006/relationships/image" Target="../media/image257.png"/><Relationship Id="rId385" Type="http://schemas.openxmlformats.org/officeDocument/2006/relationships/image" Target="../media/image439.png"/><Relationship Id="rId19" Type="http://schemas.openxmlformats.org/officeDocument/2006/relationships/image" Target="../media/image73.png"/><Relationship Id="rId224" Type="http://schemas.openxmlformats.org/officeDocument/2006/relationships/image" Target="../media/image278.png"/><Relationship Id="rId245" Type="http://schemas.openxmlformats.org/officeDocument/2006/relationships/image" Target="../media/image299.png"/><Relationship Id="rId266" Type="http://schemas.openxmlformats.org/officeDocument/2006/relationships/image" Target="../media/image320.png"/><Relationship Id="rId287" Type="http://schemas.openxmlformats.org/officeDocument/2006/relationships/image" Target="../media/image341.png"/><Relationship Id="rId30" Type="http://schemas.openxmlformats.org/officeDocument/2006/relationships/image" Target="../media/image84.png"/><Relationship Id="rId105" Type="http://schemas.openxmlformats.org/officeDocument/2006/relationships/image" Target="../media/image159.png"/><Relationship Id="rId126" Type="http://schemas.openxmlformats.org/officeDocument/2006/relationships/image" Target="../media/image180.png"/><Relationship Id="rId147" Type="http://schemas.openxmlformats.org/officeDocument/2006/relationships/image" Target="../media/image201.png"/><Relationship Id="rId168" Type="http://schemas.openxmlformats.org/officeDocument/2006/relationships/image" Target="../media/image222.png"/><Relationship Id="rId312" Type="http://schemas.openxmlformats.org/officeDocument/2006/relationships/image" Target="../media/image366.png"/><Relationship Id="rId333" Type="http://schemas.openxmlformats.org/officeDocument/2006/relationships/image" Target="../media/image387.png"/><Relationship Id="rId354" Type="http://schemas.openxmlformats.org/officeDocument/2006/relationships/image" Target="../media/image408.png"/><Relationship Id="rId51" Type="http://schemas.openxmlformats.org/officeDocument/2006/relationships/image" Target="../media/image105.png"/><Relationship Id="rId72" Type="http://schemas.openxmlformats.org/officeDocument/2006/relationships/image" Target="../media/image126.png"/><Relationship Id="rId93" Type="http://schemas.openxmlformats.org/officeDocument/2006/relationships/image" Target="../media/image147.png"/><Relationship Id="rId189" Type="http://schemas.openxmlformats.org/officeDocument/2006/relationships/image" Target="../media/image243.png"/><Relationship Id="rId375" Type="http://schemas.openxmlformats.org/officeDocument/2006/relationships/image" Target="../media/image429.png"/><Relationship Id="rId396" Type="http://schemas.openxmlformats.org/officeDocument/2006/relationships/image" Target="../media/image450.png"/><Relationship Id="rId3" Type="http://schemas.openxmlformats.org/officeDocument/2006/relationships/image" Target="../media/image57.png"/><Relationship Id="rId214" Type="http://schemas.openxmlformats.org/officeDocument/2006/relationships/image" Target="../media/image268.png"/><Relationship Id="rId235" Type="http://schemas.openxmlformats.org/officeDocument/2006/relationships/image" Target="../media/image289.png"/><Relationship Id="rId256" Type="http://schemas.openxmlformats.org/officeDocument/2006/relationships/image" Target="../media/image310.png"/><Relationship Id="rId277" Type="http://schemas.openxmlformats.org/officeDocument/2006/relationships/image" Target="../media/image331.png"/><Relationship Id="rId298" Type="http://schemas.openxmlformats.org/officeDocument/2006/relationships/image" Target="../media/image352.png"/><Relationship Id="rId400" Type="http://schemas.openxmlformats.org/officeDocument/2006/relationships/image" Target="../media/image454.png"/><Relationship Id="rId116" Type="http://schemas.openxmlformats.org/officeDocument/2006/relationships/image" Target="../media/image170.png"/><Relationship Id="rId137" Type="http://schemas.openxmlformats.org/officeDocument/2006/relationships/image" Target="../media/image191.png"/><Relationship Id="rId158" Type="http://schemas.openxmlformats.org/officeDocument/2006/relationships/image" Target="../media/image212.png"/><Relationship Id="rId302" Type="http://schemas.openxmlformats.org/officeDocument/2006/relationships/image" Target="../media/image356.png"/><Relationship Id="rId323" Type="http://schemas.openxmlformats.org/officeDocument/2006/relationships/image" Target="../media/image377.png"/><Relationship Id="rId344" Type="http://schemas.openxmlformats.org/officeDocument/2006/relationships/image" Target="../media/image398.png"/><Relationship Id="rId20" Type="http://schemas.openxmlformats.org/officeDocument/2006/relationships/image" Target="../media/image74.png"/><Relationship Id="rId41" Type="http://schemas.openxmlformats.org/officeDocument/2006/relationships/image" Target="../media/image95.png"/><Relationship Id="rId62" Type="http://schemas.openxmlformats.org/officeDocument/2006/relationships/image" Target="../media/image116.png"/><Relationship Id="rId83" Type="http://schemas.openxmlformats.org/officeDocument/2006/relationships/image" Target="../media/image137.png"/><Relationship Id="rId179" Type="http://schemas.openxmlformats.org/officeDocument/2006/relationships/image" Target="../media/image233.png"/><Relationship Id="rId365" Type="http://schemas.openxmlformats.org/officeDocument/2006/relationships/image" Target="../media/image419.png"/><Relationship Id="rId386" Type="http://schemas.openxmlformats.org/officeDocument/2006/relationships/image" Target="../media/image440.png"/><Relationship Id="rId190" Type="http://schemas.openxmlformats.org/officeDocument/2006/relationships/image" Target="../media/image244.png"/><Relationship Id="rId204" Type="http://schemas.openxmlformats.org/officeDocument/2006/relationships/image" Target="../media/image258.png"/><Relationship Id="rId225" Type="http://schemas.openxmlformats.org/officeDocument/2006/relationships/image" Target="../media/image279.png"/><Relationship Id="rId246" Type="http://schemas.openxmlformats.org/officeDocument/2006/relationships/image" Target="../media/image300.png"/><Relationship Id="rId267" Type="http://schemas.openxmlformats.org/officeDocument/2006/relationships/image" Target="../media/image321.png"/><Relationship Id="rId288" Type="http://schemas.openxmlformats.org/officeDocument/2006/relationships/image" Target="../media/image342.png"/><Relationship Id="rId106" Type="http://schemas.openxmlformats.org/officeDocument/2006/relationships/image" Target="../media/image160.png"/><Relationship Id="rId127" Type="http://schemas.openxmlformats.org/officeDocument/2006/relationships/image" Target="../media/image181.png"/><Relationship Id="rId313" Type="http://schemas.openxmlformats.org/officeDocument/2006/relationships/image" Target="../media/image367.png"/><Relationship Id="rId10" Type="http://schemas.openxmlformats.org/officeDocument/2006/relationships/image" Target="../media/image64.png"/><Relationship Id="rId31" Type="http://schemas.openxmlformats.org/officeDocument/2006/relationships/image" Target="../media/image85.png"/><Relationship Id="rId52" Type="http://schemas.openxmlformats.org/officeDocument/2006/relationships/image" Target="../media/image106.png"/><Relationship Id="rId73" Type="http://schemas.openxmlformats.org/officeDocument/2006/relationships/image" Target="../media/image127.png"/><Relationship Id="rId94" Type="http://schemas.openxmlformats.org/officeDocument/2006/relationships/image" Target="../media/image148.png"/><Relationship Id="rId148" Type="http://schemas.openxmlformats.org/officeDocument/2006/relationships/image" Target="../media/image202.png"/><Relationship Id="rId169" Type="http://schemas.openxmlformats.org/officeDocument/2006/relationships/image" Target="../media/image223.png"/><Relationship Id="rId334" Type="http://schemas.openxmlformats.org/officeDocument/2006/relationships/image" Target="../media/image388.png"/><Relationship Id="rId355" Type="http://schemas.openxmlformats.org/officeDocument/2006/relationships/image" Target="../media/image409.png"/><Relationship Id="rId376" Type="http://schemas.openxmlformats.org/officeDocument/2006/relationships/image" Target="../media/image430.png"/><Relationship Id="rId397" Type="http://schemas.openxmlformats.org/officeDocument/2006/relationships/image" Target="../media/image451.png"/><Relationship Id="rId4" Type="http://schemas.openxmlformats.org/officeDocument/2006/relationships/image" Target="../media/image58.png"/><Relationship Id="rId180" Type="http://schemas.openxmlformats.org/officeDocument/2006/relationships/image" Target="../media/image234.png"/><Relationship Id="rId215" Type="http://schemas.openxmlformats.org/officeDocument/2006/relationships/image" Target="../media/image269.png"/><Relationship Id="rId236" Type="http://schemas.openxmlformats.org/officeDocument/2006/relationships/image" Target="../media/image290.png"/><Relationship Id="rId257" Type="http://schemas.openxmlformats.org/officeDocument/2006/relationships/image" Target="../media/image311.png"/><Relationship Id="rId278" Type="http://schemas.openxmlformats.org/officeDocument/2006/relationships/image" Target="../media/image332.png"/><Relationship Id="rId401" Type="http://schemas.openxmlformats.org/officeDocument/2006/relationships/image" Target="../media/image455.png"/><Relationship Id="rId303" Type="http://schemas.openxmlformats.org/officeDocument/2006/relationships/image" Target="../media/image357.png"/><Relationship Id="rId42" Type="http://schemas.openxmlformats.org/officeDocument/2006/relationships/image" Target="../media/image96.png"/><Relationship Id="rId84" Type="http://schemas.openxmlformats.org/officeDocument/2006/relationships/image" Target="../media/image138.png"/><Relationship Id="rId138" Type="http://schemas.openxmlformats.org/officeDocument/2006/relationships/image" Target="../media/image192.png"/><Relationship Id="rId345" Type="http://schemas.openxmlformats.org/officeDocument/2006/relationships/image" Target="../media/image399.png"/><Relationship Id="rId387" Type="http://schemas.openxmlformats.org/officeDocument/2006/relationships/image" Target="../media/image441.png"/><Relationship Id="rId191" Type="http://schemas.openxmlformats.org/officeDocument/2006/relationships/image" Target="../media/image245.png"/><Relationship Id="rId205" Type="http://schemas.openxmlformats.org/officeDocument/2006/relationships/image" Target="../media/image259.png"/><Relationship Id="rId247" Type="http://schemas.openxmlformats.org/officeDocument/2006/relationships/image" Target="../media/image301.png"/><Relationship Id="rId107" Type="http://schemas.openxmlformats.org/officeDocument/2006/relationships/image" Target="../media/image161.png"/><Relationship Id="rId289" Type="http://schemas.openxmlformats.org/officeDocument/2006/relationships/image" Target="../media/image343.png"/><Relationship Id="rId11" Type="http://schemas.openxmlformats.org/officeDocument/2006/relationships/image" Target="../media/image65.png"/><Relationship Id="rId53" Type="http://schemas.openxmlformats.org/officeDocument/2006/relationships/image" Target="../media/image107.png"/><Relationship Id="rId149" Type="http://schemas.openxmlformats.org/officeDocument/2006/relationships/image" Target="../media/image203.png"/><Relationship Id="rId314" Type="http://schemas.openxmlformats.org/officeDocument/2006/relationships/image" Target="../media/image368.png"/><Relationship Id="rId356" Type="http://schemas.openxmlformats.org/officeDocument/2006/relationships/image" Target="../media/image410.png"/><Relationship Id="rId398" Type="http://schemas.openxmlformats.org/officeDocument/2006/relationships/image" Target="../media/image452.png"/></Relationships>
</file>

<file path=ppt/slides/_rels/slide10.xml.rels><?xml version="1.0" encoding="UTF-8" standalone="yes"?>
<Relationships xmlns="http://schemas.openxmlformats.org/package/2006/relationships"><Relationship Id="rId3" Type="http://schemas.openxmlformats.org/officeDocument/2006/relationships/image" Target="../media/image464.png"/><Relationship Id="rId2" Type="http://schemas.openxmlformats.org/officeDocument/2006/relationships/image" Target="../media/image466.png"/><Relationship Id="rId1" Type="http://schemas.openxmlformats.org/officeDocument/2006/relationships/slideLayout" Target="../slideLayouts/slideLayout32.xml"/><Relationship Id="rId6" Type="http://schemas.openxmlformats.org/officeDocument/2006/relationships/image" Target="../media/image496.svg"/><Relationship Id="rId5" Type="http://schemas.openxmlformats.org/officeDocument/2006/relationships/image" Target="../media/image495.png"/><Relationship Id="rId4" Type="http://schemas.openxmlformats.org/officeDocument/2006/relationships/image" Target="../media/image465.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3" Type="http://schemas.openxmlformats.org/officeDocument/2006/relationships/image" Target="../media/image464.png"/><Relationship Id="rId2" Type="http://schemas.openxmlformats.org/officeDocument/2006/relationships/notesSlide" Target="../notesSlides/notesSlide1.xml"/><Relationship Id="rId1" Type="http://schemas.openxmlformats.org/officeDocument/2006/relationships/slideLayout" Target="../slideLayouts/slideLayout60.xml"/><Relationship Id="rId6" Type="http://schemas.openxmlformats.org/officeDocument/2006/relationships/image" Target="../media/image467.emf"/><Relationship Id="rId5" Type="http://schemas.openxmlformats.org/officeDocument/2006/relationships/image" Target="../media/image466.png"/><Relationship Id="rId4" Type="http://schemas.openxmlformats.org/officeDocument/2006/relationships/image" Target="../media/image465.svg"/></Relationships>
</file>

<file path=ppt/slides/_rels/slide3.xml.rels><?xml version="1.0" encoding="UTF-8" standalone="yes"?>
<Relationships xmlns="http://schemas.openxmlformats.org/package/2006/relationships"><Relationship Id="rId3" Type="http://schemas.openxmlformats.org/officeDocument/2006/relationships/image" Target="../media/image464.png"/><Relationship Id="rId2" Type="http://schemas.openxmlformats.org/officeDocument/2006/relationships/image" Target="../media/image466.png"/><Relationship Id="rId1" Type="http://schemas.openxmlformats.org/officeDocument/2006/relationships/slideLayout" Target="../slideLayouts/slideLayout54.xml"/><Relationship Id="rId4" Type="http://schemas.openxmlformats.org/officeDocument/2006/relationships/image" Target="../media/image465.svg"/></Relationships>
</file>

<file path=ppt/slides/_rels/slide4.xml.rels><?xml version="1.0" encoding="UTF-8" standalone="yes"?>
<Relationships xmlns="http://schemas.openxmlformats.org/package/2006/relationships"><Relationship Id="rId3" Type="http://schemas.openxmlformats.org/officeDocument/2006/relationships/image" Target="../media/image468.png"/><Relationship Id="rId2" Type="http://schemas.openxmlformats.org/officeDocument/2006/relationships/notesSlide" Target="../notesSlides/notesSlide2.xml"/><Relationship Id="rId1" Type="http://schemas.openxmlformats.org/officeDocument/2006/relationships/slideLayout" Target="../slideLayouts/slideLayout60.xml"/><Relationship Id="rId4" Type="http://schemas.openxmlformats.org/officeDocument/2006/relationships/image" Target="../media/image469.svg"/></Relationships>
</file>

<file path=ppt/slides/_rels/slide5.xml.rels><?xml version="1.0" encoding="UTF-8" standalone="yes"?>
<Relationships xmlns="http://schemas.openxmlformats.org/package/2006/relationships"><Relationship Id="rId3" Type="http://schemas.openxmlformats.org/officeDocument/2006/relationships/image" Target="../media/image464.png"/><Relationship Id="rId2" Type="http://schemas.openxmlformats.org/officeDocument/2006/relationships/image" Target="../media/image466.png"/><Relationship Id="rId1" Type="http://schemas.openxmlformats.org/officeDocument/2006/relationships/slideLayout" Target="../slideLayouts/slideLayout32.xml"/><Relationship Id="rId6" Type="http://schemas.openxmlformats.org/officeDocument/2006/relationships/image" Target="../media/image471.svg"/><Relationship Id="rId5" Type="http://schemas.openxmlformats.org/officeDocument/2006/relationships/image" Target="../media/image470.png"/><Relationship Id="rId4" Type="http://schemas.openxmlformats.org/officeDocument/2006/relationships/image" Target="../media/image465.svg"/></Relationships>
</file>

<file path=ppt/slides/_rels/slide6.xml.rels><?xml version="1.0" encoding="UTF-8" standalone="yes"?>
<Relationships xmlns="http://schemas.openxmlformats.org/package/2006/relationships"><Relationship Id="rId3" Type="http://schemas.openxmlformats.org/officeDocument/2006/relationships/image" Target="../media/image465.svg"/><Relationship Id="rId2" Type="http://schemas.openxmlformats.org/officeDocument/2006/relationships/image" Target="../media/image464.png"/><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8" Type="http://schemas.openxmlformats.org/officeDocument/2006/relationships/image" Target="../media/image476.png"/><Relationship Id="rId13" Type="http://schemas.openxmlformats.org/officeDocument/2006/relationships/image" Target="../media/image479.emf"/><Relationship Id="rId3" Type="http://schemas.openxmlformats.org/officeDocument/2006/relationships/image" Target="../media/image473.svg"/><Relationship Id="rId7" Type="http://schemas.openxmlformats.org/officeDocument/2006/relationships/image" Target="../media/image466.png"/><Relationship Id="rId12" Type="http://schemas.openxmlformats.org/officeDocument/2006/relationships/image" Target="../media/image478.png"/><Relationship Id="rId2" Type="http://schemas.openxmlformats.org/officeDocument/2006/relationships/image" Target="../media/image472.png"/><Relationship Id="rId1" Type="http://schemas.openxmlformats.org/officeDocument/2006/relationships/slideLayout" Target="../slideLayouts/slideLayout40.xml"/><Relationship Id="rId6" Type="http://schemas.openxmlformats.org/officeDocument/2006/relationships/image" Target="../media/image475.svg"/><Relationship Id="rId11" Type="http://schemas.openxmlformats.org/officeDocument/2006/relationships/image" Target="../media/image477.png"/><Relationship Id="rId5" Type="http://schemas.openxmlformats.org/officeDocument/2006/relationships/image" Target="../media/image474.png"/><Relationship Id="rId10" Type="http://schemas.openxmlformats.org/officeDocument/2006/relationships/image" Target="../media/image465.svg"/><Relationship Id="rId4" Type="http://schemas.openxmlformats.org/officeDocument/2006/relationships/image" Target="../media/image333.png"/><Relationship Id="rId9" Type="http://schemas.openxmlformats.org/officeDocument/2006/relationships/image" Target="../media/image464.png"/><Relationship Id="rId14" Type="http://schemas.openxmlformats.org/officeDocument/2006/relationships/image" Target="../media/image52.png"/></Relationships>
</file>

<file path=ppt/slides/_rels/slide8.xml.rels><?xml version="1.0" encoding="UTF-8" standalone="yes"?>
<Relationships xmlns="http://schemas.openxmlformats.org/package/2006/relationships"><Relationship Id="rId8" Type="http://schemas.openxmlformats.org/officeDocument/2006/relationships/image" Target="../media/image483.png"/><Relationship Id="rId13" Type="http://schemas.openxmlformats.org/officeDocument/2006/relationships/image" Target="../media/image488.png"/><Relationship Id="rId3" Type="http://schemas.openxmlformats.org/officeDocument/2006/relationships/image" Target="../media/image464.png"/><Relationship Id="rId7" Type="http://schemas.openxmlformats.org/officeDocument/2006/relationships/image" Target="../media/image482.png"/><Relationship Id="rId12" Type="http://schemas.openxmlformats.org/officeDocument/2006/relationships/image" Target="../media/image487.png"/><Relationship Id="rId2" Type="http://schemas.openxmlformats.org/officeDocument/2006/relationships/notesSlide" Target="../notesSlides/notesSlide3.xml"/><Relationship Id="rId16" Type="http://schemas.openxmlformats.org/officeDocument/2006/relationships/image" Target="../media/image491.png"/><Relationship Id="rId1" Type="http://schemas.openxmlformats.org/officeDocument/2006/relationships/slideLayout" Target="../slideLayouts/slideLayout60.xml"/><Relationship Id="rId6" Type="http://schemas.openxmlformats.org/officeDocument/2006/relationships/image" Target="../media/image481.png"/><Relationship Id="rId11" Type="http://schemas.openxmlformats.org/officeDocument/2006/relationships/image" Target="../media/image486.png"/><Relationship Id="rId5" Type="http://schemas.openxmlformats.org/officeDocument/2006/relationships/image" Target="../media/image480.png"/><Relationship Id="rId15" Type="http://schemas.openxmlformats.org/officeDocument/2006/relationships/image" Target="../media/image490.png"/><Relationship Id="rId10" Type="http://schemas.openxmlformats.org/officeDocument/2006/relationships/image" Target="../media/image485.png"/><Relationship Id="rId4" Type="http://schemas.openxmlformats.org/officeDocument/2006/relationships/image" Target="../media/image465.svg"/><Relationship Id="rId9" Type="http://schemas.openxmlformats.org/officeDocument/2006/relationships/image" Target="../media/image484.png"/><Relationship Id="rId14" Type="http://schemas.openxmlformats.org/officeDocument/2006/relationships/image" Target="../media/image489.png"/></Relationships>
</file>

<file path=ppt/slides/_rels/slide9.xml.rels><?xml version="1.0" encoding="UTF-8" standalone="yes"?>
<Relationships xmlns="http://schemas.openxmlformats.org/package/2006/relationships"><Relationship Id="rId3" Type="http://schemas.openxmlformats.org/officeDocument/2006/relationships/image" Target="../media/image493.png"/><Relationship Id="rId2" Type="http://schemas.openxmlformats.org/officeDocument/2006/relationships/image" Target="../media/image492.png"/><Relationship Id="rId1" Type="http://schemas.openxmlformats.org/officeDocument/2006/relationships/slideLayout" Target="../slideLayouts/slideLayout91.xml"/><Relationship Id="rId4" Type="http://schemas.openxmlformats.org/officeDocument/2006/relationships/image" Target="../media/image49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622463" y="-315415"/>
            <a:ext cx="6569202" cy="7172974"/>
          </a:xfrm>
          <a:custGeom>
            <a:avLst/>
            <a:gdLst/>
            <a:ahLst/>
            <a:cxnLst/>
            <a:rect l="l" t="t" r="r" b="b"/>
            <a:pathLst>
              <a:path w="10833100" h="8557895">
                <a:moveTo>
                  <a:pt x="10832947" y="0"/>
                </a:moveTo>
                <a:lnTo>
                  <a:pt x="6291420" y="2297263"/>
                </a:lnTo>
                <a:lnTo>
                  <a:pt x="4793034" y="3093951"/>
                </a:lnTo>
                <a:lnTo>
                  <a:pt x="3352195" y="3885256"/>
                </a:lnTo>
                <a:lnTo>
                  <a:pt x="2068312" y="4615821"/>
                </a:lnTo>
                <a:lnTo>
                  <a:pt x="969840" y="5262849"/>
                </a:lnTo>
                <a:lnTo>
                  <a:pt x="0" y="5853423"/>
                </a:lnTo>
                <a:lnTo>
                  <a:pt x="640451" y="8557833"/>
                </a:lnTo>
                <a:lnTo>
                  <a:pt x="10832947" y="8557833"/>
                </a:lnTo>
                <a:lnTo>
                  <a:pt x="10832947" y="0"/>
                </a:lnTo>
                <a:close/>
              </a:path>
            </a:pathLst>
          </a:custGeom>
          <a:solidFill>
            <a:srgbClr val="FF304C"/>
          </a:solidFill>
        </p:spPr>
        <p:txBody>
          <a:bodyPr wrap="square" lIns="0" tIns="0" rIns="0" bIns="0" rtlCol="0"/>
          <a:lstStyle/>
          <a:p>
            <a:endParaRPr sz="1092" dirty="0"/>
          </a:p>
        </p:txBody>
      </p:sp>
      <p:sp>
        <p:nvSpPr>
          <p:cNvPr id="4" name="object 4"/>
          <p:cNvSpPr/>
          <p:nvPr/>
        </p:nvSpPr>
        <p:spPr>
          <a:xfrm flipH="1">
            <a:off x="1802742" y="795223"/>
            <a:ext cx="45719" cy="492254"/>
          </a:xfrm>
          <a:custGeom>
            <a:avLst/>
            <a:gdLst/>
            <a:ahLst/>
            <a:cxnLst/>
            <a:rect l="l" t="t" r="r" b="b"/>
            <a:pathLst>
              <a:path h="517525">
                <a:moveTo>
                  <a:pt x="0" y="0"/>
                </a:moveTo>
                <a:lnTo>
                  <a:pt x="0" y="516937"/>
                </a:lnTo>
              </a:path>
            </a:pathLst>
          </a:custGeom>
          <a:ln w="10470">
            <a:solidFill>
              <a:srgbClr val="0070AD"/>
            </a:solidFill>
          </a:ln>
        </p:spPr>
        <p:txBody>
          <a:bodyPr wrap="square" lIns="0" tIns="0" rIns="0" bIns="0" rtlCol="0"/>
          <a:lstStyle/>
          <a:p>
            <a:endParaRPr sz="1092" dirty="0"/>
          </a:p>
        </p:txBody>
      </p:sp>
      <p:sp>
        <p:nvSpPr>
          <p:cNvPr id="15" name="object 15"/>
          <p:cNvSpPr/>
          <p:nvPr/>
        </p:nvSpPr>
        <p:spPr>
          <a:xfrm>
            <a:off x="693219" y="795223"/>
            <a:ext cx="934992" cy="489819"/>
          </a:xfrm>
          <a:prstGeom prst="rect">
            <a:avLst/>
          </a:prstGeom>
          <a:blipFill>
            <a:blip r:embed="rId2" cstate="print"/>
            <a:stretch>
              <a:fillRect/>
            </a:stretch>
          </a:blipFill>
        </p:spPr>
        <p:txBody>
          <a:bodyPr wrap="square" lIns="0" tIns="0" rIns="0" bIns="0" rtlCol="0"/>
          <a:lstStyle/>
          <a:p>
            <a:endParaRPr sz="1092" dirty="0"/>
          </a:p>
        </p:txBody>
      </p:sp>
      <p:grpSp>
        <p:nvGrpSpPr>
          <p:cNvPr id="22" name="Group 21">
            <a:extLst>
              <a:ext uri="{FF2B5EF4-FFF2-40B4-BE49-F238E27FC236}">
                <a16:creationId xmlns:a16="http://schemas.microsoft.com/office/drawing/2014/main" id="{2D47F0FB-7F85-344F-8ED1-95D66F422992}"/>
              </a:ext>
            </a:extLst>
          </p:cNvPr>
          <p:cNvGrpSpPr/>
          <p:nvPr/>
        </p:nvGrpSpPr>
        <p:grpSpPr>
          <a:xfrm>
            <a:off x="5137678" y="1410450"/>
            <a:ext cx="4371487" cy="4397268"/>
            <a:chOff x="5016576" y="1182184"/>
            <a:chExt cx="5095693" cy="5125746"/>
          </a:xfrm>
        </p:grpSpPr>
        <p:sp>
          <p:nvSpPr>
            <p:cNvPr id="28" name="object 28"/>
            <p:cNvSpPr/>
            <p:nvPr/>
          </p:nvSpPr>
          <p:spPr>
            <a:xfrm>
              <a:off x="9100241" y="4601046"/>
              <a:ext cx="509055" cy="294189"/>
            </a:xfrm>
            <a:custGeom>
              <a:avLst/>
              <a:gdLst/>
              <a:ahLst/>
              <a:cxnLst/>
              <a:rect l="l" t="t" r="r" b="b"/>
              <a:pathLst>
                <a:path w="839469" h="485140">
                  <a:moveTo>
                    <a:pt x="413149" y="0"/>
                  </a:moveTo>
                  <a:lnTo>
                    <a:pt x="0" y="238652"/>
                  </a:lnTo>
                  <a:lnTo>
                    <a:pt x="426405" y="484760"/>
                  </a:lnTo>
                  <a:lnTo>
                    <a:pt x="839346" y="246107"/>
                  </a:lnTo>
                  <a:lnTo>
                    <a:pt x="413149" y="0"/>
                  </a:lnTo>
                  <a:close/>
                </a:path>
              </a:pathLst>
            </a:custGeom>
            <a:solidFill>
              <a:srgbClr val="BCBEC0"/>
            </a:solidFill>
          </p:spPr>
          <p:txBody>
            <a:bodyPr wrap="square" lIns="0" tIns="0" rIns="0" bIns="0" rtlCol="0"/>
            <a:lstStyle/>
            <a:p>
              <a:endParaRPr sz="1092" dirty="0"/>
            </a:p>
          </p:txBody>
        </p:sp>
        <p:sp>
          <p:nvSpPr>
            <p:cNvPr id="29" name="object 29"/>
            <p:cNvSpPr/>
            <p:nvPr/>
          </p:nvSpPr>
          <p:spPr>
            <a:xfrm>
              <a:off x="9358812" y="4750289"/>
              <a:ext cx="502894" cy="290339"/>
            </a:xfrm>
            <a:custGeom>
              <a:avLst/>
              <a:gdLst/>
              <a:ahLst/>
              <a:cxnLst/>
              <a:rect l="l" t="t" r="r" b="b"/>
              <a:pathLst>
                <a:path w="829309" h="478790">
                  <a:moveTo>
                    <a:pt x="412940" y="0"/>
                  </a:moveTo>
                  <a:lnTo>
                    <a:pt x="0" y="238652"/>
                  </a:lnTo>
                  <a:lnTo>
                    <a:pt x="415578" y="478498"/>
                  </a:lnTo>
                  <a:lnTo>
                    <a:pt x="828760" y="240076"/>
                  </a:lnTo>
                  <a:lnTo>
                    <a:pt x="412940" y="0"/>
                  </a:lnTo>
                  <a:close/>
                </a:path>
              </a:pathLst>
            </a:custGeom>
            <a:solidFill>
              <a:srgbClr val="DCDDDE"/>
            </a:solidFill>
          </p:spPr>
          <p:txBody>
            <a:bodyPr wrap="square" lIns="0" tIns="0" rIns="0" bIns="0" rtlCol="0"/>
            <a:lstStyle/>
            <a:p>
              <a:endParaRPr sz="1092" dirty="0"/>
            </a:p>
          </p:txBody>
        </p:sp>
        <p:sp>
          <p:nvSpPr>
            <p:cNvPr id="30" name="object 30"/>
            <p:cNvSpPr/>
            <p:nvPr/>
          </p:nvSpPr>
          <p:spPr>
            <a:xfrm>
              <a:off x="8841951" y="4451956"/>
              <a:ext cx="509055" cy="293804"/>
            </a:xfrm>
            <a:custGeom>
              <a:avLst/>
              <a:gdLst/>
              <a:ahLst/>
              <a:cxnLst/>
              <a:rect l="l" t="t" r="r" b="b"/>
              <a:pathLst>
                <a:path w="839469" h="484504">
                  <a:moveTo>
                    <a:pt x="413149" y="0"/>
                  </a:moveTo>
                  <a:lnTo>
                    <a:pt x="0" y="238390"/>
                  </a:lnTo>
                  <a:lnTo>
                    <a:pt x="425934" y="484508"/>
                  </a:lnTo>
                  <a:lnTo>
                    <a:pt x="839094" y="245856"/>
                  </a:lnTo>
                  <a:lnTo>
                    <a:pt x="413149" y="0"/>
                  </a:lnTo>
                  <a:close/>
                </a:path>
              </a:pathLst>
            </a:custGeom>
            <a:solidFill>
              <a:srgbClr val="BCBEC0"/>
            </a:solidFill>
          </p:spPr>
          <p:txBody>
            <a:bodyPr wrap="square" lIns="0" tIns="0" rIns="0" bIns="0" rtlCol="0"/>
            <a:lstStyle/>
            <a:p>
              <a:endParaRPr sz="1092" dirty="0"/>
            </a:p>
          </p:txBody>
        </p:sp>
        <p:sp>
          <p:nvSpPr>
            <p:cNvPr id="31" name="object 31"/>
            <p:cNvSpPr/>
            <p:nvPr/>
          </p:nvSpPr>
          <p:spPr>
            <a:xfrm>
              <a:off x="8589798" y="4306515"/>
              <a:ext cx="502894" cy="290339"/>
            </a:xfrm>
            <a:custGeom>
              <a:avLst/>
              <a:gdLst/>
              <a:ahLst/>
              <a:cxnLst/>
              <a:rect l="l" t="t" r="r" b="b"/>
              <a:pathLst>
                <a:path w="829309" h="478790">
                  <a:moveTo>
                    <a:pt x="413160" y="0"/>
                  </a:moveTo>
                  <a:lnTo>
                    <a:pt x="0" y="238380"/>
                  </a:lnTo>
                  <a:lnTo>
                    <a:pt x="415819" y="478236"/>
                  </a:lnTo>
                  <a:lnTo>
                    <a:pt x="828969" y="239846"/>
                  </a:lnTo>
                  <a:lnTo>
                    <a:pt x="413160" y="0"/>
                  </a:lnTo>
                  <a:close/>
                </a:path>
              </a:pathLst>
            </a:custGeom>
            <a:solidFill>
              <a:srgbClr val="BCBEC0"/>
            </a:solidFill>
          </p:spPr>
          <p:txBody>
            <a:bodyPr wrap="square" lIns="0" tIns="0" rIns="0" bIns="0" rtlCol="0"/>
            <a:lstStyle/>
            <a:p>
              <a:endParaRPr sz="1092" dirty="0"/>
            </a:p>
          </p:txBody>
        </p:sp>
        <p:sp>
          <p:nvSpPr>
            <p:cNvPr id="32" name="object 32"/>
            <p:cNvSpPr/>
            <p:nvPr/>
          </p:nvSpPr>
          <p:spPr>
            <a:xfrm>
              <a:off x="7568916" y="3716841"/>
              <a:ext cx="502894" cy="290339"/>
            </a:xfrm>
            <a:custGeom>
              <a:avLst/>
              <a:gdLst/>
              <a:ahLst/>
              <a:cxnLst/>
              <a:rect l="l" t="t" r="r" b="b"/>
              <a:pathLst>
                <a:path w="829309" h="478790">
                  <a:moveTo>
                    <a:pt x="412929" y="0"/>
                  </a:moveTo>
                  <a:lnTo>
                    <a:pt x="0" y="238631"/>
                  </a:lnTo>
                  <a:lnTo>
                    <a:pt x="415568" y="478488"/>
                  </a:lnTo>
                  <a:lnTo>
                    <a:pt x="828749" y="240097"/>
                  </a:lnTo>
                  <a:lnTo>
                    <a:pt x="412929" y="0"/>
                  </a:lnTo>
                  <a:close/>
                </a:path>
              </a:pathLst>
            </a:custGeom>
            <a:solidFill>
              <a:srgbClr val="BCBEC0"/>
            </a:solidFill>
          </p:spPr>
          <p:txBody>
            <a:bodyPr wrap="square" lIns="0" tIns="0" rIns="0" bIns="0" rtlCol="0"/>
            <a:lstStyle/>
            <a:p>
              <a:endParaRPr sz="1092" dirty="0"/>
            </a:p>
          </p:txBody>
        </p:sp>
        <p:sp>
          <p:nvSpPr>
            <p:cNvPr id="33" name="object 33"/>
            <p:cNvSpPr/>
            <p:nvPr/>
          </p:nvSpPr>
          <p:spPr>
            <a:xfrm>
              <a:off x="7820917" y="3862435"/>
              <a:ext cx="509055" cy="293804"/>
            </a:xfrm>
            <a:custGeom>
              <a:avLst/>
              <a:gdLst/>
              <a:ahLst/>
              <a:cxnLst/>
              <a:rect l="l" t="t" r="r" b="b"/>
              <a:pathLst>
                <a:path w="839469" h="484504">
                  <a:moveTo>
                    <a:pt x="413181" y="0"/>
                  </a:moveTo>
                  <a:lnTo>
                    <a:pt x="0" y="238390"/>
                  </a:lnTo>
                  <a:lnTo>
                    <a:pt x="426196" y="484508"/>
                  </a:lnTo>
                  <a:lnTo>
                    <a:pt x="839346" y="246118"/>
                  </a:lnTo>
                  <a:lnTo>
                    <a:pt x="413181" y="0"/>
                  </a:lnTo>
                  <a:close/>
                </a:path>
              </a:pathLst>
            </a:custGeom>
            <a:solidFill>
              <a:srgbClr val="BCBEC0"/>
            </a:solidFill>
          </p:spPr>
          <p:txBody>
            <a:bodyPr wrap="square" lIns="0" tIns="0" rIns="0" bIns="0" rtlCol="0"/>
            <a:lstStyle/>
            <a:p>
              <a:endParaRPr sz="1092" dirty="0"/>
            </a:p>
          </p:txBody>
        </p:sp>
        <p:sp>
          <p:nvSpPr>
            <p:cNvPr id="34" name="object 34"/>
            <p:cNvSpPr/>
            <p:nvPr/>
          </p:nvSpPr>
          <p:spPr>
            <a:xfrm>
              <a:off x="8331355" y="4157112"/>
              <a:ext cx="509055" cy="294189"/>
            </a:xfrm>
            <a:custGeom>
              <a:avLst/>
              <a:gdLst/>
              <a:ahLst/>
              <a:cxnLst/>
              <a:rect l="l" t="t" r="r" b="b"/>
              <a:pathLst>
                <a:path w="839469" h="485140">
                  <a:moveTo>
                    <a:pt x="413181" y="0"/>
                  </a:moveTo>
                  <a:lnTo>
                    <a:pt x="0" y="238652"/>
                  </a:lnTo>
                  <a:lnTo>
                    <a:pt x="426196" y="484760"/>
                  </a:lnTo>
                  <a:lnTo>
                    <a:pt x="839346" y="246369"/>
                  </a:lnTo>
                  <a:lnTo>
                    <a:pt x="413181" y="0"/>
                  </a:lnTo>
                  <a:close/>
                </a:path>
              </a:pathLst>
            </a:custGeom>
            <a:solidFill>
              <a:srgbClr val="BCBEC0"/>
            </a:solidFill>
          </p:spPr>
          <p:txBody>
            <a:bodyPr wrap="square" lIns="0" tIns="0" rIns="0" bIns="0" rtlCol="0"/>
            <a:lstStyle/>
            <a:p>
              <a:endParaRPr sz="1092" dirty="0"/>
            </a:p>
          </p:txBody>
        </p:sp>
        <p:sp>
          <p:nvSpPr>
            <p:cNvPr id="35" name="object 35"/>
            <p:cNvSpPr/>
            <p:nvPr/>
          </p:nvSpPr>
          <p:spPr>
            <a:xfrm>
              <a:off x="7310484" y="3567745"/>
              <a:ext cx="509055" cy="293804"/>
            </a:xfrm>
            <a:custGeom>
              <a:avLst/>
              <a:gdLst/>
              <a:ahLst/>
              <a:cxnLst/>
              <a:rect l="l" t="t" r="r" b="b"/>
              <a:pathLst>
                <a:path w="839470" h="484504">
                  <a:moveTo>
                    <a:pt x="413160" y="0"/>
                  </a:moveTo>
                  <a:lnTo>
                    <a:pt x="0" y="238641"/>
                  </a:lnTo>
                  <a:lnTo>
                    <a:pt x="426175" y="484508"/>
                  </a:lnTo>
                  <a:lnTo>
                    <a:pt x="839105" y="245866"/>
                  </a:lnTo>
                  <a:lnTo>
                    <a:pt x="413160" y="0"/>
                  </a:lnTo>
                  <a:close/>
                </a:path>
              </a:pathLst>
            </a:custGeom>
            <a:solidFill>
              <a:srgbClr val="BCBEC0"/>
            </a:solidFill>
          </p:spPr>
          <p:txBody>
            <a:bodyPr wrap="square" lIns="0" tIns="0" rIns="0" bIns="0" rtlCol="0"/>
            <a:lstStyle/>
            <a:p>
              <a:endParaRPr sz="1092" dirty="0"/>
            </a:p>
          </p:txBody>
        </p:sp>
        <p:sp>
          <p:nvSpPr>
            <p:cNvPr id="36" name="object 36"/>
            <p:cNvSpPr/>
            <p:nvPr/>
          </p:nvSpPr>
          <p:spPr>
            <a:xfrm>
              <a:off x="6541458" y="3123814"/>
              <a:ext cx="509055" cy="294189"/>
            </a:xfrm>
            <a:custGeom>
              <a:avLst/>
              <a:gdLst/>
              <a:ahLst/>
              <a:cxnLst/>
              <a:rect l="l" t="t" r="r" b="b"/>
              <a:pathLst>
                <a:path w="839470" h="485139">
                  <a:moveTo>
                    <a:pt x="413170" y="0"/>
                  </a:moveTo>
                  <a:lnTo>
                    <a:pt x="0" y="238401"/>
                  </a:lnTo>
                  <a:lnTo>
                    <a:pt x="426185" y="484519"/>
                  </a:lnTo>
                  <a:lnTo>
                    <a:pt x="839346" y="246118"/>
                  </a:lnTo>
                  <a:lnTo>
                    <a:pt x="413170" y="0"/>
                  </a:lnTo>
                  <a:close/>
                </a:path>
              </a:pathLst>
            </a:custGeom>
            <a:solidFill>
              <a:srgbClr val="4D4D4D"/>
            </a:solidFill>
          </p:spPr>
          <p:txBody>
            <a:bodyPr wrap="square" lIns="0" tIns="0" rIns="0" bIns="0" rtlCol="0"/>
            <a:lstStyle/>
            <a:p>
              <a:endParaRPr sz="1092" dirty="0"/>
            </a:p>
          </p:txBody>
        </p:sp>
        <p:sp>
          <p:nvSpPr>
            <p:cNvPr id="37" name="object 37"/>
            <p:cNvSpPr/>
            <p:nvPr/>
          </p:nvSpPr>
          <p:spPr>
            <a:xfrm>
              <a:off x="6799896" y="3273060"/>
              <a:ext cx="509055" cy="293804"/>
            </a:xfrm>
            <a:custGeom>
              <a:avLst/>
              <a:gdLst/>
              <a:ahLst/>
              <a:cxnLst/>
              <a:rect l="l" t="t" r="r" b="b"/>
              <a:pathLst>
                <a:path w="839470" h="484504">
                  <a:moveTo>
                    <a:pt x="413170" y="0"/>
                  </a:moveTo>
                  <a:lnTo>
                    <a:pt x="0" y="238401"/>
                  </a:lnTo>
                  <a:lnTo>
                    <a:pt x="426185" y="484267"/>
                  </a:lnTo>
                  <a:lnTo>
                    <a:pt x="839335" y="245877"/>
                  </a:lnTo>
                  <a:lnTo>
                    <a:pt x="413170" y="0"/>
                  </a:lnTo>
                  <a:close/>
                </a:path>
              </a:pathLst>
            </a:custGeom>
            <a:solidFill>
              <a:srgbClr val="4D4D4D"/>
            </a:solidFill>
          </p:spPr>
          <p:txBody>
            <a:bodyPr wrap="square" lIns="0" tIns="0" rIns="0" bIns="0" rtlCol="0"/>
            <a:lstStyle/>
            <a:p>
              <a:endParaRPr sz="1092" dirty="0"/>
            </a:p>
          </p:txBody>
        </p:sp>
        <p:sp>
          <p:nvSpPr>
            <p:cNvPr id="38" name="object 38"/>
            <p:cNvSpPr/>
            <p:nvPr/>
          </p:nvSpPr>
          <p:spPr>
            <a:xfrm>
              <a:off x="7058339" y="3422157"/>
              <a:ext cx="502894" cy="290339"/>
            </a:xfrm>
            <a:custGeom>
              <a:avLst/>
              <a:gdLst/>
              <a:ahLst/>
              <a:cxnLst/>
              <a:rect l="l" t="t" r="r" b="b"/>
              <a:pathLst>
                <a:path w="829309" h="478789">
                  <a:moveTo>
                    <a:pt x="413149" y="0"/>
                  </a:moveTo>
                  <a:lnTo>
                    <a:pt x="0" y="238390"/>
                  </a:lnTo>
                  <a:lnTo>
                    <a:pt x="415809" y="478728"/>
                  </a:lnTo>
                  <a:lnTo>
                    <a:pt x="828959" y="240086"/>
                  </a:lnTo>
                  <a:lnTo>
                    <a:pt x="413149" y="0"/>
                  </a:lnTo>
                  <a:close/>
                </a:path>
              </a:pathLst>
            </a:custGeom>
            <a:solidFill>
              <a:srgbClr val="DCDDDE"/>
            </a:solidFill>
          </p:spPr>
          <p:txBody>
            <a:bodyPr wrap="square" lIns="0" tIns="0" rIns="0" bIns="0" rtlCol="0"/>
            <a:lstStyle/>
            <a:p>
              <a:endParaRPr sz="1092" dirty="0"/>
            </a:p>
          </p:txBody>
        </p:sp>
        <p:sp>
          <p:nvSpPr>
            <p:cNvPr id="39" name="object 39"/>
            <p:cNvSpPr/>
            <p:nvPr/>
          </p:nvSpPr>
          <p:spPr>
            <a:xfrm>
              <a:off x="8079360" y="4011679"/>
              <a:ext cx="502894" cy="290339"/>
            </a:xfrm>
            <a:custGeom>
              <a:avLst/>
              <a:gdLst/>
              <a:ahLst/>
              <a:cxnLst/>
              <a:rect l="l" t="t" r="r" b="b"/>
              <a:pathLst>
                <a:path w="829309" h="478790">
                  <a:moveTo>
                    <a:pt x="413160" y="0"/>
                  </a:moveTo>
                  <a:lnTo>
                    <a:pt x="0" y="238390"/>
                  </a:lnTo>
                  <a:lnTo>
                    <a:pt x="415558" y="478477"/>
                  </a:lnTo>
                  <a:lnTo>
                    <a:pt x="828739" y="239825"/>
                  </a:lnTo>
                  <a:lnTo>
                    <a:pt x="413160" y="0"/>
                  </a:lnTo>
                  <a:close/>
                </a:path>
              </a:pathLst>
            </a:custGeom>
            <a:solidFill>
              <a:srgbClr val="BCBEC0"/>
            </a:solidFill>
          </p:spPr>
          <p:txBody>
            <a:bodyPr wrap="square" lIns="0" tIns="0" rIns="0" bIns="0" rtlCol="0"/>
            <a:lstStyle/>
            <a:p>
              <a:endParaRPr sz="1092" dirty="0"/>
            </a:p>
          </p:txBody>
        </p:sp>
        <p:sp>
          <p:nvSpPr>
            <p:cNvPr id="40" name="object 40"/>
            <p:cNvSpPr/>
            <p:nvPr/>
          </p:nvSpPr>
          <p:spPr>
            <a:xfrm>
              <a:off x="9609217" y="4605728"/>
              <a:ext cx="502894" cy="290339"/>
            </a:xfrm>
            <a:custGeom>
              <a:avLst/>
              <a:gdLst/>
              <a:ahLst/>
              <a:cxnLst/>
              <a:rect l="l" t="t" r="r" b="b"/>
              <a:pathLst>
                <a:path w="829309" h="478790">
                  <a:moveTo>
                    <a:pt x="413160" y="0"/>
                  </a:moveTo>
                  <a:lnTo>
                    <a:pt x="0" y="238390"/>
                  </a:lnTo>
                  <a:lnTo>
                    <a:pt x="415819" y="478467"/>
                  </a:lnTo>
                  <a:lnTo>
                    <a:pt x="828969" y="239846"/>
                  </a:lnTo>
                  <a:lnTo>
                    <a:pt x="413160" y="0"/>
                  </a:lnTo>
                  <a:close/>
                </a:path>
              </a:pathLst>
            </a:custGeom>
            <a:solidFill>
              <a:srgbClr val="DCDDDE"/>
            </a:solidFill>
          </p:spPr>
          <p:txBody>
            <a:bodyPr wrap="square" lIns="0" tIns="0" rIns="0" bIns="0" rtlCol="0"/>
            <a:lstStyle/>
            <a:p>
              <a:endParaRPr sz="1092" dirty="0"/>
            </a:p>
          </p:txBody>
        </p:sp>
        <p:sp>
          <p:nvSpPr>
            <p:cNvPr id="41" name="object 41"/>
            <p:cNvSpPr/>
            <p:nvPr/>
          </p:nvSpPr>
          <p:spPr>
            <a:xfrm>
              <a:off x="9350774" y="4456480"/>
              <a:ext cx="509055" cy="293804"/>
            </a:xfrm>
            <a:custGeom>
              <a:avLst/>
              <a:gdLst/>
              <a:ahLst/>
              <a:cxnLst/>
              <a:rect l="l" t="t" r="r" b="b"/>
              <a:pathLst>
                <a:path w="839469" h="484504">
                  <a:moveTo>
                    <a:pt x="413181" y="0"/>
                  </a:moveTo>
                  <a:lnTo>
                    <a:pt x="0" y="238401"/>
                  </a:lnTo>
                  <a:lnTo>
                    <a:pt x="426196" y="484508"/>
                  </a:lnTo>
                  <a:lnTo>
                    <a:pt x="839356" y="246118"/>
                  </a:lnTo>
                  <a:lnTo>
                    <a:pt x="413181" y="0"/>
                  </a:lnTo>
                  <a:close/>
                </a:path>
              </a:pathLst>
            </a:custGeom>
            <a:solidFill>
              <a:srgbClr val="DCDDDE"/>
            </a:solidFill>
          </p:spPr>
          <p:txBody>
            <a:bodyPr wrap="square" lIns="0" tIns="0" rIns="0" bIns="0" rtlCol="0"/>
            <a:lstStyle/>
            <a:p>
              <a:endParaRPr sz="1092" dirty="0"/>
            </a:p>
          </p:txBody>
        </p:sp>
        <p:sp>
          <p:nvSpPr>
            <p:cNvPr id="42" name="object 42"/>
            <p:cNvSpPr/>
            <p:nvPr/>
          </p:nvSpPr>
          <p:spPr>
            <a:xfrm>
              <a:off x="8581905" y="4012554"/>
              <a:ext cx="509055" cy="294189"/>
            </a:xfrm>
            <a:custGeom>
              <a:avLst/>
              <a:gdLst/>
              <a:ahLst/>
              <a:cxnLst/>
              <a:rect l="l" t="t" r="r" b="b"/>
              <a:pathLst>
                <a:path w="839469" h="485140">
                  <a:moveTo>
                    <a:pt x="413160" y="0"/>
                  </a:moveTo>
                  <a:lnTo>
                    <a:pt x="0" y="238390"/>
                  </a:lnTo>
                  <a:lnTo>
                    <a:pt x="426175" y="484760"/>
                  </a:lnTo>
                  <a:lnTo>
                    <a:pt x="839356" y="245877"/>
                  </a:lnTo>
                  <a:lnTo>
                    <a:pt x="413160" y="0"/>
                  </a:lnTo>
                  <a:close/>
                </a:path>
              </a:pathLst>
            </a:custGeom>
            <a:solidFill>
              <a:srgbClr val="DCDDDE"/>
            </a:solidFill>
          </p:spPr>
          <p:txBody>
            <a:bodyPr wrap="square" lIns="0" tIns="0" rIns="0" bIns="0" rtlCol="0"/>
            <a:lstStyle/>
            <a:p>
              <a:endParaRPr sz="1092" dirty="0"/>
            </a:p>
          </p:txBody>
        </p:sp>
        <p:sp>
          <p:nvSpPr>
            <p:cNvPr id="43" name="object 43"/>
            <p:cNvSpPr/>
            <p:nvPr/>
          </p:nvSpPr>
          <p:spPr>
            <a:xfrm>
              <a:off x="8840340" y="4161649"/>
              <a:ext cx="502894" cy="290339"/>
            </a:xfrm>
            <a:custGeom>
              <a:avLst/>
              <a:gdLst/>
              <a:ahLst/>
              <a:cxnLst/>
              <a:rect l="l" t="t" r="r" b="b"/>
              <a:pathLst>
                <a:path w="829309" h="478790">
                  <a:moveTo>
                    <a:pt x="413170" y="0"/>
                  </a:moveTo>
                  <a:lnTo>
                    <a:pt x="0" y="238893"/>
                  </a:lnTo>
                  <a:lnTo>
                    <a:pt x="415809" y="478739"/>
                  </a:lnTo>
                  <a:lnTo>
                    <a:pt x="828990" y="240327"/>
                  </a:lnTo>
                  <a:lnTo>
                    <a:pt x="413170" y="0"/>
                  </a:lnTo>
                  <a:close/>
                </a:path>
              </a:pathLst>
            </a:custGeom>
            <a:solidFill>
              <a:srgbClr val="DCDDDE"/>
            </a:solidFill>
          </p:spPr>
          <p:txBody>
            <a:bodyPr wrap="square" lIns="0" tIns="0" rIns="0" bIns="0" rtlCol="0"/>
            <a:lstStyle/>
            <a:p>
              <a:endParaRPr sz="1092" dirty="0"/>
            </a:p>
          </p:txBody>
        </p:sp>
        <p:sp>
          <p:nvSpPr>
            <p:cNvPr id="44" name="object 44"/>
            <p:cNvSpPr/>
            <p:nvPr/>
          </p:nvSpPr>
          <p:spPr>
            <a:xfrm>
              <a:off x="9092488" y="4307384"/>
              <a:ext cx="509055" cy="293804"/>
            </a:xfrm>
            <a:custGeom>
              <a:avLst/>
              <a:gdLst/>
              <a:ahLst/>
              <a:cxnLst/>
              <a:rect l="l" t="t" r="r" b="b"/>
              <a:pathLst>
                <a:path w="839469" h="484504">
                  <a:moveTo>
                    <a:pt x="413181" y="0"/>
                  </a:moveTo>
                  <a:lnTo>
                    <a:pt x="0" y="238411"/>
                  </a:lnTo>
                  <a:lnTo>
                    <a:pt x="425934" y="484267"/>
                  </a:lnTo>
                  <a:lnTo>
                    <a:pt x="839115" y="245877"/>
                  </a:lnTo>
                  <a:lnTo>
                    <a:pt x="413181" y="0"/>
                  </a:lnTo>
                  <a:close/>
                </a:path>
              </a:pathLst>
            </a:custGeom>
            <a:solidFill>
              <a:srgbClr val="DCDDDE"/>
            </a:solidFill>
          </p:spPr>
          <p:txBody>
            <a:bodyPr wrap="square" lIns="0" tIns="0" rIns="0" bIns="0" rtlCol="0"/>
            <a:lstStyle/>
            <a:p>
              <a:endParaRPr sz="1092" dirty="0"/>
            </a:p>
          </p:txBody>
        </p:sp>
        <p:sp>
          <p:nvSpPr>
            <p:cNvPr id="45" name="object 45"/>
            <p:cNvSpPr/>
            <p:nvPr/>
          </p:nvSpPr>
          <p:spPr>
            <a:xfrm>
              <a:off x="8329899" y="3866963"/>
              <a:ext cx="502894" cy="290339"/>
            </a:xfrm>
            <a:custGeom>
              <a:avLst/>
              <a:gdLst/>
              <a:ahLst/>
              <a:cxnLst/>
              <a:rect l="l" t="t" r="r" b="b"/>
              <a:pathLst>
                <a:path w="829309" h="478790">
                  <a:moveTo>
                    <a:pt x="413160" y="0"/>
                  </a:moveTo>
                  <a:lnTo>
                    <a:pt x="0" y="238652"/>
                  </a:lnTo>
                  <a:lnTo>
                    <a:pt x="415578" y="478477"/>
                  </a:lnTo>
                  <a:lnTo>
                    <a:pt x="828739" y="240086"/>
                  </a:lnTo>
                  <a:lnTo>
                    <a:pt x="413160" y="0"/>
                  </a:lnTo>
                  <a:close/>
                </a:path>
              </a:pathLst>
            </a:custGeom>
            <a:solidFill>
              <a:srgbClr val="DCDDDE"/>
            </a:solidFill>
          </p:spPr>
          <p:txBody>
            <a:bodyPr wrap="square" lIns="0" tIns="0" rIns="0" bIns="0" rtlCol="0"/>
            <a:lstStyle/>
            <a:p>
              <a:endParaRPr sz="1092" dirty="0"/>
            </a:p>
          </p:txBody>
        </p:sp>
        <p:sp>
          <p:nvSpPr>
            <p:cNvPr id="46" name="object 46"/>
            <p:cNvSpPr/>
            <p:nvPr/>
          </p:nvSpPr>
          <p:spPr>
            <a:xfrm>
              <a:off x="6792002" y="2979105"/>
              <a:ext cx="509055" cy="294189"/>
            </a:xfrm>
            <a:custGeom>
              <a:avLst/>
              <a:gdLst/>
              <a:ahLst/>
              <a:cxnLst/>
              <a:rect l="l" t="t" r="r" b="b"/>
              <a:pathLst>
                <a:path w="839470" h="485139">
                  <a:moveTo>
                    <a:pt x="413170" y="0"/>
                  </a:moveTo>
                  <a:lnTo>
                    <a:pt x="0" y="238641"/>
                  </a:lnTo>
                  <a:lnTo>
                    <a:pt x="426185" y="484749"/>
                  </a:lnTo>
                  <a:lnTo>
                    <a:pt x="839346" y="246107"/>
                  </a:lnTo>
                  <a:lnTo>
                    <a:pt x="413170" y="0"/>
                  </a:lnTo>
                  <a:close/>
                </a:path>
              </a:pathLst>
            </a:custGeom>
            <a:solidFill>
              <a:srgbClr val="4D4D4D"/>
            </a:solidFill>
          </p:spPr>
          <p:txBody>
            <a:bodyPr wrap="square" lIns="0" tIns="0" rIns="0" bIns="0" rtlCol="0"/>
            <a:lstStyle/>
            <a:p>
              <a:endParaRPr sz="1092" dirty="0"/>
            </a:p>
          </p:txBody>
        </p:sp>
        <p:sp>
          <p:nvSpPr>
            <p:cNvPr id="47" name="object 47"/>
            <p:cNvSpPr/>
            <p:nvPr/>
          </p:nvSpPr>
          <p:spPr>
            <a:xfrm>
              <a:off x="7308875" y="3277592"/>
              <a:ext cx="502894" cy="290339"/>
            </a:xfrm>
            <a:custGeom>
              <a:avLst/>
              <a:gdLst/>
              <a:ahLst/>
              <a:cxnLst/>
              <a:rect l="l" t="t" r="r" b="b"/>
              <a:pathLst>
                <a:path w="829309" h="478789">
                  <a:moveTo>
                    <a:pt x="413160" y="0"/>
                  </a:moveTo>
                  <a:lnTo>
                    <a:pt x="0" y="238401"/>
                  </a:lnTo>
                  <a:lnTo>
                    <a:pt x="415809" y="478488"/>
                  </a:lnTo>
                  <a:lnTo>
                    <a:pt x="828739" y="239835"/>
                  </a:lnTo>
                  <a:lnTo>
                    <a:pt x="413160" y="0"/>
                  </a:lnTo>
                  <a:close/>
                </a:path>
              </a:pathLst>
            </a:custGeom>
            <a:solidFill>
              <a:srgbClr val="DCDDDE"/>
            </a:solidFill>
          </p:spPr>
          <p:txBody>
            <a:bodyPr wrap="square" lIns="0" tIns="0" rIns="0" bIns="0" rtlCol="0"/>
            <a:lstStyle/>
            <a:p>
              <a:endParaRPr sz="1092" dirty="0"/>
            </a:p>
          </p:txBody>
        </p:sp>
        <p:sp>
          <p:nvSpPr>
            <p:cNvPr id="48" name="object 48"/>
            <p:cNvSpPr/>
            <p:nvPr/>
          </p:nvSpPr>
          <p:spPr>
            <a:xfrm>
              <a:off x="7561024" y="3423027"/>
              <a:ext cx="509055" cy="294189"/>
            </a:xfrm>
            <a:custGeom>
              <a:avLst/>
              <a:gdLst/>
              <a:ahLst/>
              <a:cxnLst/>
              <a:rect l="l" t="t" r="r" b="b"/>
              <a:pathLst>
                <a:path w="839469" h="485139">
                  <a:moveTo>
                    <a:pt x="412929" y="0"/>
                  </a:moveTo>
                  <a:lnTo>
                    <a:pt x="0" y="238652"/>
                  </a:lnTo>
                  <a:lnTo>
                    <a:pt x="425945" y="484519"/>
                  </a:lnTo>
                  <a:lnTo>
                    <a:pt x="839105" y="246118"/>
                  </a:lnTo>
                  <a:lnTo>
                    <a:pt x="412929" y="0"/>
                  </a:lnTo>
                  <a:close/>
                </a:path>
              </a:pathLst>
            </a:custGeom>
            <a:solidFill>
              <a:srgbClr val="DCDDDE"/>
            </a:solidFill>
          </p:spPr>
          <p:txBody>
            <a:bodyPr wrap="square" lIns="0" tIns="0" rIns="0" bIns="0" rtlCol="0"/>
            <a:lstStyle/>
            <a:p>
              <a:endParaRPr sz="1092" dirty="0"/>
            </a:p>
          </p:txBody>
        </p:sp>
        <p:sp>
          <p:nvSpPr>
            <p:cNvPr id="49" name="object 49"/>
            <p:cNvSpPr/>
            <p:nvPr/>
          </p:nvSpPr>
          <p:spPr>
            <a:xfrm>
              <a:off x="7050439" y="3128345"/>
              <a:ext cx="509055" cy="294189"/>
            </a:xfrm>
            <a:custGeom>
              <a:avLst/>
              <a:gdLst/>
              <a:ahLst/>
              <a:cxnLst/>
              <a:rect l="l" t="t" r="r" b="b"/>
              <a:pathLst>
                <a:path w="839470" h="485139">
                  <a:moveTo>
                    <a:pt x="413160" y="0"/>
                  </a:moveTo>
                  <a:lnTo>
                    <a:pt x="0" y="238641"/>
                  </a:lnTo>
                  <a:lnTo>
                    <a:pt x="426175" y="484519"/>
                  </a:lnTo>
                  <a:lnTo>
                    <a:pt x="839346" y="246118"/>
                  </a:lnTo>
                  <a:lnTo>
                    <a:pt x="413160" y="0"/>
                  </a:lnTo>
                  <a:close/>
                </a:path>
              </a:pathLst>
            </a:custGeom>
            <a:solidFill>
              <a:srgbClr val="4D4D4D"/>
            </a:solidFill>
          </p:spPr>
          <p:txBody>
            <a:bodyPr wrap="square" lIns="0" tIns="0" rIns="0" bIns="0" rtlCol="0"/>
            <a:lstStyle/>
            <a:p>
              <a:endParaRPr sz="1092" dirty="0"/>
            </a:p>
          </p:txBody>
        </p:sp>
        <p:sp>
          <p:nvSpPr>
            <p:cNvPr id="50" name="object 50"/>
            <p:cNvSpPr/>
            <p:nvPr/>
          </p:nvSpPr>
          <p:spPr>
            <a:xfrm>
              <a:off x="7819321" y="3572275"/>
              <a:ext cx="502894" cy="290339"/>
            </a:xfrm>
            <a:custGeom>
              <a:avLst/>
              <a:gdLst/>
              <a:ahLst/>
              <a:cxnLst/>
              <a:rect l="l" t="t" r="r" b="b"/>
              <a:pathLst>
                <a:path w="829309" h="478789">
                  <a:moveTo>
                    <a:pt x="413149" y="0"/>
                  </a:moveTo>
                  <a:lnTo>
                    <a:pt x="0" y="238401"/>
                  </a:lnTo>
                  <a:lnTo>
                    <a:pt x="415809" y="478498"/>
                  </a:lnTo>
                  <a:lnTo>
                    <a:pt x="828969" y="240097"/>
                  </a:lnTo>
                  <a:lnTo>
                    <a:pt x="413149" y="0"/>
                  </a:lnTo>
                  <a:close/>
                </a:path>
              </a:pathLst>
            </a:custGeom>
            <a:solidFill>
              <a:srgbClr val="DCDDDE"/>
            </a:solidFill>
          </p:spPr>
          <p:txBody>
            <a:bodyPr wrap="square" lIns="0" tIns="0" rIns="0" bIns="0" rtlCol="0"/>
            <a:lstStyle/>
            <a:p>
              <a:endParaRPr sz="1092" dirty="0"/>
            </a:p>
          </p:txBody>
        </p:sp>
        <p:sp>
          <p:nvSpPr>
            <p:cNvPr id="51" name="object 51"/>
            <p:cNvSpPr/>
            <p:nvPr/>
          </p:nvSpPr>
          <p:spPr>
            <a:xfrm>
              <a:off x="8071466" y="3717867"/>
              <a:ext cx="509055" cy="294189"/>
            </a:xfrm>
            <a:custGeom>
              <a:avLst/>
              <a:gdLst/>
              <a:ahLst/>
              <a:cxnLst/>
              <a:rect l="l" t="t" r="r" b="b"/>
              <a:pathLst>
                <a:path w="839469" h="485140">
                  <a:moveTo>
                    <a:pt x="413160" y="0"/>
                  </a:moveTo>
                  <a:lnTo>
                    <a:pt x="0" y="238411"/>
                  </a:lnTo>
                  <a:lnTo>
                    <a:pt x="426175" y="484519"/>
                  </a:lnTo>
                  <a:lnTo>
                    <a:pt x="839335" y="245866"/>
                  </a:lnTo>
                  <a:lnTo>
                    <a:pt x="413160" y="0"/>
                  </a:lnTo>
                  <a:close/>
                </a:path>
              </a:pathLst>
            </a:custGeom>
            <a:solidFill>
              <a:srgbClr val="DCDDDE"/>
            </a:solidFill>
          </p:spPr>
          <p:txBody>
            <a:bodyPr wrap="square" lIns="0" tIns="0" rIns="0" bIns="0" rtlCol="0"/>
            <a:lstStyle/>
            <a:p>
              <a:endParaRPr sz="1092" dirty="0"/>
            </a:p>
          </p:txBody>
        </p:sp>
        <p:sp>
          <p:nvSpPr>
            <p:cNvPr id="52" name="object 52"/>
            <p:cNvSpPr/>
            <p:nvPr/>
          </p:nvSpPr>
          <p:spPr>
            <a:xfrm>
              <a:off x="7055269" y="4013434"/>
              <a:ext cx="502894" cy="290339"/>
            </a:xfrm>
            <a:custGeom>
              <a:avLst/>
              <a:gdLst/>
              <a:ahLst/>
              <a:cxnLst/>
              <a:rect l="l" t="t" r="r" b="b"/>
              <a:pathLst>
                <a:path w="829309" h="478790">
                  <a:moveTo>
                    <a:pt x="413149" y="0"/>
                  </a:moveTo>
                  <a:lnTo>
                    <a:pt x="0" y="238390"/>
                  </a:lnTo>
                  <a:lnTo>
                    <a:pt x="415809" y="478477"/>
                  </a:lnTo>
                  <a:lnTo>
                    <a:pt x="828969" y="239825"/>
                  </a:lnTo>
                  <a:lnTo>
                    <a:pt x="413149" y="0"/>
                  </a:lnTo>
                  <a:close/>
                </a:path>
              </a:pathLst>
            </a:custGeom>
            <a:solidFill>
              <a:srgbClr val="BCBEC0"/>
            </a:solidFill>
          </p:spPr>
          <p:txBody>
            <a:bodyPr wrap="square" lIns="0" tIns="0" rIns="0" bIns="0" rtlCol="0"/>
            <a:lstStyle/>
            <a:p>
              <a:endParaRPr sz="1092" dirty="0"/>
            </a:p>
          </p:txBody>
        </p:sp>
        <p:sp>
          <p:nvSpPr>
            <p:cNvPr id="53" name="object 53"/>
            <p:cNvSpPr/>
            <p:nvPr/>
          </p:nvSpPr>
          <p:spPr>
            <a:xfrm>
              <a:off x="7565708" y="4308268"/>
              <a:ext cx="502894" cy="290339"/>
            </a:xfrm>
            <a:custGeom>
              <a:avLst/>
              <a:gdLst/>
              <a:ahLst/>
              <a:cxnLst/>
              <a:rect l="l" t="t" r="r" b="b"/>
              <a:pathLst>
                <a:path w="829309" h="478790">
                  <a:moveTo>
                    <a:pt x="413160" y="0"/>
                  </a:moveTo>
                  <a:lnTo>
                    <a:pt x="0" y="238390"/>
                  </a:lnTo>
                  <a:lnTo>
                    <a:pt x="415798" y="478477"/>
                  </a:lnTo>
                  <a:lnTo>
                    <a:pt x="828718" y="239825"/>
                  </a:lnTo>
                  <a:lnTo>
                    <a:pt x="413160" y="0"/>
                  </a:lnTo>
                  <a:close/>
                </a:path>
              </a:pathLst>
            </a:custGeom>
            <a:solidFill>
              <a:srgbClr val="BCBEC0"/>
            </a:solidFill>
          </p:spPr>
          <p:txBody>
            <a:bodyPr wrap="square" lIns="0" tIns="0" rIns="0" bIns="0" rtlCol="0"/>
            <a:lstStyle/>
            <a:p>
              <a:endParaRPr sz="1092" dirty="0"/>
            </a:p>
          </p:txBody>
        </p:sp>
        <p:sp>
          <p:nvSpPr>
            <p:cNvPr id="54" name="object 54"/>
            <p:cNvSpPr/>
            <p:nvPr/>
          </p:nvSpPr>
          <p:spPr>
            <a:xfrm>
              <a:off x="6796827" y="3864190"/>
              <a:ext cx="509055" cy="293804"/>
            </a:xfrm>
            <a:custGeom>
              <a:avLst/>
              <a:gdLst/>
              <a:ahLst/>
              <a:cxnLst/>
              <a:rect l="l" t="t" r="r" b="b"/>
              <a:pathLst>
                <a:path w="839470" h="484504">
                  <a:moveTo>
                    <a:pt x="413170" y="0"/>
                  </a:moveTo>
                  <a:lnTo>
                    <a:pt x="0" y="238631"/>
                  </a:lnTo>
                  <a:lnTo>
                    <a:pt x="426185" y="484508"/>
                  </a:lnTo>
                  <a:lnTo>
                    <a:pt x="839346" y="246118"/>
                  </a:lnTo>
                  <a:lnTo>
                    <a:pt x="413170" y="0"/>
                  </a:lnTo>
                  <a:close/>
                </a:path>
              </a:pathLst>
            </a:custGeom>
            <a:solidFill>
              <a:srgbClr val="BCBEC0"/>
            </a:solidFill>
          </p:spPr>
          <p:txBody>
            <a:bodyPr wrap="square" lIns="0" tIns="0" rIns="0" bIns="0" rtlCol="0"/>
            <a:lstStyle/>
            <a:p>
              <a:endParaRPr sz="1092" dirty="0"/>
            </a:p>
          </p:txBody>
        </p:sp>
        <p:sp>
          <p:nvSpPr>
            <p:cNvPr id="55" name="object 55"/>
            <p:cNvSpPr/>
            <p:nvPr/>
          </p:nvSpPr>
          <p:spPr>
            <a:xfrm>
              <a:off x="7307419" y="4158869"/>
              <a:ext cx="509055" cy="294189"/>
            </a:xfrm>
            <a:custGeom>
              <a:avLst/>
              <a:gdLst/>
              <a:ahLst/>
              <a:cxnLst/>
              <a:rect l="l" t="t" r="r" b="b"/>
              <a:pathLst>
                <a:path w="839470" h="485140">
                  <a:moveTo>
                    <a:pt x="413149" y="0"/>
                  </a:moveTo>
                  <a:lnTo>
                    <a:pt x="0" y="238641"/>
                  </a:lnTo>
                  <a:lnTo>
                    <a:pt x="425934" y="484760"/>
                  </a:lnTo>
                  <a:lnTo>
                    <a:pt x="839094" y="246369"/>
                  </a:lnTo>
                  <a:lnTo>
                    <a:pt x="413149" y="0"/>
                  </a:lnTo>
                  <a:close/>
                </a:path>
              </a:pathLst>
            </a:custGeom>
            <a:solidFill>
              <a:srgbClr val="BCBEC0"/>
            </a:solidFill>
          </p:spPr>
          <p:txBody>
            <a:bodyPr wrap="square" lIns="0" tIns="0" rIns="0" bIns="0" rtlCol="0"/>
            <a:lstStyle/>
            <a:p>
              <a:endParaRPr sz="1092" dirty="0"/>
            </a:p>
          </p:txBody>
        </p:sp>
        <p:sp>
          <p:nvSpPr>
            <p:cNvPr id="56" name="object 56"/>
            <p:cNvSpPr/>
            <p:nvPr/>
          </p:nvSpPr>
          <p:spPr>
            <a:xfrm>
              <a:off x="6544821" y="3718741"/>
              <a:ext cx="502894" cy="290339"/>
            </a:xfrm>
            <a:custGeom>
              <a:avLst/>
              <a:gdLst/>
              <a:ahLst/>
              <a:cxnLst/>
              <a:rect l="l" t="t" r="r" b="b"/>
              <a:pathLst>
                <a:path w="829309" h="478790">
                  <a:moveTo>
                    <a:pt x="413170" y="0"/>
                  </a:moveTo>
                  <a:lnTo>
                    <a:pt x="0" y="238401"/>
                  </a:lnTo>
                  <a:lnTo>
                    <a:pt x="415578" y="478488"/>
                  </a:lnTo>
                  <a:lnTo>
                    <a:pt x="828749" y="239856"/>
                  </a:lnTo>
                  <a:lnTo>
                    <a:pt x="413170" y="0"/>
                  </a:lnTo>
                  <a:close/>
                </a:path>
              </a:pathLst>
            </a:custGeom>
            <a:solidFill>
              <a:srgbClr val="DCDDDE"/>
            </a:solidFill>
          </p:spPr>
          <p:txBody>
            <a:bodyPr wrap="square" lIns="0" tIns="0" rIns="0" bIns="0" rtlCol="0"/>
            <a:lstStyle/>
            <a:p>
              <a:endParaRPr sz="1092" dirty="0"/>
            </a:p>
          </p:txBody>
        </p:sp>
        <p:sp>
          <p:nvSpPr>
            <p:cNvPr id="57" name="object 57"/>
            <p:cNvSpPr/>
            <p:nvPr/>
          </p:nvSpPr>
          <p:spPr>
            <a:xfrm>
              <a:off x="6027950" y="3420255"/>
              <a:ext cx="509055" cy="294189"/>
            </a:xfrm>
            <a:custGeom>
              <a:avLst/>
              <a:gdLst/>
              <a:ahLst/>
              <a:cxnLst/>
              <a:rect l="l" t="t" r="r" b="b"/>
              <a:pathLst>
                <a:path w="839470" h="485139">
                  <a:moveTo>
                    <a:pt x="413170" y="0"/>
                  </a:moveTo>
                  <a:lnTo>
                    <a:pt x="0" y="238641"/>
                  </a:lnTo>
                  <a:lnTo>
                    <a:pt x="426185" y="484760"/>
                  </a:lnTo>
                  <a:lnTo>
                    <a:pt x="839105" y="246107"/>
                  </a:lnTo>
                  <a:lnTo>
                    <a:pt x="413170" y="0"/>
                  </a:lnTo>
                  <a:close/>
                </a:path>
              </a:pathLst>
            </a:custGeom>
            <a:solidFill>
              <a:srgbClr val="4D4D4D"/>
            </a:solidFill>
          </p:spPr>
          <p:txBody>
            <a:bodyPr wrap="square" lIns="0" tIns="0" rIns="0" bIns="0" rtlCol="0"/>
            <a:lstStyle/>
            <a:p>
              <a:endParaRPr sz="1092" dirty="0"/>
            </a:p>
          </p:txBody>
        </p:sp>
        <p:sp>
          <p:nvSpPr>
            <p:cNvPr id="58" name="object 58"/>
            <p:cNvSpPr/>
            <p:nvPr/>
          </p:nvSpPr>
          <p:spPr>
            <a:xfrm>
              <a:off x="6286388" y="3569495"/>
              <a:ext cx="509055" cy="294189"/>
            </a:xfrm>
            <a:custGeom>
              <a:avLst/>
              <a:gdLst/>
              <a:ahLst/>
              <a:cxnLst/>
              <a:rect l="l" t="t" r="r" b="b"/>
              <a:pathLst>
                <a:path w="839470" h="485139">
                  <a:moveTo>
                    <a:pt x="412919" y="0"/>
                  </a:moveTo>
                  <a:lnTo>
                    <a:pt x="0" y="238652"/>
                  </a:lnTo>
                  <a:lnTo>
                    <a:pt x="426175" y="484519"/>
                  </a:lnTo>
                  <a:lnTo>
                    <a:pt x="839335" y="246118"/>
                  </a:lnTo>
                  <a:lnTo>
                    <a:pt x="412919" y="0"/>
                  </a:lnTo>
                  <a:close/>
                </a:path>
              </a:pathLst>
            </a:custGeom>
            <a:solidFill>
              <a:srgbClr val="4D4D4D"/>
            </a:solidFill>
          </p:spPr>
          <p:txBody>
            <a:bodyPr wrap="square" lIns="0" tIns="0" rIns="0" bIns="0" rtlCol="0"/>
            <a:lstStyle/>
            <a:p>
              <a:endParaRPr sz="1092" dirty="0"/>
            </a:p>
          </p:txBody>
        </p:sp>
        <p:sp>
          <p:nvSpPr>
            <p:cNvPr id="59" name="object 59"/>
            <p:cNvSpPr/>
            <p:nvPr/>
          </p:nvSpPr>
          <p:spPr>
            <a:xfrm>
              <a:off x="7817847" y="4453698"/>
              <a:ext cx="509055" cy="294189"/>
            </a:xfrm>
            <a:custGeom>
              <a:avLst/>
              <a:gdLst/>
              <a:ahLst/>
              <a:cxnLst/>
              <a:rect l="l" t="t" r="r" b="b"/>
              <a:pathLst>
                <a:path w="839469" h="485140">
                  <a:moveTo>
                    <a:pt x="412919" y="0"/>
                  </a:moveTo>
                  <a:lnTo>
                    <a:pt x="0" y="238652"/>
                  </a:lnTo>
                  <a:lnTo>
                    <a:pt x="426196" y="484529"/>
                  </a:lnTo>
                  <a:lnTo>
                    <a:pt x="839356" y="245877"/>
                  </a:lnTo>
                  <a:lnTo>
                    <a:pt x="412919" y="0"/>
                  </a:lnTo>
                  <a:close/>
                </a:path>
              </a:pathLst>
            </a:custGeom>
            <a:solidFill>
              <a:srgbClr val="BCBEC0"/>
            </a:solidFill>
          </p:spPr>
          <p:txBody>
            <a:bodyPr wrap="square" lIns="0" tIns="0" rIns="0" bIns="0" rtlCol="0"/>
            <a:lstStyle/>
            <a:p>
              <a:endParaRPr sz="1092" dirty="0"/>
            </a:p>
          </p:txBody>
        </p:sp>
        <p:sp>
          <p:nvSpPr>
            <p:cNvPr id="60" name="object 60"/>
            <p:cNvSpPr/>
            <p:nvPr/>
          </p:nvSpPr>
          <p:spPr>
            <a:xfrm>
              <a:off x="8845162" y="5046875"/>
              <a:ext cx="502894" cy="290339"/>
            </a:xfrm>
            <a:custGeom>
              <a:avLst/>
              <a:gdLst/>
              <a:ahLst/>
              <a:cxnLst/>
              <a:rect l="l" t="t" r="r" b="b"/>
              <a:pathLst>
                <a:path w="829309" h="478790">
                  <a:moveTo>
                    <a:pt x="413149" y="0"/>
                  </a:moveTo>
                  <a:lnTo>
                    <a:pt x="0" y="238411"/>
                  </a:lnTo>
                  <a:lnTo>
                    <a:pt x="415578" y="478498"/>
                  </a:lnTo>
                  <a:lnTo>
                    <a:pt x="828969" y="240086"/>
                  </a:lnTo>
                  <a:lnTo>
                    <a:pt x="413149" y="0"/>
                  </a:lnTo>
                  <a:close/>
                </a:path>
              </a:pathLst>
            </a:custGeom>
            <a:solidFill>
              <a:srgbClr val="DCDDDE"/>
            </a:solidFill>
          </p:spPr>
          <p:txBody>
            <a:bodyPr wrap="square" lIns="0" tIns="0" rIns="0" bIns="0" rtlCol="0"/>
            <a:lstStyle/>
            <a:p>
              <a:endParaRPr sz="1092" dirty="0"/>
            </a:p>
          </p:txBody>
        </p:sp>
        <p:sp>
          <p:nvSpPr>
            <p:cNvPr id="61" name="object 61"/>
            <p:cNvSpPr/>
            <p:nvPr/>
          </p:nvSpPr>
          <p:spPr>
            <a:xfrm>
              <a:off x="8076290" y="4602797"/>
              <a:ext cx="502894" cy="290339"/>
            </a:xfrm>
            <a:custGeom>
              <a:avLst/>
              <a:gdLst/>
              <a:ahLst/>
              <a:cxnLst/>
              <a:rect l="l" t="t" r="r" b="b"/>
              <a:pathLst>
                <a:path w="829309" h="478790">
                  <a:moveTo>
                    <a:pt x="413160" y="0"/>
                  </a:moveTo>
                  <a:lnTo>
                    <a:pt x="0" y="238652"/>
                  </a:lnTo>
                  <a:lnTo>
                    <a:pt x="415819" y="478739"/>
                  </a:lnTo>
                  <a:lnTo>
                    <a:pt x="828739" y="240086"/>
                  </a:lnTo>
                  <a:lnTo>
                    <a:pt x="413160" y="0"/>
                  </a:lnTo>
                  <a:close/>
                </a:path>
              </a:pathLst>
            </a:custGeom>
            <a:solidFill>
              <a:srgbClr val="BCBEC0"/>
            </a:solidFill>
          </p:spPr>
          <p:txBody>
            <a:bodyPr wrap="square" lIns="0" tIns="0" rIns="0" bIns="0" rtlCol="0"/>
            <a:lstStyle/>
            <a:p>
              <a:endParaRPr sz="1092" dirty="0"/>
            </a:p>
          </p:txBody>
        </p:sp>
        <p:sp>
          <p:nvSpPr>
            <p:cNvPr id="62" name="object 62"/>
            <p:cNvSpPr/>
            <p:nvPr/>
          </p:nvSpPr>
          <p:spPr>
            <a:xfrm>
              <a:off x="8586730" y="4897630"/>
              <a:ext cx="509055" cy="294189"/>
            </a:xfrm>
            <a:custGeom>
              <a:avLst/>
              <a:gdLst/>
              <a:ahLst/>
              <a:cxnLst/>
              <a:rect l="l" t="t" r="r" b="b"/>
              <a:pathLst>
                <a:path w="839469" h="485140">
                  <a:moveTo>
                    <a:pt x="413149" y="0"/>
                  </a:moveTo>
                  <a:lnTo>
                    <a:pt x="0" y="238411"/>
                  </a:lnTo>
                  <a:lnTo>
                    <a:pt x="426175" y="484529"/>
                  </a:lnTo>
                  <a:lnTo>
                    <a:pt x="839325" y="246118"/>
                  </a:lnTo>
                  <a:lnTo>
                    <a:pt x="413149" y="0"/>
                  </a:lnTo>
                  <a:close/>
                </a:path>
              </a:pathLst>
            </a:custGeom>
            <a:solidFill>
              <a:srgbClr val="BCBEC0"/>
            </a:solidFill>
          </p:spPr>
          <p:txBody>
            <a:bodyPr wrap="square" lIns="0" tIns="0" rIns="0" bIns="0" rtlCol="0"/>
            <a:lstStyle/>
            <a:p>
              <a:endParaRPr sz="1092" dirty="0"/>
            </a:p>
          </p:txBody>
        </p:sp>
        <p:sp>
          <p:nvSpPr>
            <p:cNvPr id="63" name="object 63"/>
            <p:cNvSpPr/>
            <p:nvPr/>
          </p:nvSpPr>
          <p:spPr>
            <a:xfrm>
              <a:off x="8328444" y="4748387"/>
              <a:ext cx="509055" cy="294189"/>
            </a:xfrm>
            <a:custGeom>
              <a:avLst/>
              <a:gdLst/>
              <a:ahLst/>
              <a:cxnLst/>
              <a:rect l="l" t="t" r="r" b="b"/>
              <a:pathLst>
                <a:path w="839469" h="485140">
                  <a:moveTo>
                    <a:pt x="412919" y="0"/>
                  </a:moveTo>
                  <a:lnTo>
                    <a:pt x="0" y="238652"/>
                  </a:lnTo>
                  <a:lnTo>
                    <a:pt x="425934" y="484529"/>
                  </a:lnTo>
                  <a:lnTo>
                    <a:pt x="839084" y="246118"/>
                  </a:lnTo>
                  <a:lnTo>
                    <a:pt x="412919" y="0"/>
                  </a:lnTo>
                  <a:close/>
                </a:path>
              </a:pathLst>
            </a:custGeom>
            <a:solidFill>
              <a:srgbClr val="BCBEC0"/>
            </a:solidFill>
          </p:spPr>
          <p:txBody>
            <a:bodyPr wrap="square" lIns="0" tIns="0" rIns="0" bIns="0" rtlCol="0"/>
            <a:lstStyle/>
            <a:p>
              <a:endParaRPr sz="1092" dirty="0"/>
            </a:p>
          </p:txBody>
        </p:sp>
        <p:sp>
          <p:nvSpPr>
            <p:cNvPr id="64" name="object 64"/>
            <p:cNvSpPr/>
            <p:nvPr/>
          </p:nvSpPr>
          <p:spPr>
            <a:xfrm>
              <a:off x="7047371" y="3712460"/>
              <a:ext cx="521762" cy="301120"/>
            </a:xfrm>
            <a:custGeom>
              <a:avLst/>
              <a:gdLst/>
              <a:ahLst/>
              <a:cxnLst/>
              <a:rect l="l" t="t" r="r" b="b"/>
              <a:pathLst>
                <a:path w="860425" h="496570">
                  <a:moveTo>
                    <a:pt x="433892" y="0"/>
                  </a:moveTo>
                  <a:lnTo>
                    <a:pt x="0" y="250222"/>
                  </a:lnTo>
                  <a:lnTo>
                    <a:pt x="426175" y="496330"/>
                  </a:lnTo>
                  <a:lnTo>
                    <a:pt x="860068" y="245866"/>
                  </a:lnTo>
                  <a:lnTo>
                    <a:pt x="433892" y="0"/>
                  </a:lnTo>
                  <a:close/>
                </a:path>
              </a:pathLst>
            </a:custGeom>
            <a:solidFill>
              <a:srgbClr val="BCBEC0"/>
            </a:solidFill>
          </p:spPr>
          <p:txBody>
            <a:bodyPr wrap="square" lIns="0" tIns="0" rIns="0" bIns="0" rtlCol="0"/>
            <a:lstStyle/>
            <a:p>
              <a:endParaRPr sz="1092" dirty="0"/>
            </a:p>
          </p:txBody>
        </p:sp>
        <p:sp>
          <p:nvSpPr>
            <p:cNvPr id="65" name="object 65"/>
            <p:cNvSpPr/>
            <p:nvPr/>
          </p:nvSpPr>
          <p:spPr>
            <a:xfrm>
              <a:off x="7305806" y="3861556"/>
              <a:ext cx="515216" cy="297655"/>
            </a:xfrm>
            <a:custGeom>
              <a:avLst/>
              <a:gdLst/>
              <a:ahLst/>
              <a:cxnLst/>
              <a:rect l="l" t="t" r="r" b="b"/>
              <a:pathLst>
                <a:path w="849629" h="490854">
                  <a:moveTo>
                    <a:pt x="433882" y="0"/>
                  </a:moveTo>
                  <a:lnTo>
                    <a:pt x="0" y="250463"/>
                  </a:lnTo>
                  <a:lnTo>
                    <a:pt x="415809" y="490288"/>
                  </a:lnTo>
                  <a:lnTo>
                    <a:pt x="849450" y="239846"/>
                  </a:lnTo>
                  <a:lnTo>
                    <a:pt x="433882" y="0"/>
                  </a:lnTo>
                  <a:close/>
                </a:path>
              </a:pathLst>
            </a:custGeom>
            <a:solidFill>
              <a:srgbClr val="BCBEC0"/>
            </a:solidFill>
          </p:spPr>
          <p:txBody>
            <a:bodyPr wrap="square" lIns="0" tIns="0" rIns="0" bIns="0" rtlCol="0"/>
            <a:lstStyle/>
            <a:p>
              <a:endParaRPr sz="1092" dirty="0"/>
            </a:p>
          </p:txBody>
        </p:sp>
        <p:sp>
          <p:nvSpPr>
            <p:cNvPr id="66" name="object 66"/>
            <p:cNvSpPr/>
            <p:nvPr/>
          </p:nvSpPr>
          <p:spPr>
            <a:xfrm>
              <a:off x="7557957" y="4006995"/>
              <a:ext cx="521762" cy="301506"/>
            </a:xfrm>
            <a:custGeom>
              <a:avLst/>
              <a:gdLst/>
              <a:ahLst/>
              <a:cxnLst/>
              <a:rect l="l" t="t" r="r" b="b"/>
              <a:pathLst>
                <a:path w="860425" h="497204">
                  <a:moveTo>
                    <a:pt x="433641" y="0"/>
                  </a:moveTo>
                  <a:lnTo>
                    <a:pt x="0" y="250453"/>
                  </a:lnTo>
                  <a:lnTo>
                    <a:pt x="425945" y="496822"/>
                  </a:lnTo>
                  <a:lnTo>
                    <a:pt x="859837" y="246118"/>
                  </a:lnTo>
                  <a:lnTo>
                    <a:pt x="433641" y="0"/>
                  </a:lnTo>
                  <a:close/>
                </a:path>
              </a:pathLst>
            </a:custGeom>
            <a:solidFill>
              <a:srgbClr val="BCBEC0"/>
            </a:solidFill>
          </p:spPr>
          <p:txBody>
            <a:bodyPr wrap="square" lIns="0" tIns="0" rIns="0" bIns="0" rtlCol="0"/>
            <a:lstStyle/>
            <a:p>
              <a:endParaRPr sz="1092" dirty="0"/>
            </a:p>
          </p:txBody>
        </p:sp>
        <p:sp>
          <p:nvSpPr>
            <p:cNvPr id="67" name="object 67"/>
            <p:cNvSpPr/>
            <p:nvPr/>
          </p:nvSpPr>
          <p:spPr>
            <a:xfrm>
              <a:off x="7816247" y="4156242"/>
              <a:ext cx="515216" cy="297655"/>
            </a:xfrm>
            <a:custGeom>
              <a:avLst/>
              <a:gdLst/>
              <a:ahLst/>
              <a:cxnLst/>
              <a:rect l="l" t="t" r="r" b="b"/>
              <a:pathLst>
                <a:path w="849630" h="490854">
                  <a:moveTo>
                    <a:pt x="433892" y="0"/>
                  </a:moveTo>
                  <a:lnTo>
                    <a:pt x="0" y="250704"/>
                  </a:lnTo>
                  <a:lnTo>
                    <a:pt x="415558" y="490529"/>
                  </a:lnTo>
                  <a:lnTo>
                    <a:pt x="849450" y="240086"/>
                  </a:lnTo>
                  <a:lnTo>
                    <a:pt x="433892" y="0"/>
                  </a:lnTo>
                  <a:close/>
                </a:path>
              </a:pathLst>
            </a:custGeom>
            <a:solidFill>
              <a:srgbClr val="BCBEC0"/>
            </a:solidFill>
          </p:spPr>
          <p:txBody>
            <a:bodyPr wrap="square" lIns="0" tIns="0" rIns="0" bIns="0" rtlCol="0"/>
            <a:lstStyle/>
            <a:p>
              <a:endParaRPr sz="1092" dirty="0"/>
            </a:p>
          </p:txBody>
        </p:sp>
        <p:sp>
          <p:nvSpPr>
            <p:cNvPr id="68" name="object 68"/>
            <p:cNvSpPr/>
            <p:nvPr/>
          </p:nvSpPr>
          <p:spPr>
            <a:xfrm>
              <a:off x="8068239" y="4301831"/>
              <a:ext cx="521762" cy="301120"/>
            </a:xfrm>
            <a:custGeom>
              <a:avLst/>
              <a:gdLst/>
              <a:ahLst/>
              <a:cxnLst/>
              <a:rect l="l" t="t" r="r" b="b"/>
              <a:pathLst>
                <a:path w="860425" h="496570">
                  <a:moveTo>
                    <a:pt x="433892" y="0"/>
                  </a:moveTo>
                  <a:lnTo>
                    <a:pt x="0" y="250442"/>
                  </a:lnTo>
                  <a:lnTo>
                    <a:pt x="426437" y="496319"/>
                  </a:lnTo>
                  <a:lnTo>
                    <a:pt x="860088" y="246107"/>
                  </a:lnTo>
                  <a:lnTo>
                    <a:pt x="433892" y="0"/>
                  </a:lnTo>
                  <a:close/>
                </a:path>
              </a:pathLst>
            </a:custGeom>
            <a:solidFill>
              <a:srgbClr val="BCBEC0"/>
            </a:solidFill>
          </p:spPr>
          <p:txBody>
            <a:bodyPr wrap="square" lIns="0" tIns="0" rIns="0" bIns="0" rtlCol="0"/>
            <a:lstStyle/>
            <a:p>
              <a:endParaRPr sz="1092" dirty="0"/>
            </a:p>
          </p:txBody>
        </p:sp>
        <p:sp>
          <p:nvSpPr>
            <p:cNvPr id="69" name="object 69"/>
            <p:cNvSpPr/>
            <p:nvPr/>
          </p:nvSpPr>
          <p:spPr>
            <a:xfrm>
              <a:off x="6536786" y="3417625"/>
              <a:ext cx="521762" cy="301120"/>
            </a:xfrm>
            <a:custGeom>
              <a:avLst/>
              <a:gdLst/>
              <a:ahLst/>
              <a:cxnLst/>
              <a:rect l="l" t="t" r="r" b="b"/>
              <a:pathLst>
                <a:path w="860425" h="496570">
                  <a:moveTo>
                    <a:pt x="433892" y="0"/>
                  </a:moveTo>
                  <a:lnTo>
                    <a:pt x="0" y="250442"/>
                  </a:lnTo>
                  <a:lnTo>
                    <a:pt x="426416" y="496560"/>
                  </a:lnTo>
                  <a:lnTo>
                    <a:pt x="860078" y="245866"/>
                  </a:lnTo>
                  <a:lnTo>
                    <a:pt x="433892" y="0"/>
                  </a:lnTo>
                  <a:close/>
                </a:path>
              </a:pathLst>
            </a:custGeom>
            <a:solidFill>
              <a:srgbClr val="4D4D4D"/>
            </a:solidFill>
          </p:spPr>
          <p:txBody>
            <a:bodyPr wrap="square" lIns="0" tIns="0" rIns="0" bIns="0" rtlCol="0"/>
            <a:lstStyle/>
            <a:p>
              <a:endParaRPr sz="1092" dirty="0"/>
            </a:p>
          </p:txBody>
        </p:sp>
        <p:sp>
          <p:nvSpPr>
            <p:cNvPr id="70" name="object 70"/>
            <p:cNvSpPr/>
            <p:nvPr/>
          </p:nvSpPr>
          <p:spPr>
            <a:xfrm>
              <a:off x="6278498" y="3268381"/>
              <a:ext cx="521762" cy="301120"/>
            </a:xfrm>
            <a:custGeom>
              <a:avLst/>
              <a:gdLst/>
              <a:ahLst/>
              <a:cxnLst/>
              <a:rect l="l" t="t" r="r" b="b"/>
              <a:pathLst>
                <a:path w="860425" h="496570">
                  <a:moveTo>
                    <a:pt x="433641" y="0"/>
                  </a:moveTo>
                  <a:lnTo>
                    <a:pt x="0" y="250453"/>
                  </a:lnTo>
                  <a:lnTo>
                    <a:pt x="425934" y="496560"/>
                  </a:lnTo>
                  <a:lnTo>
                    <a:pt x="859827" y="246118"/>
                  </a:lnTo>
                  <a:lnTo>
                    <a:pt x="433641" y="0"/>
                  </a:lnTo>
                  <a:close/>
                </a:path>
              </a:pathLst>
            </a:custGeom>
            <a:solidFill>
              <a:srgbClr val="4D4D4D"/>
            </a:solidFill>
          </p:spPr>
          <p:txBody>
            <a:bodyPr wrap="square" lIns="0" tIns="0" rIns="0" bIns="0" rtlCol="0"/>
            <a:lstStyle/>
            <a:p>
              <a:endParaRPr sz="1092" dirty="0"/>
            </a:p>
          </p:txBody>
        </p:sp>
        <p:sp>
          <p:nvSpPr>
            <p:cNvPr id="71" name="object 71"/>
            <p:cNvSpPr/>
            <p:nvPr/>
          </p:nvSpPr>
          <p:spPr>
            <a:xfrm>
              <a:off x="8326830" y="4451070"/>
              <a:ext cx="515216" cy="297655"/>
            </a:xfrm>
            <a:custGeom>
              <a:avLst/>
              <a:gdLst/>
              <a:ahLst/>
              <a:cxnLst/>
              <a:rect l="l" t="t" r="r" b="b"/>
              <a:pathLst>
                <a:path w="849630" h="490854">
                  <a:moveTo>
                    <a:pt x="433662" y="0"/>
                  </a:moveTo>
                  <a:lnTo>
                    <a:pt x="0" y="250212"/>
                  </a:lnTo>
                  <a:lnTo>
                    <a:pt x="415578" y="490299"/>
                  </a:lnTo>
                  <a:lnTo>
                    <a:pt x="849471" y="239856"/>
                  </a:lnTo>
                  <a:lnTo>
                    <a:pt x="433662" y="0"/>
                  </a:lnTo>
                  <a:close/>
                </a:path>
              </a:pathLst>
            </a:custGeom>
            <a:solidFill>
              <a:srgbClr val="BCBEC0"/>
            </a:solidFill>
          </p:spPr>
          <p:txBody>
            <a:bodyPr wrap="square" lIns="0" tIns="0" rIns="0" bIns="0" rtlCol="0"/>
            <a:lstStyle/>
            <a:p>
              <a:endParaRPr sz="1092" dirty="0"/>
            </a:p>
          </p:txBody>
        </p:sp>
        <p:sp>
          <p:nvSpPr>
            <p:cNvPr id="72" name="object 72"/>
            <p:cNvSpPr/>
            <p:nvPr/>
          </p:nvSpPr>
          <p:spPr>
            <a:xfrm>
              <a:off x="6795365" y="3566722"/>
              <a:ext cx="515216" cy="297655"/>
            </a:xfrm>
            <a:custGeom>
              <a:avLst/>
              <a:gdLst/>
              <a:ahLst/>
              <a:cxnLst/>
              <a:rect l="l" t="t" r="r" b="b"/>
              <a:pathLst>
                <a:path w="849629" h="490854">
                  <a:moveTo>
                    <a:pt x="433651" y="0"/>
                  </a:moveTo>
                  <a:lnTo>
                    <a:pt x="0" y="250683"/>
                  </a:lnTo>
                  <a:lnTo>
                    <a:pt x="415578" y="490550"/>
                  </a:lnTo>
                  <a:lnTo>
                    <a:pt x="849471" y="240327"/>
                  </a:lnTo>
                  <a:lnTo>
                    <a:pt x="433651" y="0"/>
                  </a:lnTo>
                  <a:close/>
                </a:path>
              </a:pathLst>
            </a:custGeom>
            <a:solidFill>
              <a:srgbClr val="DCDDDE"/>
            </a:solidFill>
          </p:spPr>
          <p:txBody>
            <a:bodyPr wrap="square" lIns="0" tIns="0" rIns="0" bIns="0" rtlCol="0"/>
            <a:lstStyle/>
            <a:p>
              <a:endParaRPr sz="1092" dirty="0"/>
            </a:p>
          </p:txBody>
        </p:sp>
        <p:sp>
          <p:nvSpPr>
            <p:cNvPr id="73" name="object 73"/>
            <p:cNvSpPr/>
            <p:nvPr/>
          </p:nvSpPr>
          <p:spPr>
            <a:xfrm>
              <a:off x="9095697" y="4895005"/>
              <a:ext cx="515216" cy="297655"/>
            </a:xfrm>
            <a:custGeom>
              <a:avLst/>
              <a:gdLst/>
              <a:ahLst/>
              <a:cxnLst/>
              <a:rect l="l" t="t" r="r" b="b"/>
              <a:pathLst>
                <a:path w="849630" h="490854">
                  <a:moveTo>
                    <a:pt x="433903" y="0"/>
                  </a:moveTo>
                  <a:lnTo>
                    <a:pt x="0" y="250442"/>
                  </a:lnTo>
                  <a:lnTo>
                    <a:pt x="415819" y="490529"/>
                  </a:lnTo>
                  <a:lnTo>
                    <a:pt x="849471" y="239846"/>
                  </a:lnTo>
                  <a:lnTo>
                    <a:pt x="433903" y="0"/>
                  </a:lnTo>
                  <a:close/>
                </a:path>
              </a:pathLst>
            </a:custGeom>
            <a:solidFill>
              <a:srgbClr val="DCDDDE"/>
            </a:solidFill>
          </p:spPr>
          <p:txBody>
            <a:bodyPr wrap="square" lIns="0" tIns="0" rIns="0" bIns="0" rtlCol="0"/>
            <a:lstStyle/>
            <a:p>
              <a:endParaRPr sz="1092" dirty="0"/>
            </a:p>
          </p:txBody>
        </p:sp>
        <p:sp>
          <p:nvSpPr>
            <p:cNvPr id="74" name="object 74"/>
            <p:cNvSpPr/>
            <p:nvPr/>
          </p:nvSpPr>
          <p:spPr>
            <a:xfrm>
              <a:off x="8837267" y="4745765"/>
              <a:ext cx="521762" cy="301120"/>
            </a:xfrm>
            <a:custGeom>
              <a:avLst/>
              <a:gdLst/>
              <a:ahLst/>
              <a:cxnLst/>
              <a:rect l="l" t="t" r="r" b="b"/>
              <a:pathLst>
                <a:path w="860425" h="496570">
                  <a:moveTo>
                    <a:pt x="433662" y="0"/>
                  </a:moveTo>
                  <a:lnTo>
                    <a:pt x="0" y="250442"/>
                  </a:lnTo>
                  <a:lnTo>
                    <a:pt x="426175" y="496550"/>
                  </a:lnTo>
                  <a:lnTo>
                    <a:pt x="860068" y="246107"/>
                  </a:lnTo>
                  <a:lnTo>
                    <a:pt x="433662" y="0"/>
                  </a:lnTo>
                  <a:close/>
                </a:path>
              </a:pathLst>
            </a:custGeom>
            <a:solidFill>
              <a:srgbClr val="BCBEC0"/>
            </a:solidFill>
          </p:spPr>
          <p:txBody>
            <a:bodyPr wrap="square" lIns="0" tIns="0" rIns="0" bIns="0" rtlCol="0"/>
            <a:lstStyle/>
            <a:p>
              <a:endParaRPr sz="1092" dirty="0"/>
            </a:p>
          </p:txBody>
        </p:sp>
        <p:sp>
          <p:nvSpPr>
            <p:cNvPr id="75" name="object 75"/>
            <p:cNvSpPr/>
            <p:nvPr/>
          </p:nvSpPr>
          <p:spPr>
            <a:xfrm>
              <a:off x="8578836" y="4596516"/>
              <a:ext cx="521762" cy="301120"/>
            </a:xfrm>
            <a:custGeom>
              <a:avLst/>
              <a:gdLst/>
              <a:ahLst/>
              <a:cxnLst/>
              <a:rect l="l" t="t" r="r" b="b"/>
              <a:pathLst>
                <a:path w="860425" h="496570">
                  <a:moveTo>
                    <a:pt x="433903" y="0"/>
                  </a:moveTo>
                  <a:lnTo>
                    <a:pt x="0" y="250442"/>
                  </a:lnTo>
                  <a:lnTo>
                    <a:pt x="426175" y="496560"/>
                  </a:lnTo>
                  <a:lnTo>
                    <a:pt x="859837" y="246118"/>
                  </a:lnTo>
                  <a:lnTo>
                    <a:pt x="433903" y="0"/>
                  </a:lnTo>
                  <a:close/>
                </a:path>
              </a:pathLst>
            </a:custGeom>
            <a:solidFill>
              <a:srgbClr val="BCBEC0"/>
            </a:solidFill>
          </p:spPr>
          <p:txBody>
            <a:bodyPr wrap="square" lIns="0" tIns="0" rIns="0" bIns="0" rtlCol="0"/>
            <a:lstStyle/>
            <a:p>
              <a:endParaRPr sz="1092" dirty="0"/>
            </a:p>
          </p:txBody>
        </p:sp>
        <p:sp>
          <p:nvSpPr>
            <p:cNvPr id="76" name="object 76"/>
            <p:cNvSpPr/>
            <p:nvPr/>
          </p:nvSpPr>
          <p:spPr>
            <a:xfrm>
              <a:off x="7809953" y="2981005"/>
              <a:ext cx="515216" cy="297655"/>
            </a:xfrm>
            <a:custGeom>
              <a:avLst/>
              <a:gdLst/>
              <a:ahLst/>
              <a:cxnLst/>
              <a:rect l="l" t="t" r="r" b="b"/>
              <a:pathLst>
                <a:path w="849630" h="490854">
                  <a:moveTo>
                    <a:pt x="433892" y="0"/>
                  </a:moveTo>
                  <a:lnTo>
                    <a:pt x="0" y="250453"/>
                  </a:lnTo>
                  <a:lnTo>
                    <a:pt x="415578" y="490540"/>
                  </a:lnTo>
                  <a:lnTo>
                    <a:pt x="849471" y="240086"/>
                  </a:lnTo>
                  <a:lnTo>
                    <a:pt x="433892" y="0"/>
                  </a:lnTo>
                  <a:close/>
                </a:path>
              </a:pathLst>
            </a:custGeom>
            <a:solidFill>
              <a:srgbClr val="4D4D4D"/>
            </a:solidFill>
          </p:spPr>
          <p:txBody>
            <a:bodyPr wrap="square" lIns="0" tIns="0" rIns="0" bIns="0" rtlCol="0"/>
            <a:lstStyle/>
            <a:p>
              <a:endParaRPr sz="1092" dirty="0"/>
            </a:p>
          </p:txBody>
        </p:sp>
        <p:sp>
          <p:nvSpPr>
            <p:cNvPr id="77" name="object 77"/>
            <p:cNvSpPr/>
            <p:nvPr/>
          </p:nvSpPr>
          <p:spPr>
            <a:xfrm>
              <a:off x="8830991" y="3570377"/>
              <a:ext cx="515216" cy="297655"/>
            </a:xfrm>
            <a:custGeom>
              <a:avLst/>
              <a:gdLst/>
              <a:ahLst/>
              <a:cxnLst/>
              <a:rect l="l" t="t" r="r" b="b"/>
              <a:pathLst>
                <a:path w="849630" h="490854">
                  <a:moveTo>
                    <a:pt x="433651" y="0"/>
                  </a:moveTo>
                  <a:lnTo>
                    <a:pt x="0" y="250453"/>
                  </a:lnTo>
                  <a:lnTo>
                    <a:pt x="415809" y="490550"/>
                  </a:lnTo>
                  <a:lnTo>
                    <a:pt x="849209" y="240076"/>
                  </a:lnTo>
                  <a:lnTo>
                    <a:pt x="433651" y="0"/>
                  </a:lnTo>
                  <a:close/>
                </a:path>
              </a:pathLst>
            </a:custGeom>
            <a:solidFill>
              <a:srgbClr val="4D4D4D"/>
            </a:solidFill>
          </p:spPr>
          <p:txBody>
            <a:bodyPr wrap="square" lIns="0" tIns="0" rIns="0" bIns="0" rtlCol="0"/>
            <a:lstStyle/>
            <a:p>
              <a:endParaRPr sz="1092" dirty="0"/>
            </a:p>
          </p:txBody>
        </p:sp>
        <p:sp>
          <p:nvSpPr>
            <p:cNvPr id="78" name="object 78"/>
            <p:cNvSpPr/>
            <p:nvPr/>
          </p:nvSpPr>
          <p:spPr>
            <a:xfrm>
              <a:off x="8572542" y="3421282"/>
              <a:ext cx="521762" cy="301120"/>
            </a:xfrm>
            <a:custGeom>
              <a:avLst/>
              <a:gdLst/>
              <a:ahLst/>
              <a:cxnLst/>
              <a:rect l="l" t="t" r="r" b="b"/>
              <a:pathLst>
                <a:path w="860425" h="496570">
                  <a:moveTo>
                    <a:pt x="433892" y="0"/>
                  </a:moveTo>
                  <a:lnTo>
                    <a:pt x="0" y="250442"/>
                  </a:lnTo>
                  <a:lnTo>
                    <a:pt x="426196" y="496319"/>
                  </a:lnTo>
                  <a:lnTo>
                    <a:pt x="859848" y="245866"/>
                  </a:lnTo>
                  <a:lnTo>
                    <a:pt x="433892" y="0"/>
                  </a:lnTo>
                  <a:close/>
                </a:path>
              </a:pathLst>
            </a:custGeom>
            <a:solidFill>
              <a:srgbClr val="4D4D4D"/>
            </a:solidFill>
          </p:spPr>
          <p:txBody>
            <a:bodyPr wrap="square" lIns="0" tIns="0" rIns="0" bIns="0" rtlCol="0"/>
            <a:lstStyle/>
            <a:p>
              <a:endParaRPr sz="1092" dirty="0"/>
            </a:p>
          </p:txBody>
        </p:sp>
        <p:sp>
          <p:nvSpPr>
            <p:cNvPr id="79" name="object 79"/>
            <p:cNvSpPr/>
            <p:nvPr/>
          </p:nvSpPr>
          <p:spPr>
            <a:xfrm>
              <a:off x="8320395" y="3275693"/>
              <a:ext cx="515601" cy="297655"/>
            </a:xfrm>
            <a:custGeom>
              <a:avLst/>
              <a:gdLst/>
              <a:ahLst/>
              <a:cxnLst/>
              <a:rect l="l" t="t" r="r" b="b"/>
              <a:pathLst>
                <a:path w="850265" h="490854">
                  <a:moveTo>
                    <a:pt x="433651" y="0"/>
                  </a:moveTo>
                  <a:lnTo>
                    <a:pt x="0" y="250442"/>
                  </a:lnTo>
                  <a:lnTo>
                    <a:pt x="415809" y="490529"/>
                  </a:lnTo>
                  <a:lnTo>
                    <a:pt x="849701" y="240086"/>
                  </a:lnTo>
                  <a:lnTo>
                    <a:pt x="433651" y="0"/>
                  </a:lnTo>
                  <a:close/>
                </a:path>
              </a:pathLst>
            </a:custGeom>
            <a:solidFill>
              <a:srgbClr val="4D4D4D"/>
            </a:solidFill>
          </p:spPr>
          <p:txBody>
            <a:bodyPr wrap="square" lIns="0" tIns="0" rIns="0" bIns="0" rtlCol="0"/>
            <a:lstStyle/>
            <a:p>
              <a:endParaRPr sz="1092" dirty="0"/>
            </a:p>
          </p:txBody>
        </p:sp>
        <p:sp>
          <p:nvSpPr>
            <p:cNvPr id="80" name="object 80"/>
            <p:cNvSpPr/>
            <p:nvPr/>
          </p:nvSpPr>
          <p:spPr>
            <a:xfrm>
              <a:off x="7293090" y="2682515"/>
              <a:ext cx="521762" cy="301120"/>
            </a:xfrm>
            <a:custGeom>
              <a:avLst/>
              <a:gdLst/>
              <a:ahLst/>
              <a:cxnLst/>
              <a:rect l="l" t="t" r="r" b="b"/>
              <a:pathLst>
                <a:path w="860425" h="496570">
                  <a:moveTo>
                    <a:pt x="433892" y="0"/>
                  </a:moveTo>
                  <a:lnTo>
                    <a:pt x="0" y="250693"/>
                  </a:lnTo>
                  <a:lnTo>
                    <a:pt x="426175" y="496571"/>
                  </a:lnTo>
                  <a:lnTo>
                    <a:pt x="859837" y="246118"/>
                  </a:lnTo>
                  <a:lnTo>
                    <a:pt x="433892" y="0"/>
                  </a:lnTo>
                  <a:close/>
                </a:path>
              </a:pathLst>
            </a:custGeom>
            <a:solidFill>
              <a:srgbClr val="4D4D4D"/>
            </a:solidFill>
          </p:spPr>
          <p:txBody>
            <a:bodyPr wrap="square" lIns="0" tIns="0" rIns="0" bIns="0" rtlCol="0"/>
            <a:lstStyle/>
            <a:p>
              <a:endParaRPr sz="1092" dirty="0"/>
            </a:p>
          </p:txBody>
        </p:sp>
        <p:sp>
          <p:nvSpPr>
            <p:cNvPr id="81" name="object 81"/>
            <p:cNvSpPr/>
            <p:nvPr/>
          </p:nvSpPr>
          <p:spPr>
            <a:xfrm>
              <a:off x="7551521" y="2831759"/>
              <a:ext cx="521762" cy="301120"/>
            </a:xfrm>
            <a:custGeom>
              <a:avLst/>
              <a:gdLst/>
              <a:ahLst/>
              <a:cxnLst/>
              <a:rect l="l" t="t" r="r" b="b"/>
              <a:pathLst>
                <a:path w="860425" h="496570">
                  <a:moveTo>
                    <a:pt x="433662" y="0"/>
                  </a:moveTo>
                  <a:lnTo>
                    <a:pt x="0" y="250453"/>
                  </a:lnTo>
                  <a:lnTo>
                    <a:pt x="426175" y="496571"/>
                  </a:lnTo>
                  <a:lnTo>
                    <a:pt x="860068" y="246118"/>
                  </a:lnTo>
                  <a:lnTo>
                    <a:pt x="433662" y="0"/>
                  </a:lnTo>
                  <a:close/>
                </a:path>
              </a:pathLst>
            </a:custGeom>
            <a:solidFill>
              <a:srgbClr val="4D4D4D"/>
            </a:solidFill>
          </p:spPr>
          <p:txBody>
            <a:bodyPr wrap="square" lIns="0" tIns="0" rIns="0" bIns="0" rtlCol="0"/>
            <a:lstStyle/>
            <a:p>
              <a:endParaRPr sz="1092" dirty="0"/>
            </a:p>
          </p:txBody>
        </p:sp>
        <p:sp>
          <p:nvSpPr>
            <p:cNvPr id="82" name="object 82"/>
            <p:cNvSpPr/>
            <p:nvPr/>
          </p:nvSpPr>
          <p:spPr>
            <a:xfrm>
              <a:off x="8061959" y="3126594"/>
              <a:ext cx="521762" cy="301120"/>
            </a:xfrm>
            <a:custGeom>
              <a:avLst/>
              <a:gdLst/>
              <a:ahLst/>
              <a:cxnLst/>
              <a:rect l="l" t="t" r="r" b="b"/>
              <a:pathLst>
                <a:path w="860425" h="496570">
                  <a:moveTo>
                    <a:pt x="433892" y="0"/>
                  </a:moveTo>
                  <a:lnTo>
                    <a:pt x="0" y="250453"/>
                  </a:lnTo>
                  <a:lnTo>
                    <a:pt x="426175" y="496319"/>
                  </a:lnTo>
                  <a:lnTo>
                    <a:pt x="859837" y="245877"/>
                  </a:lnTo>
                  <a:lnTo>
                    <a:pt x="433892" y="0"/>
                  </a:lnTo>
                  <a:close/>
                </a:path>
              </a:pathLst>
            </a:custGeom>
            <a:solidFill>
              <a:srgbClr val="4D4D4D"/>
            </a:solidFill>
          </p:spPr>
          <p:txBody>
            <a:bodyPr wrap="square" lIns="0" tIns="0" rIns="0" bIns="0" rtlCol="0"/>
            <a:lstStyle/>
            <a:p>
              <a:endParaRPr sz="1092" dirty="0"/>
            </a:p>
          </p:txBody>
        </p:sp>
        <p:sp>
          <p:nvSpPr>
            <p:cNvPr id="83" name="object 83"/>
            <p:cNvSpPr/>
            <p:nvPr/>
          </p:nvSpPr>
          <p:spPr>
            <a:xfrm>
              <a:off x="7042546" y="2834534"/>
              <a:ext cx="509055" cy="294189"/>
            </a:xfrm>
            <a:custGeom>
              <a:avLst/>
              <a:gdLst/>
              <a:ahLst/>
              <a:cxnLst/>
              <a:rect l="l" t="t" r="r" b="b"/>
              <a:pathLst>
                <a:path w="839470" h="485139">
                  <a:moveTo>
                    <a:pt x="413170" y="0"/>
                  </a:moveTo>
                  <a:lnTo>
                    <a:pt x="0" y="238411"/>
                  </a:lnTo>
                  <a:lnTo>
                    <a:pt x="426175" y="484519"/>
                  </a:lnTo>
                  <a:lnTo>
                    <a:pt x="839335" y="245877"/>
                  </a:lnTo>
                  <a:lnTo>
                    <a:pt x="413170" y="0"/>
                  </a:lnTo>
                  <a:close/>
                </a:path>
              </a:pathLst>
            </a:custGeom>
            <a:solidFill>
              <a:srgbClr val="4D4D4D"/>
            </a:solidFill>
          </p:spPr>
          <p:txBody>
            <a:bodyPr wrap="square" lIns="0" tIns="0" rIns="0" bIns="0" rtlCol="0"/>
            <a:lstStyle/>
            <a:p>
              <a:endParaRPr sz="1092" dirty="0"/>
            </a:p>
          </p:txBody>
        </p:sp>
        <p:sp>
          <p:nvSpPr>
            <p:cNvPr id="84" name="object 84"/>
            <p:cNvSpPr/>
            <p:nvPr/>
          </p:nvSpPr>
          <p:spPr>
            <a:xfrm>
              <a:off x="7300978" y="2983638"/>
              <a:ext cx="509055" cy="294189"/>
            </a:xfrm>
            <a:custGeom>
              <a:avLst/>
              <a:gdLst/>
              <a:ahLst/>
              <a:cxnLst/>
              <a:rect l="l" t="t" r="r" b="b"/>
              <a:pathLst>
                <a:path w="839470" h="485139">
                  <a:moveTo>
                    <a:pt x="413170" y="0"/>
                  </a:moveTo>
                  <a:lnTo>
                    <a:pt x="0" y="238631"/>
                  </a:lnTo>
                  <a:lnTo>
                    <a:pt x="426185" y="484749"/>
                  </a:lnTo>
                  <a:lnTo>
                    <a:pt x="839335" y="246107"/>
                  </a:lnTo>
                  <a:lnTo>
                    <a:pt x="413170" y="0"/>
                  </a:lnTo>
                  <a:close/>
                </a:path>
              </a:pathLst>
            </a:custGeom>
            <a:solidFill>
              <a:srgbClr val="4D4D4D"/>
            </a:solidFill>
          </p:spPr>
          <p:txBody>
            <a:bodyPr wrap="square" lIns="0" tIns="0" rIns="0" bIns="0" rtlCol="0"/>
            <a:lstStyle/>
            <a:p>
              <a:endParaRPr sz="1092" dirty="0"/>
            </a:p>
          </p:txBody>
        </p:sp>
        <p:sp>
          <p:nvSpPr>
            <p:cNvPr id="85" name="object 85"/>
            <p:cNvSpPr/>
            <p:nvPr/>
          </p:nvSpPr>
          <p:spPr>
            <a:xfrm>
              <a:off x="7559417" y="3132880"/>
              <a:ext cx="502894" cy="290339"/>
            </a:xfrm>
            <a:custGeom>
              <a:avLst/>
              <a:gdLst/>
              <a:ahLst/>
              <a:cxnLst/>
              <a:rect l="l" t="t" r="r" b="b"/>
              <a:pathLst>
                <a:path w="829309" h="478789">
                  <a:moveTo>
                    <a:pt x="413149" y="0"/>
                  </a:moveTo>
                  <a:lnTo>
                    <a:pt x="0" y="238641"/>
                  </a:lnTo>
                  <a:lnTo>
                    <a:pt x="415578" y="478477"/>
                  </a:lnTo>
                  <a:lnTo>
                    <a:pt x="828728" y="240086"/>
                  </a:lnTo>
                  <a:lnTo>
                    <a:pt x="413149" y="0"/>
                  </a:lnTo>
                  <a:close/>
                </a:path>
              </a:pathLst>
            </a:custGeom>
            <a:solidFill>
              <a:srgbClr val="4D4D4D"/>
            </a:solidFill>
          </p:spPr>
          <p:txBody>
            <a:bodyPr wrap="square" lIns="0" tIns="0" rIns="0" bIns="0" rtlCol="0"/>
            <a:lstStyle/>
            <a:p>
              <a:endParaRPr sz="1092" dirty="0"/>
            </a:p>
          </p:txBody>
        </p:sp>
        <p:sp>
          <p:nvSpPr>
            <p:cNvPr id="86" name="object 86"/>
            <p:cNvSpPr/>
            <p:nvPr/>
          </p:nvSpPr>
          <p:spPr>
            <a:xfrm>
              <a:off x="8069858" y="3427560"/>
              <a:ext cx="502894" cy="290339"/>
            </a:xfrm>
            <a:custGeom>
              <a:avLst/>
              <a:gdLst/>
              <a:ahLst/>
              <a:cxnLst/>
              <a:rect l="l" t="t" r="r" b="b"/>
              <a:pathLst>
                <a:path w="829309" h="478789">
                  <a:moveTo>
                    <a:pt x="413149" y="0"/>
                  </a:moveTo>
                  <a:lnTo>
                    <a:pt x="0" y="238641"/>
                  </a:lnTo>
                  <a:lnTo>
                    <a:pt x="415809" y="478739"/>
                  </a:lnTo>
                  <a:lnTo>
                    <a:pt x="828959" y="240086"/>
                  </a:lnTo>
                  <a:lnTo>
                    <a:pt x="413149" y="0"/>
                  </a:lnTo>
                  <a:close/>
                </a:path>
              </a:pathLst>
            </a:custGeom>
            <a:solidFill>
              <a:srgbClr val="4D4D4D"/>
            </a:solidFill>
          </p:spPr>
          <p:txBody>
            <a:bodyPr wrap="square" lIns="0" tIns="0" rIns="0" bIns="0" rtlCol="0"/>
            <a:lstStyle/>
            <a:p>
              <a:endParaRPr sz="1092" dirty="0"/>
            </a:p>
          </p:txBody>
        </p:sp>
        <p:sp>
          <p:nvSpPr>
            <p:cNvPr id="87" name="object 87"/>
            <p:cNvSpPr/>
            <p:nvPr/>
          </p:nvSpPr>
          <p:spPr>
            <a:xfrm>
              <a:off x="8322003" y="3573148"/>
              <a:ext cx="509055" cy="294189"/>
            </a:xfrm>
            <a:custGeom>
              <a:avLst/>
              <a:gdLst/>
              <a:ahLst/>
              <a:cxnLst/>
              <a:rect l="l" t="t" r="r" b="b"/>
              <a:pathLst>
                <a:path w="839469" h="485139">
                  <a:moveTo>
                    <a:pt x="413160" y="0"/>
                  </a:moveTo>
                  <a:lnTo>
                    <a:pt x="0" y="238652"/>
                  </a:lnTo>
                  <a:lnTo>
                    <a:pt x="426175" y="484519"/>
                  </a:lnTo>
                  <a:lnTo>
                    <a:pt x="839356" y="245877"/>
                  </a:lnTo>
                  <a:lnTo>
                    <a:pt x="413160" y="0"/>
                  </a:lnTo>
                  <a:close/>
                </a:path>
              </a:pathLst>
            </a:custGeom>
            <a:solidFill>
              <a:srgbClr val="4D4D4D"/>
            </a:solidFill>
          </p:spPr>
          <p:txBody>
            <a:bodyPr wrap="square" lIns="0" tIns="0" rIns="0" bIns="0" rtlCol="0"/>
            <a:lstStyle/>
            <a:p>
              <a:endParaRPr sz="1092" dirty="0"/>
            </a:p>
          </p:txBody>
        </p:sp>
        <p:sp>
          <p:nvSpPr>
            <p:cNvPr id="88" name="object 88"/>
            <p:cNvSpPr/>
            <p:nvPr/>
          </p:nvSpPr>
          <p:spPr>
            <a:xfrm>
              <a:off x="7811422" y="3278467"/>
              <a:ext cx="509055" cy="293804"/>
            </a:xfrm>
            <a:custGeom>
              <a:avLst/>
              <a:gdLst/>
              <a:ahLst/>
              <a:cxnLst/>
              <a:rect l="l" t="t" r="r" b="b"/>
              <a:pathLst>
                <a:path w="839469" h="484504">
                  <a:moveTo>
                    <a:pt x="413160" y="0"/>
                  </a:moveTo>
                  <a:lnTo>
                    <a:pt x="0" y="238390"/>
                  </a:lnTo>
                  <a:lnTo>
                    <a:pt x="426175" y="484508"/>
                  </a:lnTo>
                  <a:lnTo>
                    <a:pt x="839325" y="245866"/>
                  </a:lnTo>
                  <a:lnTo>
                    <a:pt x="413160" y="0"/>
                  </a:lnTo>
                  <a:close/>
                </a:path>
              </a:pathLst>
            </a:custGeom>
            <a:solidFill>
              <a:srgbClr val="4D4D4D"/>
            </a:solidFill>
          </p:spPr>
          <p:txBody>
            <a:bodyPr wrap="square" lIns="0" tIns="0" rIns="0" bIns="0" rtlCol="0"/>
            <a:lstStyle/>
            <a:p>
              <a:endParaRPr sz="1092" dirty="0"/>
            </a:p>
          </p:txBody>
        </p:sp>
        <p:sp>
          <p:nvSpPr>
            <p:cNvPr id="89" name="object 89"/>
            <p:cNvSpPr/>
            <p:nvPr/>
          </p:nvSpPr>
          <p:spPr>
            <a:xfrm>
              <a:off x="8832443" y="3867844"/>
              <a:ext cx="509055" cy="293804"/>
            </a:xfrm>
            <a:custGeom>
              <a:avLst/>
              <a:gdLst/>
              <a:ahLst/>
              <a:cxnLst/>
              <a:rect l="l" t="t" r="r" b="b"/>
              <a:pathLst>
                <a:path w="839469" h="484504">
                  <a:moveTo>
                    <a:pt x="413411" y="0"/>
                  </a:moveTo>
                  <a:lnTo>
                    <a:pt x="0" y="238631"/>
                  </a:lnTo>
                  <a:lnTo>
                    <a:pt x="426196" y="484508"/>
                  </a:lnTo>
                  <a:lnTo>
                    <a:pt x="839346" y="246118"/>
                  </a:lnTo>
                  <a:lnTo>
                    <a:pt x="413411" y="0"/>
                  </a:lnTo>
                  <a:close/>
                </a:path>
              </a:pathLst>
            </a:custGeom>
            <a:solidFill>
              <a:srgbClr val="4D4D4D"/>
            </a:solidFill>
          </p:spPr>
          <p:txBody>
            <a:bodyPr wrap="square" lIns="0" tIns="0" rIns="0" bIns="0" rtlCol="0"/>
            <a:lstStyle/>
            <a:p>
              <a:endParaRPr sz="1092" dirty="0"/>
            </a:p>
          </p:txBody>
        </p:sp>
        <p:sp>
          <p:nvSpPr>
            <p:cNvPr id="90" name="object 90"/>
            <p:cNvSpPr/>
            <p:nvPr/>
          </p:nvSpPr>
          <p:spPr>
            <a:xfrm>
              <a:off x="8580436" y="3722249"/>
              <a:ext cx="502894" cy="290339"/>
            </a:xfrm>
            <a:custGeom>
              <a:avLst/>
              <a:gdLst/>
              <a:ahLst/>
              <a:cxnLst/>
              <a:rect l="l" t="t" r="r" b="b"/>
              <a:pathLst>
                <a:path w="829309" h="478790">
                  <a:moveTo>
                    <a:pt x="413181" y="0"/>
                  </a:moveTo>
                  <a:lnTo>
                    <a:pt x="0" y="238641"/>
                  </a:lnTo>
                  <a:lnTo>
                    <a:pt x="415578" y="478728"/>
                  </a:lnTo>
                  <a:lnTo>
                    <a:pt x="828990" y="240097"/>
                  </a:lnTo>
                  <a:lnTo>
                    <a:pt x="413181" y="0"/>
                  </a:lnTo>
                  <a:close/>
                </a:path>
              </a:pathLst>
            </a:custGeom>
            <a:solidFill>
              <a:srgbClr val="4D4D4D"/>
            </a:solidFill>
          </p:spPr>
          <p:txBody>
            <a:bodyPr wrap="square" lIns="0" tIns="0" rIns="0" bIns="0" rtlCol="0"/>
            <a:lstStyle/>
            <a:p>
              <a:endParaRPr sz="1092" dirty="0"/>
            </a:p>
          </p:txBody>
        </p:sp>
        <p:sp>
          <p:nvSpPr>
            <p:cNvPr id="91" name="object 91"/>
            <p:cNvSpPr/>
            <p:nvPr/>
          </p:nvSpPr>
          <p:spPr>
            <a:xfrm>
              <a:off x="5016577" y="4593739"/>
              <a:ext cx="515216" cy="297655"/>
            </a:xfrm>
            <a:custGeom>
              <a:avLst/>
              <a:gdLst/>
              <a:ahLst/>
              <a:cxnLst/>
              <a:rect l="l" t="t" r="r" b="b"/>
              <a:pathLst>
                <a:path w="849629" h="490854">
                  <a:moveTo>
                    <a:pt x="433892" y="0"/>
                  </a:moveTo>
                  <a:lnTo>
                    <a:pt x="0" y="250463"/>
                  </a:lnTo>
                  <a:lnTo>
                    <a:pt x="415578" y="490309"/>
                  </a:lnTo>
                  <a:lnTo>
                    <a:pt x="849471" y="240076"/>
                  </a:lnTo>
                  <a:lnTo>
                    <a:pt x="433892" y="0"/>
                  </a:lnTo>
                  <a:close/>
                </a:path>
              </a:pathLst>
            </a:custGeom>
            <a:solidFill>
              <a:srgbClr val="DCDDDE"/>
            </a:solidFill>
          </p:spPr>
          <p:txBody>
            <a:bodyPr wrap="square" lIns="0" tIns="0" rIns="0" bIns="0" rtlCol="0"/>
            <a:lstStyle/>
            <a:p>
              <a:endParaRPr sz="1092" dirty="0"/>
            </a:p>
          </p:txBody>
        </p:sp>
        <p:sp>
          <p:nvSpPr>
            <p:cNvPr id="92" name="object 92"/>
            <p:cNvSpPr/>
            <p:nvPr/>
          </p:nvSpPr>
          <p:spPr>
            <a:xfrm>
              <a:off x="5268580" y="4739323"/>
              <a:ext cx="521762" cy="301506"/>
            </a:xfrm>
            <a:custGeom>
              <a:avLst/>
              <a:gdLst/>
              <a:ahLst/>
              <a:cxnLst/>
              <a:rect l="l" t="t" r="r" b="b"/>
              <a:pathLst>
                <a:path w="860425" h="497204">
                  <a:moveTo>
                    <a:pt x="433892" y="0"/>
                  </a:moveTo>
                  <a:lnTo>
                    <a:pt x="0" y="250233"/>
                  </a:lnTo>
                  <a:lnTo>
                    <a:pt x="426175" y="496581"/>
                  </a:lnTo>
                  <a:lnTo>
                    <a:pt x="860068" y="246118"/>
                  </a:lnTo>
                  <a:lnTo>
                    <a:pt x="433892" y="0"/>
                  </a:lnTo>
                  <a:close/>
                </a:path>
              </a:pathLst>
            </a:custGeom>
            <a:solidFill>
              <a:srgbClr val="DCDDDE"/>
            </a:solidFill>
          </p:spPr>
          <p:txBody>
            <a:bodyPr wrap="square" lIns="0" tIns="0" rIns="0" bIns="0" rtlCol="0"/>
            <a:lstStyle/>
            <a:p>
              <a:endParaRPr sz="1092" dirty="0"/>
            </a:p>
          </p:txBody>
        </p:sp>
        <p:sp>
          <p:nvSpPr>
            <p:cNvPr id="93" name="object 93"/>
            <p:cNvSpPr/>
            <p:nvPr/>
          </p:nvSpPr>
          <p:spPr>
            <a:xfrm>
              <a:off x="5779163" y="5034152"/>
              <a:ext cx="521762" cy="301120"/>
            </a:xfrm>
            <a:custGeom>
              <a:avLst/>
              <a:gdLst/>
              <a:ahLst/>
              <a:cxnLst/>
              <a:rect l="l" t="t" r="r" b="b"/>
              <a:pathLst>
                <a:path w="860425" h="496570">
                  <a:moveTo>
                    <a:pt x="433892" y="0"/>
                  </a:moveTo>
                  <a:lnTo>
                    <a:pt x="0" y="250474"/>
                  </a:lnTo>
                  <a:lnTo>
                    <a:pt x="426185" y="496351"/>
                  </a:lnTo>
                  <a:lnTo>
                    <a:pt x="859827" y="245877"/>
                  </a:lnTo>
                  <a:lnTo>
                    <a:pt x="433892" y="0"/>
                  </a:lnTo>
                  <a:close/>
                </a:path>
              </a:pathLst>
            </a:custGeom>
            <a:solidFill>
              <a:srgbClr val="DCDDDE"/>
            </a:solidFill>
          </p:spPr>
          <p:txBody>
            <a:bodyPr wrap="square" lIns="0" tIns="0" rIns="0" bIns="0" rtlCol="0"/>
            <a:lstStyle/>
            <a:p>
              <a:endParaRPr sz="1092" dirty="0"/>
            </a:p>
          </p:txBody>
        </p:sp>
        <p:sp>
          <p:nvSpPr>
            <p:cNvPr id="94" name="object 94"/>
            <p:cNvSpPr/>
            <p:nvPr/>
          </p:nvSpPr>
          <p:spPr>
            <a:xfrm>
              <a:off x="5527016" y="4888570"/>
              <a:ext cx="515601" cy="297655"/>
            </a:xfrm>
            <a:custGeom>
              <a:avLst/>
              <a:gdLst/>
              <a:ahLst/>
              <a:cxnLst/>
              <a:rect l="l" t="t" r="r" b="b"/>
              <a:pathLst>
                <a:path w="850265" h="490854">
                  <a:moveTo>
                    <a:pt x="433892" y="0"/>
                  </a:moveTo>
                  <a:lnTo>
                    <a:pt x="0" y="250463"/>
                  </a:lnTo>
                  <a:lnTo>
                    <a:pt x="415809" y="490550"/>
                  </a:lnTo>
                  <a:lnTo>
                    <a:pt x="849701" y="240076"/>
                  </a:lnTo>
                  <a:lnTo>
                    <a:pt x="433892" y="0"/>
                  </a:lnTo>
                  <a:close/>
                </a:path>
              </a:pathLst>
            </a:custGeom>
            <a:solidFill>
              <a:srgbClr val="DCDDDE"/>
            </a:solidFill>
          </p:spPr>
          <p:txBody>
            <a:bodyPr wrap="square" lIns="0" tIns="0" rIns="0" bIns="0" rtlCol="0"/>
            <a:lstStyle/>
            <a:p>
              <a:endParaRPr sz="1092" dirty="0"/>
            </a:p>
          </p:txBody>
        </p:sp>
        <p:sp>
          <p:nvSpPr>
            <p:cNvPr id="95" name="object 95"/>
            <p:cNvSpPr/>
            <p:nvPr/>
          </p:nvSpPr>
          <p:spPr>
            <a:xfrm>
              <a:off x="6037605" y="5183257"/>
              <a:ext cx="515216" cy="297655"/>
            </a:xfrm>
            <a:custGeom>
              <a:avLst/>
              <a:gdLst/>
              <a:ahLst/>
              <a:cxnLst/>
              <a:rect l="l" t="t" r="r" b="b"/>
              <a:pathLst>
                <a:path w="849629" h="490854">
                  <a:moveTo>
                    <a:pt x="433641" y="0"/>
                  </a:moveTo>
                  <a:lnTo>
                    <a:pt x="0" y="250463"/>
                  </a:lnTo>
                  <a:lnTo>
                    <a:pt x="415809" y="490550"/>
                  </a:lnTo>
                  <a:lnTo>
                    <a:pt x="849450" y="240086"/>
                  </a:lnTo>
                  <a:lnTo>
                    <a:pt x="433641" y="0"/>
                  </a:lnTo>
                  <a:close/>
                </a:path>
              </a:pathLst>
            </a:custGeom>
            <a:solidFill>
              <a:srgbClr val="DCDDDE"/>
            </a:solidFill>
          </p:spPr>
          <p:txBody>
            <a:bodyPr wrap="square" lIns="0" tIns="0" rIns="0" bIns="0" rtlCol="0"/>
            <a:lstStyle/>
            <a:p>
              <a:endParaRPr sz="1092" dirty="0"/>
            </a:p>
          </p:txBody>
        </p:sp>
        <p:sp>
          <p:nvSpPr>
            <p:cNvPr id="96" name="object 96"/>
            <p:cNvSpPr/>
            <p:nvPr/>
          </p:nvSpPr>
          <p:spPr>
            <a:xfrm>
              <a:off x="7058630" y="5772778"/>
              <a:ext cx="521762" cy="301120"/>
            </a:xfrm>
            <a:custGeom>
              <a:avLst/>
              <a:gdLst/>
              <a:ahLst/>
              <a:cxnLst/>
              <a:rect l="l" t="t" r="r" b="b"/>
              <a:pathLst>
                <a:path w="860425" h="496570">
                  <a:moveTo>
                    <a:pt x="433641" y="0"/>
                  </a:moveTo>
                  <a:lnTo>
                    <a:pt x="0" y="250463"/>
                  </a:lnTo>
                  <a:lnTo>
                    <a:pt x="425934" y="496319"/>
                  </a:lnTo>
                  <a:lnTo>
                    <a:pt x="859827" y="245877"/>
                  </a:lnTo>
                  <a:lnTo>
                    <a:pt x="433641" y="0"/>
                  </a:lnTo>
                  <a:close/>
                </a:path>
              </a:pathLst>
            </a:custGeom>
            <a:solidFill>
              <a:srgbClr val="DCDDDE"/>
            </a:solidFill>
          </p:spPr>
          <p:txBody>
            <a:bodyPr wrap="square" lIns="0" tIns="0" rIns="0" bIns="0" rtlCol="0"/>
            <a:lstStyle/>
            <a:p>
              <a:endParaRPr sz="1092" dirty="0"/>
            </a:p>
          </p:txBody>
        </p:sp>
        <p:sp>
          <p:nvSpPr>
            <p:cNvPr id="97" name="object 97"/>
            <p:cNvSpPr/>
            <p:nvPr/>
          </p:nvSpPr>
          <p:spPr>
            <a:xfrm>
              <a:off x="7316919" y="5921877"/>
              <a:ext cx="515216" cy="297655"/>
            </a:xfrm>
            <a:custGeom>
              <a:avLst/>
              <a:gdLst/>
              <a:ahLst/>
              <a:cxnLst/>
              <a:rect l="l" t="t" r="r" b="b"/>
              <a:pathLst>
                <a:path w="849629" h="490854">
                  <a:moveTo>
                    <a:pt x="433892" y="0"/>
                  </a:moveTo>
                  <a:lnTo>
                    <a:pt x="0" y="250442"/>
                  </a:lnTo>
                  <a:lnTo>
                    <a:pt x="415809" y="490529"/>
                  </a:lnTo>
                  <a:lnTo>
                    <a:pt x="849471" y="240086"/>
                  </a:lnTo>
                  <a:lnTo>
                    <a:pt x="433892" y="0"/>
                  </a:lnTo>
                  <a:close/>
                </a:path>
              </a:pathLst>
            </a:custGeom>
            <a:solidFill>
              <a:srgbClr val="DCDDDE"/>
            </a:solidFill>
          </p:spPr>
          <p:txBody>
            <a:bodyPr wrap="square" lIns="0" tIns="0" rIns="0" bIns="0" rtlCol="0"/>
            <a:lstStyle/>
            <a:p>
              <a:endParaRPr sz="1092" dirty="0"/>
            </a:p>
          </p:txBody>
        </p:sp>
        <p:sp>
          <p:nvSpPr>
            <p:cNvPr id="98" name="object 98"/>
            <p:cNvSpPr/>
            <p:nvPr/>
          </p:nvSpPr>
          <p:spPr>
            <a:xfrm>
              <a:off x="6289754" y="5328844"/>
              <a:ext cx="521762" cy="301120"/>
            </a:xfrm>
            <a:custGeom>
              <a:avLst/>
              <a:gdLst/>
              <a:ahLst/>
              <a:cxnLst/>
              <a:rect l="l" t="t" r="r" b="b"/>
              <a:pathLst>
                <a:path w="860425" h="496570">
                  <a:moveTo>
                    <a:pt x="433641" y="0"/>
                  </a:moveTo>
                  <a:lnTo>
                    <a:pt x="0" y="250463"/>
                  </a:lnTo>
                  <a:lnTo>
                    <a:pt x="425934" y="496319"/>
                  </a:lnTo>
                  <a:lnTo>
                    <a:pt x="859827" y="245877"/>
                  </a:lnTo>
                  <a:lnTo>
                    <a:pt x="433641" y="0"/>
                  </a:lnTo>
                  <a:close/>
                </a:path>
              </a:pathLst>
            </a:custGeom>
            <a:solidFill>
              <a:srgbClr val="DCDDDE"/>
            </a:solidFill>
          </p:spPr>
          <p:txBody>
            <a:bodyPr wrap="square" lIns="0" tIns="0" rIns="0" bIns="0" rtlCol="0"/>
            <a:lstStyle/>
            <a:p>
              <a:endParaRPr sz="1092" dirty="0"/>
            </a:p>
          </p:txBody>
        </p:sp>
        <p:sp>
          <p:nvSpPr>
            <p:cNvPr id="99" name="object 99"/>
            <p:cNvSpPr/>
            <p:nvPr/>
          </p:nvSpPr>
          <p:spPr>
            <a:xfrm>
              <a:off x="6800190" y="5623531"/>
              <a:ext cx="521762" cy="301506"/>
            </a:xfrm>
            <a:custGeom>
              <a:avLst/>
              <a:gdLst/>
              <a:ahLst/>
              <a:cxnLst/>
              <a:rect l="l" t="t" r="r" b="b"/>
              <a:pathLst>
                <a:path w="860425" h="497204">
                  <a:moveTo>
                    <a:pt x="433651" y="0"/>
                  </a:moveTo>
                  <a:lnTo>
                    <a:pt x="0" y="250474"/>
                  </a:lnTo>
                  <a:lnTo>
                    <a:pt x="426185" y="496581"/>
                  </a:lnTo>
                  <a:lnTo>
                    <a:pt x="859827" y="246118"/>
                  </a:lnTo>
                  <a:lnTo>
                    <a:pt x="433651" y="0"/>
                  </a:lnTo>
                  <a:close/>
                </a:path>
              </a:pathLst>
            </a:custGeom>
            <a:solidFill>
              <a:srgbClr val="DCDDDE"/>
            </a:solidFill>
          </p:spPr>
          <p:txBody>
            <a:bodyPr wrap="square" lIns="0" tIns="0" rIns="0" bIns="0" rtlCol="0"/>
            <a:lstStyle/>
            <a:p>
              <a:endParaRPr sz="1092" dirty="0"/>
            </a:p>
          </p:txBody>
        </p:sp>
        <p:sp>
          <p:nvSpPr>
            <p:cNvPr id="100" name="object 100"/>
            <p:cNvSpPr/>
            <p:nvPr/>
          </p:nvSpPr>
          <p:spPr>
            <a:xfrm>
              <a:off x="6548042" y="5477946"/>
              <a:ext cx="515216" cy="297655"/>
            </a:xfrm>
            <a:custGeom>
              <a:avLst/>
              <a:gdLst/>
              <a:ahLst/>
              <a:cxnLst/>
              <a:rect l="l" t="t" r="r" b="b"/>
              <a:pathLst>
                <a:path w="849629" h="490854">
                  <a:moveTo>
                    <a:pt x="433892" y="0"/>
                  </a:moveTo>
                  <a:lnTo>
                    <a:pt x="0" y="250442"/>
                  </a:lnTo>
                  <a:lnTo>
                    <a:pt x="415809" y="490550"/>
                  </a:lnTo>
                  <a:lnTo>
                    <a:pt x="849461" y="240076"/>
                  </a:lnTo>
                  <a:lnTo>
                    <a:pt x="433892" y="0"/>
                  </a:lnTo>
                  <a:close/>
                </a:path>
              </a:pathLst>
            </a:custGeom>
            <a:solidFill>
              <a:srgbClr val="DCDDDE"/>
            </a:solidFill>
          </p:spPr>
          <p:txBody>
            <a:bodyPr wrap="square" lIns="0" tIns="0" rIns="0" bIns="0" rtlCol="0"/>
            <a:lstStyle/>
            <a:p>
              <a:endParaRPr sz="1092" dirty="0"/>
            </a:p>
          </p:txBody>
        </p:sp>
        <p:sp>
          <p:nvSpPr>
            <p:cNvPr id="101" name="object 101"/>
            <p:cNvSpPr/>
            <p:nvPr/>
          </p:nvSpPr>
          <p:spPr>
            <a:xfrm>
              <a:off x="7321590" y="5628070"/>
              <a:ext cx="509055" cy="293804"/>
            </a:xfrm>
            <a:custGeom>
              <a:avLst/>
              <a:gdLst/>
              <a:ahLst/>
              <a:cxnLst/>
              <a:rect l="l" t="t" r="r" b="b"/>
              <a:pathLst>
                <a:path w="839470" h="484504">
                  <a:moveTo>
                    <a:pt x="413170" y="0"/>
                  </a:moveTo>
                  <a:lnTo>
                    <a:pt x="0" y="238631"/>
                  </a:lnTo>
                  <a:lnTo>
                    <a:pt x="426185" y="484508"/>
                  </a:lnTo>
                  <a:lnTo>
                    <a:pt x="839346" y="246118"/>
                  </a:lnTo>
                  <a:lnTo>
                    <a:pt x="413170" y="0"/>
                  </a:lnTo>
                  <a:close/>
                </a:path>
              </a:pathLst>
            </a:custGeom>
            <a:solidFill>
              <a:srgbClr val="BCBEC0"/>
            </a:solidFill>
          </p:spPr>
          <p:txBody>
            <a:bodyPr wrap="square" lIns="0" tIns="0" rIns="0" bIns="0" rtlCol="0"/>
            <a:lstStyle/>
            <a:p>
              <a:endParaRPr sz="1092" dirty="0"/>
            </a:p>
          </p:txBody>
        </p:sp>
        <p:sp>
          <p:nvSpPr>
            <p:cNvPr id="102" name="object 102"/>
            <p:cNvSpPr/>
            <p:nvPr/>
          </p:nvSpPr>
          <p:spPr>
            <a:xfrm>
              <a:off x="7063153" y="5478829"/>
              <a:ext cx="509055" cy="294189"/>
            </a:xfrm>
            <a:custGeom>
              <a:avLst/>
              <a:gdLst/>
              <a:ahLst/>
              <a:cxnLst/>
              <a:rect l="l" t="t" r="r" b="b"/>
              <a:pathLst>
                <a:path w="839470" h="485140">
                  <a:moveTo>
                    <a:pt x="413170" y="0"/>
                  </a:moveTo>
                  <a:lnTo>
                    <a:pt x="0" y="238621"/>
                  </a:lnTo>
                  <a:lnTo>
                    <a:pt x="426185" y="484739"/>
                  </a:lnTo>
                  <a:lnTo>
                    <a:pt x="839346" y="246107"/>
                  </a:lnTo>
                  <a:lnTo>
                    <a:pt x="413170" y="0"/>
                  </a:lnTo>
                  <a:close/>
                </a:path>
              </a:pathLst>
            </a:custGeom>
            <a:solidFill>
              <a:srgbClr val="BCBEC0"/>
            </a:solidFill>
          </p:spPr>
          <p:txBody>
            <a:bodyPr wrap="square" lIns="0" tIns="0" rIns="0" bIns="0" rtlCol="0"/>
            <a:lstStyle/>
            <a:p>
              <a:endParaRPr sz="1092" dirty="0"/>
            </a:p>
          </p:txBody>
        </p:sp>
        <p:sp>
          <p:nvSpPr>
            <p:cNvPr id="103" name="object 103"/>
            <p:cNvSpPr/>
            <p:nvPr/>
          </p:nvSpPr>
          <p:spPr>
            <a:xfrm>
              <a:off x="7580031" y="5777316"/>
              <a:ext cx="502894" cy="290339"/>
            </a:xfrm>
            <a:custGeom>
              <a:avLst/>
              <a:gdLst/>
              <a:ahLst/>
              <a:cxnLst/>
              <a:rect l="l" t="t" r="r" b="b"/>
              <a:pathLst>
                <a:path w="829309" h="478790">
                  <a:moveTo>
                    <a:pt x="413149" y="0"/>
                  </a:moveTo>
                  <a:lnTo>
                    <a:pt x="0" y="238390"/>
                  </a:lnTo>
                  <a:lnTo>
                    <a:pt x="415578" y="478477"/>
                  </a:lnTo>
                  <a:lnTo>
                    <a:pt x="828969" y="239825"/>
                  </a:lnTo>
                  <a:lnTo>
                    <a:pt x="413149" y="0"/>
                  </a:lnTo>
                  <a:close/>
                </a:path>
              </a:pathLst>
            </a:custGeom>
            <a:solidFill>
              <a:srgbClr val="DCDDDE"/>
            </a:solidFill>
          </p:spPr>
          <p:txBody>
            <a:bodyPr wrap="square" lIns="0" tIns="0" rIns="0" bIns="0" rtlCol="0"/>
            <a:lstStyle/>
            <a:p>
              <a:endParaRPr sz="1092" dirty="0"/>
            </a:p>
          </p:txBody>
        </p:sp>
        <p:sp>
          <p:nvSpPr>
            <p:cNvPr id="104" name="object 104"/>
            <p:cNvSpPr/>
            <p:nvPr/>
          </p:nvSpPr>
          <p:spPr>
            <a:xfrm>
              <a:off x="6811152" y="5333382"/>
              <a:ext cx="502894" cy="290339"/>
            </a:xfrm>
            <a:custGeom>
              <a:avLst/>
              <a:gdLst/>
              <a:ahLst/>
              <a:cxnLst/>
              <a:rect l="l" t="t" r="r" b="b"/>
              <a:pathLst>
                <a:path w="829309" h="478790">
                  <a:moveTo>
                    <a:pt x="413170" y="0"/>
                  </a:moveTo>
                  <a:lnTo>
                    <a:pt x="0" y="238390"/>
                  </a:lnTo>
                  <a:lnTo>
                    <a:pt x="415568" y="478477"/>
                  </a:lnTo>
                  <a:lnTo>
                    <a:pt x="828739" y="239856"/>
                  </a:lnTo>
                  <a:lnTo>
                    <a:pt x="413170" y="0"/>
                  </a:lnTo>
                  <a:close/>
                </a:path>
              </a:pathLst>
            </a:custGeom>
            <a:solidFill>
              <a:srgbClr val="BCBEC0"/>
            </a:solidFill>
          </p:spPr>
          <p:txBody>
            <a:bodyPr wrap="square" lIns="0" tIns="0" rIns="0" bIns="0" rtlCol="0"/>
            <a:lstStyle/>
            <a:p>
              <a:endParaRPr sz="1092" dirty="0"/>
            </a:p>
          </p:txBody>
        </p:sp>
        <p:sp>
          <p:nvSpPr>
            <p:cNvPr id="105" name="object 105"/>
            <p:cNvSpPr/>
            <p:nvPr/>
          </p:nvSpPr>
          <p:spPr>
            <a:xfrm>
              <a:off x="6042277" y="4889455"/>
              <a:ext cx="509055" cy="293804"/>
            </a:xfrm>
            <a:custGeom>
              <a:avLst/>
              <a:gdLst/>
              <a:ahLst/>
              <a:cxnLst/>
              <a:rect l="l" t="t" r="r" b="b"/>
              <a:pathLst>
                <a:path w="839470" h="484504">
                  <a:moveTo>
                    <a:pt x="412919" y="0"/>
                  </a:moveTo>
                  <a:lnTo>
                    <a:pt x="0" y="238621"/>
                  </a:lnTo>
                  <a:lnTo>
                    <a:pt x="425934" y="484498"/>
                  </a:lnTo>
                  <a:lnTo>
                    <a:pt x="839105" y="245877"/>
                  </a:lnTo>
                  <a:lnTo>
                    <a:pt x="412919" y="0"/>
                  </a:lnTo>
                  <a:close/>
                </a:path>
              </a:pathLst>
            </a:custGeom>
            <a:solidFill>
              <a:srgbClr val="BCBEC0"/>
            </a:solidFill>
          </p:spPr>
          <p:txBody>
            <a:bodyPr wrap="square" lIns="0" tIns="0" rIns="0" bIns="0" rtlCol="0"/>
            <a:lstStyle/>
            <a:p>
              <a:endParaRPr sz="1092" dirty="0"/>
            </a:p>
          </p:txBody>
        </p:sp>
        <p:sp>
          <p:nvSpPr>
            <p:cNvPr id="106" name="object 106"/>
            <p:cNvSpPr/>
            <p:nvPr/>
          </p:nvSpPr>
          <p:spPr>
            <a:xfrm>
              <a:off x="5790130" y="4743866"/>
              <a:ext cx="502894" cy="290339"/>
            </a:xfrm>
            <a:custGeom>
              <a:avLst/>
              <a:gdLst/>
              <a:ahLst/>
              <a:cxnLst/>
              <a:rect l="l" t="t" r="r" b="b"/>
              <a:pathLst>
                <a:path w="829309" h="478790">
                  <a:moveTo>
                    <a:pt x="413160" y="0"/>
                  </a:moveTo>
                  <a:lnTo>
                    <a:pt x="0" y="238621"/>
                  </a:lnTo>
                  <a:lnTo>
                    <a:pt x="415809" y="478707"/>
                  </a:lnTo>
                  <a:lnTo>
                    <a:pt x="828728" y="240076"/>
                  </a:lnTo>
                  <a:lnTo>
                    <a:pt x="413160" y="0"/>
                  </a:lnTo>
                  <a:close/>
                </a:path>
              </a:pathLst>
            </a:custGeom>
            <a:solidFill>
              <a:srgbClr val="BCBEC0"/>
            </a:solidFill>
          </p:spPr>
          <p:txBody>
            <a:bodyPr wrap="square" lIns="0" tIns="0" rIns="0" bIns="0" rtlCol="0"/>
            <a:lstStyle/>
            <a:p>
              <a:endParaRPr sz="1092" dirty="0"/>
            </a:p>
          </p:txBody>
        </p:sp>
        <p:sp>
          <p:nvSpPr>
            <p:cNvPr id="107" name="object 107"/>
            <p:cNvSpPr/>
            <p:nvPr/>
          </p:nvSpPr>
          <p:spPr>
            <a:xfrm>
              <a:off x="6300567" y="5038548"/>
              <a:ext cx="502894" cy="290339"/>
            </a:xfrm>
            <a:custGeom>
              <a:avLst/>
              <a:gdLst/>
              <a:ahLst/>
              <a:cxnLst/>
              <a:rect l="l" t="t" r="r" b="b"/>
              <a:pathLst>
                <a:path w="829309" h="478790">
                  <a:moveTo>
                    <a:pt x="413160" y="0"/>
                  </a:moveTo>
                  <a:lnTo>
                    <a:pt x="0" y="238631"/>
                  </a:lnTo>
                  <a:lnTo>
                    <a:pt x="415809" y="478718"/>
                  </a:lnTo>
                  <a:lnTo>
                    <a:pt x="828979" y="240086"/>
                  </a:lnTo>
                  <a:lnTo>
                    <a:pt x="413160" y="0"/>
                  </a:lnTo>
                  <a:close/>
                </a:path>
              </a:pathLst>
            </a:custGeom>
            <a:solidFill>
              <a:srgbClr val="BCBEC0"/>
            </a:solidFill>
          </p:spPr>
          <p:txBody>
            <a:bodyPr wrap="square" lIns="0" tIns="0" rIns="0" bIns="0" rtlCol="0"/>
            <a:lstStyle/>
            <a:p>
              <a:endParaRPr sz="1092" dirty="0"/>
            </a:p>
          </p:txBody>
        </p:sp>
        <p:sp>
          <p:nvSpPr>
            <p:cNvPr id="108" name="object 108"/>
            <p:cNvSpPr/>
            <p:nvPr/>
          </p:nvSpPr>
          <p:spPr>
            <a:xfrm>
              <a:off x="5531693" y="4594620"/>
              <a:ext cx="509055" cy="294189"/>
            </a:xfrm>
            <a:custGeom>
              <a:avLst/>
              <a:gdLst/>
              <a:ahLst/>
              <a:cxnLst/>
              <a:rect l="l" t="t" r="r" b="b"/>
              <a:pathLst>
                <a:path w="839470" h="485140">
                  <a:moveTo>
                    <a:pt x="413160" y="0"/>
                  </a:moveTo>
                  <a:lnTo>
                    <a:pt x="0" y="238621"/>
                  </a:lnTo>
                  <a:lnTo>
                    <a:pt x="426175" y="484739"/>
                  </a:lnTo>
                  <a:lnTo>
                    <a:pt x="839346" y="246118"/>
                  </a:lnTo>
                  <a:lnTo>
                    <a:pt x="413160" y="0"/>
                  </a:lnTo>
                  <a:close/>
                </a:path>
              </a:pathLst>
            </a:custGeom>
            <a:solidFill>
              <a:srgbClr val="BCBEC0"/>
            </a:solidFill>
          </p:spPr>
          <p:txBody>
            <a:bodyPr wrap="square" lIns="0" tIns="0" rIns="0" bIns="0" rtlCol="0"/>
            <a:lstStyle/>
            <a:p>
              <a:endParaRPr sz="1092" dirty="0"/>
            </a:p>
          </p:txBody>
        </p:sp>
        <p:sp>
          <p:nvSpPr>
            <p:cNvPr id="109" name="object 109"/>
            <p:cNvSpPr/>
            <p:nvPr/>
          </p:nvSpPr>
          <p:spPr>
            <a:xfrm>
              <a:off x="5279688" y="4449027"/>
              <a:ext cx="502894" cy="290339"/>
            </a:xfrm>
            <a:custGeom>
              <a:avLst/>
              <a:gdLst/>
              <a:ahLst/>
              <a:cxnLst/>
              <a:rect l="l" t="t" r="r" b="b"/>
              <a:pathLst>
                <a:path w="829309" h="478790">
                  <a:moveTo>
                    <a:pt x="412919" y="0"/>
                  </a:moveTo>
                  <a:lnTo>
                    <a:pt x="0" y="238631"/>
                  </a:lnTo>
                  <a:lnTo>
                    <a:pt x="415578" y="478718"/>
                  </a:lnTo>
                  <a:lnTo>
                    <a:pt x="828739" y="240086"/>
                  </a:lnTo>
                  <a:lnTo>
                    <a:pt x="412919" y="0"/>
                  </a:lnTo>
                  <a:close/>
                </a:path>
              </a:pathLst>
            </a:custGeom>
            <a:solidFill>
              <a:srgbClr val="DCDDDE"/>
            </a:solidFill>
          </p:spPr>
          <p:txBody>
            <a:bodyPr wrap="square" lIns="0" tIns="0" rIns="0" bIns="0" rtlCol="0"/>
            <a:lstStyle/>
            <a:p>
              <a:endParaRPr sz="1092" dirty="0"/>
            </a:p>
          </p:txBody>
        </p:sp>
        <p:sp>
          <p:nvSpPr>
            <p:cNvPr id="110" name="object 110"/>
            <p:cNvSpPr/>
            <p:nvPr/>
          </p:nvSpPr>
          <p:spPr>
            <a:xfrm>
              <a:off x="6552713" y="5184138"/>
              <a:ext cx="509055" cy="293804"/>
            </a:xfrm>
            <a:custGeom>
              <a:avLst/>
              <a:gdLst/>
              <a:ahLst/>
              <a:cxnLst/>
              <a:rect l="l" t="t" r="r" b="b"/>
              <a:pathLst>
                <a:path w="839470" h="484504">
                  <a:moveTo>
                    <a:pt x="413170" y="0"/>
                  </a:moveTo>
                  <a:lnTo>
                    <a:pt x="0" y="238631"/>
                  </a:lnTo>
                  <a:lnTo>
                    <a:pt x="426185" y="484508"/>
                  </a:lnTo>
                  <a:lnTo>
                    <a:pt x="839356" y="246118"/>
                  </a:lnTo>
                  <a:lnTo>
                    <a:pt x="413170" y="0"/>
                  </a:lnTo>
                  <a:close/>
                </a:path>
              </a:pathLst>
            </a:custGeom>
            <a:solidFill>
              <a:srgbClr val="BCBEC0"/>
            </a:solidFill>
          </p:spPr>
          <p:txBody>
            <a:bodyPr wrap="square" lIns="0" tIns="0" rIns="0" bIns="0" rtlCol="0"/>
            <a:lstStyle/>
            <a:p>
              <a:endParaRPr sz="1092" dirty="0"/>
            </a:p>
          </p:txBody>
        </p:sp>
        <p:sp>
          <p:nvSpPr>
            <p:cNvPr id="111" name="object 111"/>
            <p:cNvSpPr/>
            <p:nvPr/>
          </p:nvSpPr>
          <p:spPr>
            <a:xfrm>
              <a:off x="6295891" y="4153612"/>
              <a:ext cx="509055" cy="293804"/>
            </a:xfrm>
            <a:custGeom>
              <a:avLst/>
              <a:gdLst/>
              <a:ahLst/>
              <a:cxnLst/>
              <a:rect l="l" t="t" r="r" b="b"/>
              <a:pathLst>
                <a:path w="839470" h="484504">
                  <a:moveTo>
                    <a:pt x="413170" y="0"/>
                  </a:moveTo>
                  <a:lnTo>
                    <a:pt x="0" y="238390"/>
                  </a:lnTo>
                  <a:lnTo>
                    <a:pt x="425934" y="484508"/>
                  </a:lnTo>
                  <a:lnTo>
                    <a:pt x="839105" y="245877"/>
                  </a:lnTo>
                  <a:lnTo>
                    <a:pt x="413170" y="0"/>
                  </a:lnTo>
                  <a:close/>
                </a:path>
              </a:pathLst>
            </a:custGeom>
            <a:solidFill>
              <a:srgbClr val="BCBEC0"/>
            </a:solidFill>
          </p:spPr>
          <p:txBody>
            <a:bodyPr wrap="square" lIns="0" tIns="0" rIns="0" bIns="0" rtlCol="0"/>
            <a:lstStyle/>
            <a:p>
              <a:endParaRPr sz="1092" dirty="0"/>
            </a:p>
          </p:txBody>
        </p:sp>
        <p:sp>
          <p:nvSpPr>
            <p:cNvPr id="112" name="object 112"/>
            <p:cNvSpPr/>
            <p:nvPr/>
          </p:nvSpPr>
          <p:spPr>
            <a:xfrm>
              <a:off x="6043743" y="4007866"/>
              <a:ext cx="502894" cy="290339"/>
            </a:xfrm>
            <a:custGeom>
              <a:avLst/>
              <a:gdLst/>
              <a:ahLst/>
              <a:cxnLst/>
              <a:rect l="l" t="t" r="r" b="b"/>
              <a:pathLst>
                <a:path w="829309" h="478790">
                  <a:moveTo>
                    <a:pt x="413160" y="0"/>
                  </a:moveTo>
                  <a:lnTo>
                    <a:pt x="0" y="238652"/>
                  </a:lnTo>
                  <a:lnTo>
                    <a:pt x="415809" y="478739"/>
                  </a:lnTo>
                  <a:lnTo>
                    <a:pt x="828979" y="240348"/>
                  </a:lnTo>
                  <a:lnTo>
                    <a:pt x="413160" y="0"/>
                  </a:lnTo>
                  <a:close/>
                </a:path>
              </a:pathLst>
            </a:custGeom>
            <a:solidFill>
              <a:srgbClr val="DCDDDE"/>
            </a:solidFill>
          </p:spPr>
          <p:txBody>
            <a:bodyPr wrap="square" lIns="0" tIns="0" rIns="0" bIns="0" rtlCol="0"/>
            <a:lstStyle/>
            <a:p>
              <a:endParaRPr sz="1092" dirty="0"/>
            </a:p>
          </p:txBody>
        </p:sp>
        <p:sp>
          <p:nvSpPr>
            <p:cNvPr id="113" name="object 113"/>
            <p:cNvSpPr/>
            <p:nvPr/>
          </p:nvSpPr>
          <p:spPr>
            <a:xfrm>
              <a:off x="6554175" y="4302715"/>
              <a:ext cx="502894" cy="290339"/>
            </a:xfrm>
            <a:custGeom>
              <a:avLst/>
              <a:gdLst/>
              <a:ahLst/>
              <a:cxnLst/>
              <a:rect l="l" t="t" r="r" b="b"/>
              <a:pathLst>
                <a:path w="829309" h="478790">
                  <a:moveTo>
                    <a:pt x="413170" y="0"/>
                  </a:moveTo>
                  <a:lnTo>
                    <a:pt x="0" y="238631"/>
                  </a:lnTo>
                  <a:lnTo>
                    <a:pt x="415819" y="478477"/>
                  </a:lnTo>
                  <a:lnTo>
                    <a:pt x="828990" y="239825"/>
                  </a:lnTo>
                  <a:lnTo>
                    <a:pt x="413170" y="0"/>
                  </a:lnTo>
                  <a:close/>
                </a:path>
              </a:pathLst>
            </a:custGeom>
            <a:solidFill>
              <a:srgbClr val="BCBEC0"/>
            </a:solidFill>
          </p:spPr>
          <p:txBody>
            <a:bodyPr wrap="square" lIns="0" tIns="0" rIns="0" bIns="0" rtlCol="0"/>
            <a:lstStyle/>
            <a:p>
              <a:endParaRPr sz="1092" dirty="0"/>
            </a:p>
          </p:txBody>
        </p:sp>
        <p:sp>
          <p:nvSpPr>
            <p:cNvPr id="114" name="object 114"/>
            <p:cNvSpPr/>
            <p:nvPr/>
          </p:nvSpPr>
          <p:spPr>
            <a:xfrm>
              <a:off x="6806327" y="4448147"/>
              <a:ext cx="509055" cy="294189"/>
            </a:xfrm>
            <a:custGeom>
              <a:avLst/>
              <a:gdLst/>
              <a:ahLst/>
              <a:cxnLst/>
              <a:rect l="l" t="t" r="r" b="b"/>
              <a:pathLst>
                <a:path w="839470" h="485140">
                  <a:moveTo>
                    <a:pt x="413170" y="0"/>
                  </a:moveTo>
                  <a:lnTo>
                    <a:pt x="0" y="238652"/>
                  </a:lnTo>
                  <a:lnTo>
                    <a:pt x="426185" y="484760"/>
                  </a:lnTo>
                  <a:lnTo>
                    <a:pt x="839105" y="246107"/>
                  </a:lnTo>
                  <a:lnTo>
                    <a:pt x="413170" y="0"/>
                  </a:lnTo>
                  <a:close/>
                </a:path>
              </a:pathLst>
            </a:custGeom>
            <a:solidFill>
              <a:srgbClr val="BCBEC0"/>
            </a:solidFill>
          </p:spPr>
          <p:txBody>
            <a:bodyPr wrap="square" lIns="0" tIns="0" rIns="0" bIns="0" rtlCol="0"/>
            <a:lstStyle/>
            <a:p>
              <a:endParaRPr sz="1092" dirty="0"/>
            </a:p>
          </p:txBody>
        </p:sp>
        <p:sp>
          <p:nvSpPr>
            <p:cNvPr id="115" name="object 115"/>
            <p:cNvSpPr/>
            <p:nvPr/>
          </p:nvSpPr>
          <p:spPr>
            <a:xfrm>
              <a:off x="7064765" y="4597388"/>
              <a:ext cx="502894" cy="290339"/>
            </a:xfrm>
            <a:custGeom>
              <a:avLst/>
              <a:gdLst/>
              <a:ahLst/>
              <a:cxnLst/>
              <a:rect l="l" t="t" r="r" b="b"/>
              <a:pathLst>
                <a:path w="829309" h="478790">
                  <a:moveTo>
                    <a:pt x="412919" y="0"/>
                  </a:moveTo>
                  <a:lnTo>
                    <a:pt x="0" y="238652"/>
                  </a:lnTo>
                  <a:lnTo>
                    <a:pt x="415568" y="478739"/>
                  </a:lnTo>
                  <a:lnTo>
                    <a:pt x="828739" y="240086"/>
                  </a:lnTo>
                  <a:lnTo>
                    <a:pt x="412919" y="0"/>
                  </a:lnTo>
                  <a:close/>
                </a:path>
              </a:pathLst>
            </a:custGeom>
            <a:solidFill>
              <a:srgbClr val="BCBEC0"/>
            </a:solidFill>
          </p:spPr>
          <p:txBody>
            <a:bodyPr wrap="square" lIns="0" tIns="0" rIns="0" bIns="0" rtlCol="0"/>
            <a:lstStyle/>
            <a:p>
              <a:endParaRPr sz="1092" dirty="0"/>
            </a:p>
          </p:txBody>
        </p:sp>
        <p:sp>
          <p:nvSpPr>
            <p:cNvPr id="116" name="object 116"/>
            <p:cNvSpPr/>
            <p:nvPr/>
          </p:nvSpPr>
          <p:spPr>
            <a:xfrm>
              <a:off x="5785300" y="3858780"/>
              <a:ext cx="509055" cy="293804"/>
            </a:xfrm>
            <a:custGeom>
              <a:avLst/>
              <a:gdLst/>
              <a:ahLst/>
              <a:cxnLst/>
              <a:rect l="l" t="t" r="r" b="b"/>
              <a:pathLst>
                <a:path w="839470" h="484504">
                  <a:moveTo>
                    <a:pt x="413170" y="0"/>
                  </a:moveTo>
                  <a:lnTo>
                    <a:pt x="0" y="238390"/>
                  </a:lnTo>
                  <a:lnTo>
                    <a:pt x="426185" y="484508"/>
                  </a:lnTo>
                  <a:lnTo>
                    <a:pt x="839356" y="245856"/>
                  </a:lnTo>
                  <a:lnTo>
                    <a:pt x="413170" y="0"/>
                  </a:lnTo>
                  <a:close/>
                </a:path>
              </a:pathLst>
            </a:custGeom>
            <a:solidFill>
              <a:srgbClr val="4D4D4D"/>
            </a:solidFill>
          </p:spPr>
          <p:txBody>
            <a:bodyPr wrap="square" lIns="0" tIns="0" rIns="0" bIns="0" rtlCol="0"/>
            <a:lstStyle/>
            <a:p>
              <a:endParaRPr sz="1092" dirty="0"/>
            </a:p>
          </p:txBody>
        </p:sp>
        <p:sp>
          <p:nvSpPr>
            <p:cNvPr id="117" name="object 117"/>
            <p:cNvSpPr/>
            <p:nvPr/>
          </p:nvSpPr>
          <p:spPr>
            <a:xfrm>
              <a:off x="7316765" y="4742977"/>
              <a:ext cx="509055" cy="294189"/>
            </a:xfrm>
            <a:custGeom>
              <a:avLst/>
              <a:gdLst/>
              <a:ahLst/>
              <a:cxnLst/>
              <a:rect l="l" t="t" r="r" b="b"/>
              <a:pathLst>
                <a:path w="839470" h="485140">
                  <a:moveTo>
                    <a:pt x="413170" y="0"/>
                  </a:moveTo>
                  <a:lnTo>
                    <a:pt x="0" y="238652"/>
                  </a:lnTo>
                  <a:lnTo>
                    <a:pt x="426185" y="484529"/>
                  </a:lnTo>
                  <a:lnTo>
                    <a:pt x="839346" y="246118"/>
                  </a:lnTo>
                  <a:lnTo>
                    <a:pt x="413170" y="0"/>
                  </a:lnTo>
                  <a:close/>
                </a:path>
              </a:pathLst>
            </a:custGeom>
            <a:solidFill>
              <a:srgbClr val="BCBEC0"/>
            </a:solidFill>
          </p:spPr>
          <p:txBody>
            <a:bodyPr wrap="square" lIns="0" tIns="0" rIns="0" bIns="0" rtlCol="0"/>
            <a:lstStyle/>
            <a:p>
              <a:endParaRPr sz="1092" dirty="0"/>
            </a:p>
          </p:txBody>
        </p:sp>
        <p:sp>
          <p:nvSpPr>
            <p:cNvPr id="118" name="object 118"/>
            <p:cNvSpPr/>
            <p:nvPr/>
          </p:nvSpPr>
          <p:spPr>
            <a:xfrm>
              <a:off x="8344077" y="5336153"/>
              <a:ext cx="502894" cy="290339"/>
            </a:xfrm>
            <a:custGeom>
              <a:avLst/>
              <a:gdLst/>
              <a:ahLst/>
              <a:cxnLst/>
              <a:rect l="l" t="t" r="r" b="b"/>
              <a:pathLst>
                <a:path w="829309" h="478790">
                  <a:moveTo>
                    <a:pt x="413170" y="0"/>
                  </a:moveTo>
                  <a:lnTo>
                    <a:pt x="0" y="238411"/>
                  </a:lnTo>
                  <a:lnTo>
                    <a:pt x="415809" y="478498"/>
                  </a:lnTo>
                  <a:lnTo>
                    <a:pt x="828979" y="240086"/>
                  </a:lnTo>
                  <a:lnTo>
                    <a:pt x="413170" y="0"/>
                  </a:lnTo>
                  <a:close/>
                </a:path>
              </a:pathLst>
            </a:custGeom>
            <a:solidFill>
              <a:srgbClr val="DCDDDE"/>
            </a:solidFill>
          </p:spPr>
          <p:txBody>
            <a:bodyPr wrap="square" lIns="0" tIns="0" rIns="0" bIns="0" rtlCol="0"/>
            <a:lstStyle/>
            <a:p>
              <a:endParaRPr sz="1092" dirty="0"/>
            </a:p>
          </p:txBody>
        </p:sp>
        <p:sp>
          <p:nvSpPr>
            <p:cNvPr id="119" name="object 119"/>
            <p:cNvSpPr/>
            <p:nvPr/>
          </p:nvSpPr>
          <p:spPr>
            <a:xfrm>
              <a:off x="7827212" y="5037813"/>
              <a:ext cx="509055" cy="293804"/>
            </a:xfrm>
            <a:custGeom>
              <a:avLst/>
              <a:gdLst/>
              <a:ahLst/>
              <a:cxnLst/>
              <a:rect l="l" t="t" r="r" b="b"/>
              <a:pathLst>
                <a:path w="839469" h="484504">
                  <a:moveTo>
                    <a:pt x="413160" y="0"/>
                  </a:moveTo>
                  <a:lnTo>
                    <a:pt x="0" y="238411"/>
                  </a:lnTo>
                  <a:lnTo>
                    <a:pt x="426405" y="484288"/>
                  </a:lnTo>
                  <a:lnTo>
                    <a:pt x="839325" y="245877"/>
                  </a:lnTo>
                  <a:lnTo>
                    <a:pt x="413160" y="0"/>
                  </a:lnTo>
                  <a:close/>
                </a:path>
              </a:pathLst>
            </a:custGeom>
            <a:solidFill>
              <a:srgbClr val="BCBEC0"/>
            </a:solidFill>
          </p:spPr>
          <p:txBody>
            <a:bodyPr wrap="square" lIns="0" tIns="0" rIns="0" bIns="0" rtlCol="0"/>
            <a:lstStyle/>
            <a:p>
              <a:endParaRPr sz="1092" dirty="0"/>
            </a:p>
          </p:txBody>
        </p:sp>
        <p:sp>
          <p:nvSpPr>
            <p:cNvPr id="120" name="object 120"/>
            <p:cNvSpPr/>
            <p:nvPr/>
          </p:nvSpPr>
          <p:spPr>
            <a:xfrm>
              <a:off x="7575205" y="4892222"/>
              <a:ext cx="502894" cy="290339"/>
            </a:xfrm>
            <a:custGeom>
              <a:avLst/>
              <a:gdLst/>
              <a:ahLst/>
              <a:cxnLst/>
              <a:rect l="l" t="t" r="r" b="b"/>
              <a:pathLst>
                <a:path w="829309" h="478790">
                  <a:moveTo>
                    <a:pt x="413149" y="0"/>
                  </a:moveTo>
                  <a:lnTo>
                    <a:pt x="0" y="238411"/>
                  </a:lnTo>
                  <a:lnTo>
                    <a:pt x="415578" y="478498"/>
                  </a:lnTo>
                  <a:lnTo>
                    <a:pt x="828739" y="240086"/>
                  </a:lnTo>
                  <a:lnTo>
                    <a:pt x="413149" y="0"/>
                  </a:lnTo>
                  <a:close/>
                </a:path>
              </a:pathLst>
            </a:custGeom>
            <a:solidFill>
              <a:srgbClr val="BCBEC0"/>
            </a:solidFill>
          </p:spPr>
          <p:txBody>
            <a:bodyPr wrap="square" lIns="0" tIns="0" rIns="0" bIns="0" rtlCol="0"/>
            <a:lstStyle/>
            <a:p>
              <a:endParaRPr sz="1092" dirty="0"/>
            </a:p>
          </p:txBody>
        </p:sp>
        <p:sp>
          <p:nvSpPr>
            <p:cNvPr id="121" name="object 121"/>
            <p:cNvSpPr/>
            <p:nvPr/>
          </p:nvSpPr>
          <p:spPr>
            <a:xfrm>
              <a:off x="8085787" y="5186910"/>
              <a:ext cx="509055" cy="294189"/>
            </a:xfrm>
            <a:custGeom>
              <a:avLst/>
              <a:gdLst/>
              <a:ahLst/>
              <a:cxnLst/>
              <a:rect l="l" t="t" r="r" b="b"/>
              <a:pathLst>
                <a:path w="839469" h="485140">
                  <a:moveTo>
                    <a:pt x="412919" y="0"/>
                  </a:moveTo>
                  <a:lnTo>
                    <a:pt x="0" y="238411"/>
                  </a:lnTo>
                  <a:lnTo>
                    <a:pt x="425934" y="484529"/>
                  </a:lnTo>
                  <a:lnTo>
                    <a:pt x="839115" y="246118"/>
                  </a:lnTo>
                  <a:lnTo>
                    <a:pt x="412919" y="0"/>
                  </a:lnTo>
                  <a:close/>
                </a:path>
              </a:pathLst>
            </a:custGeom>
            <a:solidFill>
              <a:srgbClr val="BCBEC0"/>
            </a:solidFill>
          </p:spPr>
          <p:txBody>
            <a:bodyPr wrap="square" lIns="0" tIns="0" rIns="0" bIns="0" rtlCol="0"/>
            <a:lstStyle/>
            <a:p>
              <a:endParaRPr sz="1092" dirty="0"/>
            </a:p>
          </p:txBody>
        </p:sp>
        <p:sp>
          <p:nvSpPr>
            <p:cNvPr id="122" name="object 122"/>
            <p:cNvSpPr/>
            <p:nvPr/>
          </p:nvSpPr>
          <p:spPr>
            <a:xfrm>
              <a:off x="5777407" y="3564964"/>
              <a:ext cx="509055" cy="294189"/>
            </a:xfrm>
            <a:custGeom>
              <a:avLst/>
              <a:gdLst/>
              <a:ahLst/>
              <a:cxnLst/>
              <a:rect l="l" t="t" r="r" b="b"/>
              <a:pathLst>
                <a:path w="839470" h="485139">
                  <a:moveTo>
                    <a:pt x="413170" y="0"/>
                  </a:moveTo>
                  <a:lnTo>
                    <a:pt x="0" y="238401"/>
                  </a:lnTo>
                  <a:lnTo>
                    <a:pt x="426185" y="484529"/>
                  </a:lnTo>
                  <a:lnTo>
                    <a:pt x="839346" y="246128"/>
                  </a:lnTo>
                  <a:lnTo>
                    <a:pt x="413170" y="0"/>
                  </a:lnTo>
                  <a:close/>
                </a:path>
              </a:pathLst>
            </a:custGeom>
            <a:solidFill>
              <a:srgbClr val="4D4D4D"/>
            </a:solidFill>
          </p:spPr>
          <p:txBody>
            <a:bodyPr wrap="square" lIns="0" tIns="0" rIns="0" bIns="0" rtlCol="0"/>
            <a:lstStyle/>
            <a:p>
              <a:endParaRPr sz="1092" dirty="0"/>
            </a:p>
          </p:txBody>
        </p:sp>
        <p:sp>
          <p:nvSpPr>
            <p:cNvPr id="123" name="object 123"/>
            <p:cNvSpPr/>
            <p:nvPr/>
          </p:nvSpPr>
          <p:spPr>
            <a:xfrm>
              <a:off x="6035845" y="3714214"/>
              <a:ext cx="509055" cy="293804"/>
            </a:xfrm>
            <a:custGeom>
              <a:avLst/>
              <a:gdLst/>
              <a:ahLst/>
              <a:cxnLst/>
              <a:rect l="l" t="t" r="r" b="b"/>
              <a:pathLst>
                <a:path w="839470" h="484504">
                  <a:moveTo>
                    <a:pt x="413170" y="0"/>
                  </a:moveTo>
                  <a:lnTo>
                    <a:pt x="0" y="238401"/>
                  </a:lnTo>
                  <a:lnTo>
                    <a:pt x="426185" y="484257"/>
                  </a:lnTo>
                  <a:lnTo>
                    <a:pt x="839335" y="245866"/>
                  </a:lnTo>
                  <a:lnTo>
                    <a:pt x="413170" y="0"/>
                  </a:lnTo>
                  <a:close/>
                </a:path>
              </a:pathLst>
            </a:custGeom>
            <a:solidFill>
              <a:srgbClr val="4D4D4D"/>
            </a:solidFill>
          </p:spPr>
          <p:txBody>
            <a:bodyPr wrap="square" lIns="0" tIns="0" rIns="0" bIns="0" rtlCol="0"/>
            <a:lstStyle/>
            <a:p>
              <a:endParaRPr sz="1092" dirty="0"/>
            </a:p>
          </p:txBody>
        </p:sp>
        <p:sp>
          <p:nvSpPr>
            <p:cNvPr id="124" name="object 124"/>
            <p:cNvSpPr/>
            <p:nvPr/>
          </p:nvSpPr>
          <p:spPr>
            <a:xfrm>
              <a:off x="6294287" y="3863306"/>
              <a:ext cx="502894" cy="290339"/>
            </a:xfrm>
            <a:custGeom>
              <a:avLst/>
              <a:gdLst/>
              <a:ahLst/>
              <a:cxnLst/>
              <a:rect l="l" t="t" r="r" b="b"/>
              <a:pathLst>
                <a:path w="829309" h="478790">
                  <a:moveTo>
                    <a:pt x="413149" y="0"/>
                  </a:moveTo>
                  <a:lnTo>
                    <a:pt x="0" y="238390"/>
                  </a:lnTo>
                  <a:lnTo>
                    <a:pt x="415809" y="478739"/>
                  </a:lnTo>
                  <a:lnTo>
                    <a:pt x="828728" y="240086"/>
                  </a:lnTo>
                  <a:lnTo>
                    <a:pt x="413149" y="0"/>
                  </a:lnTo>
                  <a:close/>
                </a:path>
              </a:pathLst>
            </a:custGeom>
            <a:solidFill>
              <a:srgbClr val="DCDDDE"/>
            </a:solidFill>
          </p:spPr>
          <p:txBody>
            <a:bodyPr wrap="square" lIns="0" tIns="0" rIns="0" bIns="0" rtlCol="0"/>
            <a:lstStyle/>
            <a:p>
              <a:endParaRPr sz="1092" dirty="0"/>
            </a:p>
          </p:txBody>
        </p:sp>
        <p:sp>
          <p:nvSpPr>
            <p:cNvPr id="125" name="object 125"/>
            <p:cNvSpPr/>
            <p:nvPr/>
          </p:nvSpPr>
          <p:spPr>
            <a:xfrm>
              <a:off x="6546435" y="4008894"/>
              <a:ext cx="509055" cy="294189"/>
            </a:xfrm>
            <a:custGeom>
              <a:avLst/>
              <a:gdLst/>
              <a:ahLst/>
              <a:cxnLst/>
              <a:rect l="l" t="t" r="r" b="b"/>
              <a:pathLst>
                <a:path w="839470" h="485140">
                  <a:moveTo>
                    <a:pt x="412919" y="0"/>
                  </a:moveTo>
                  <a:lnTo>
                    <a:pt x="0" y="238652"/>
                  </a:lnTo>
                  <a:lnTo>
                    <a:pt x="425934" y="484529"/>
                  </a:lnTo>
                  <a:lnTo>
                    <a:pt x="839105" y="245877"/>
                  </a:lnTo>
                  <a:lnTo>
                    <a:pt x="412919" y="0"/>
                  </a:lnTo>
                  <a:close/>
                </a:path>
              </a:pathLst>
            </a:custGeom>
            <a:solidFill>
              <a:srgbClr val="BCBEC0"/>
            </a:solidFill>
          </p:spPr>
          <p:txBody>
            <a:bodyPr wrap="square" lIns="0" tIns="0" rIns="0" bIns="0" rtlCol="0"/>
            <a:lstStyle/>
            <a:p>
              <a:endParaRPr sz="1092" dirty="0"/>
            </a:p>
          </p:txBody>
        </p:sp>
        <p:sp>
          <p:nvSpPr>
            <p:cNvPr id="126" name="object 126"/>
            <p:cNvSpPr/>
            <p:nvPr/>
          </p:nvSpPr>
          <p:spPr>
            <a:xfrm>
              <a:off x="8336180" y="5042207"/>
              <a:ext cx="509055" cy="294189"/>
            </a:xfrm>
            <a:custGeom>
              <a:avLst/>
              <a:gdLst/>
              <a:ahLst/>
              <a:cxnLst/>
              <a:rect l="l" t="t" r="r" b="b"/>
              <a:pathLst>
                <a:path w="839469" h="485140">
                  <a:moveTo>
                    <a:pt x="413181" y="0"/>
                  </a:moveTo>
                  <a:lnTo>
                    <a:pt x="0" y="238621"/>
                  </a:lnTo>
                  <a:lnTo>
                    <a:pt x="426196" y="484739"/>
                  </a:lnTo>
                  <a:lnTo>
                    <a:pt x="839356" y="246107"/>
                  </a:lnTo>
                  <a:lnTo>
                    <a:pt x="413181" y="0"/>
                  </a:lnTo>
                  <a:close/>
                </a:path>
              </a:pathLst>
            </a:custGeom>
            <a:solidFill>
              <a:srgbClr val="BCBEC0"/>
            </a:solidFill>
          </p:spPr>
          <p:txBody>
            <a:bodyPr wrap="square" lIns="0" tIns="0" rIns="0" bIns="0" rtlCol="0"/>
            <a:lstStyle/>
            <a:p>
              <a:endParaRPr sz="1092" dirty="0"/>
            </a:p>
          </p:txBody>
        </p:sp>
        <p:sp>
          <p:nvSpPr>
            <p:cNvPr id="127" name="object 127"/>
            <p:cNvSpPr/>
            <p:nvPr/>
          </p:nvSpPr>
          <p:spPr>
            <a:xfrm>
              <a:off x="8594626" y="5191446"/>
              <a:ext cx="502894" cy="290339"/>
            </a:xfrm>
            <a:custGeom>
              <a:avLst/>
              <a:gdLst/>
              <a:ahLst/>
              <a:cxnLst/>
              <a:rect l="l" t="t" r="r" b="b"/>
              <a:pathLst>
                <a:path w="829309" h="478790">
                  <a:moveTo>
                    <a:pt x="413149" y="0"/>
                  </a:moveTo>
                  <a:lnTo>
                    <a:pt x="0" y="238631"/>
                  </a:lnTo>
                  <a:lnTo>
                    <a:pt x="415809" y="478718"/>
                  </a:lnTo>
                  <a:lnTo>
                    <a:pt x="828728" y="240086"/>
                  </a:lnTo>
                  <a:lnTo>
                    <a:pt x="413149" y="0"/>
                  </a:lnTo>
                  <a:close/>
                </a:path>
              </a:pathLst>
            </a:custGeom>
            <a:solidFill>
              <a:srgbClr val="DCDDDE"/>
            </a:solidFill>
          </p:spPr>
          <p:txBody>
            <a:bodyPr wrap="square" lIns="0" tIns="0" rIns="0" bIns="0" rtlCol="0"/>
            <a:lstStyle/>
            <a:p>
              <a:endParaRPr sz="1092" dirty="0"/>
            </a:p>
          </p:txBody>
        </p:sp>
        <p:sp>
          <p:nvSpPr>
            <p:cNvPr id="128" name="object 128"/>
            <p:cNvSpPr/>
            <p:nvPr/>
          </p:nvSpPr>
          <p:spPr>
            <a:xfrm>
              <a:off x="7825742" y="4747520"/>
              <a:ext cx="502894" cy="290339"/>
            </a:xfrm>
            <a:custGeom>
              <a:avLst/>
              <a:gdLst/>
              <a:ahLst/>
              <a:cxnLst/>
              <a:rect l="l" t="t" r="r" b="b"/>
              <a:pathLst>
                <a:path w="829309" h="478790">
                  <a:moveTo>
                    <a:pt x="413181" y="0"/>
                  </a:moveTo>
                  <a:lnTo>
                    <a:pt x="0" y="238621"/>
                  </a:lnTo>
                  <a:lnTo>
                    <a:pt x="415578" y="478707"/>
                  </a:lnTo>
                  <a:lnTo>
                    <a:pt x="828990" y="240086"/>
                  </a:lnTo>
                  <a:lnTo>
                    <a:pt x="413181" y="0"/>
                  </a:lnTo>
                  <a:close/>
                </a:path>
              </a:pathLst>
            </a:custGeom>
            <a:solidFill>
              <a:srgbClr val="BCBEC0"/>
            </a:solidFill>
          </p:spPr>
          <p:txBody>
            <a:bodyPr wrap="square" lIns="0" tIns="0" rIns="0" bIns="0" rtlCol="0"/>
            <a:lstStyle/>
            <a:p>
              <a:endParaRPr sz="1092" dirty="0"/>
            </a:p>
          </p:txBody>
        </p:sp>
        <p:sp>
          <p:nvSpPr>
            <p:cNvPr id="129" name="object 129"/>
            <p:cNvSpPr/>
            <p:nvPr/>
          </p:nvSpPr>
          <p:spPr>
            <a:xfrm>
              <a:off x="7567308" y="4598415"/>
              <a:ext cx="509055" cy="293804"/>
            </a:xfrm>
            <a:custGeom>
              <a:avLst/>
              <a:gdLst/>
              <a:ahLst/>
              <a:cxnLst/>
              <a:rect l="l" t="t" r="r" b="b"/>
              <a:pathLst>
                <a:path w="839469" h="484504">
                  <a:moveTo>
                    <a:pt x="413160" y="0"/>
                  </a:moveTo>
                  <a:lnTo>
                    <a:pt x="0" y="238390"/>
                  </a:lnTo>
                  <a:lnTo>
                    <a:pt x="426175" y="484508"/>
                  </a:lnTo>
                  <a:lnTo>
                    <a:pt x="839356" y="245877"/>
                  </a:lnTo>
                  <a:lnTo>
                    <a:pt x="413160" y="0"/>
                  </a:lnTo>
                  <a:close/>
                </a:path>
              </a:pathLst>
            </a:custGeom>
            <a:solidFill>
              <a:srgbClr val="BCBEC0"/>
            </a:solidFill>
          </p:spPr>
          <p:txBody>
            <a:bodyPr wrap="square" lIns="0" tIns="0" rIns="0" bIns="0" rtlCol="0"/>
            <a:lstStyle/>
            <a:p>
              <a:endParaRPr sz="1092" dirty="0"/>
            </a:p>
          </p:txBody>
        </p:sp>
        <p:sp>
          <p:nvSpPr>
            <p:cNvPr id="130" name="object 130"/>
            <p:cNvSpPr/>
            <p:nvPr/>
          </p:nvSpPr>
          <p:spPr>
            <a:xfrm>
              <a:off x="7056874" y="4303583"/>
              <a:ext cx="509055" cy="293804"/>
            </a:xfrm>
            <a:custGeom>
              <a:avLst/>
              <a:gdLst/>
              <a:ahLst/>
              <a:cxnLst/>
              <a:rect l="l" t="t" r="r" b="b"/>
              <a:pathLst>
                <a:path w="839470" h="484504">
                  <a:moveTo>
                    <a:pt x="413160" y="0"/>
                  </a:moveTo>
                  <a:lnTo>
                    <a:pt x="0" y="238401"/>
                  </a:lnTo>
                  <a:lnTo>
                    <a:pt x="425934" y="484508"/>
                  </a:lnTo>
                  <a:lnTo>
                    <a:pt x="839105" y="246118"/>
                  </a:lnTo>
                  <a:lnTo>
                    <a:pt x="413160" y="0"/>
                  </a:lnTo>
                  <a:close/>
                </a:path>
              </a:pathLst>
            </a:custGeom>
            <a:solidFill>
              <a:srgbClr val="BCBEC0"/>
            </a:solidFill>
          </p:spPr>
          <p:txBody>
            <a:bodyPr wrap="square" lIns="0" tIns="0" rIns="0" bIns="0" rtlCol="0"/>
            <a:lstStyle/>
            <a:p>
              <a:endParaRPr sz="1092" dirty="0"/>
            </a:p>
          </p:txBody>
        </p:sp>
        <p:sp>
          <p:nvSpPr>
            <p:cNvPr id="131" name="object 131"/>
            <p:cNvSpPr/>
            <p:nvPr/>
          </p:nvSpPr>
          <p:spPr>
            <a:xfrm>
              <a:off x="6804719" y="4157997"/>
              <a:ext cx="502894" cy="290339"/>
            </a:xfrm>
            <a:custGeom>
              <a:avLst/>
              <a:gdLst/>
              <a:ahLst/>
              <a:cxnLst/>
              <a:rect l="l" t="t" r="r" b="b"/>
              <a:pathLst>
                <a:path w="829309" h="478790">
                  <a:moveTo>
                    <a:pt x="413170" y="0"/>
                  </a:moveTo>
                  <a:lnTo>
                    <a:pt x="0" y="238652"/>
                  </a:lnTo>
                  <a:lnTo>
                    <a:pt x="415819" y="478477"/>
                  </a:lnTo>
                  <a:lnTo>
                    <a:pt x="828979" y="240086"/>
                  </a:lnTo>
                  <a:lnTo>
                    <a:pt x="413170" y="0"/>
                  </a:lnTo>
                  <a:close/>
                </a:path>
              </a:pathLst>
            </a:custGeom>
            <a:solidFill>
              <a:srgbClr val="BCBEC0"/>
            </a:solidFill>
          </p:spPr>
          <p:txBody>
            <a:bodyPr wrap="square" lIns="0" tIns="0" rIns="0" bIns="0" rtlCol="0"/>
            <a:lstStyle/>
            <a:p>
              <a:endParaRPr sz="1092" dirty="0"/>
            </a:p>
          </p:txBody>
        </p:sp>
        <p:sp>
          <p:nvSpPr>
            <p:cNvPr id="132" name="object 132"/>
            <p:cNvSpPr/>
            <p:nvPr/>
          </p:nvSpPr>
          <p:spPr>
            <a:xfrm>
              <a:off x="7315164" y="4452828"/>
              <a:ext cx="502894" cy="290339"/>
            </a:xfrm>
            <a:custGeom>
              <a:avLst/>
              <a:gdLst/>
              <a:ahLst/>
              <a:cxnLst/>
              <a:rect l="l" t="t" r="r" b="b"/>
              <a:pathLst>
                <a:path w="829309" h="478790">
                  <a:moveTo>
                    <a:pt x="413160" y="0"/>
                  </a:moveTo>
                  <a:lnTo>
                    <a:pt x="0" y="238390"/>
                  </a:lnTo>
                  <a:lnTo>
                    <a:pt x="415809" y="478477"/>
                  </a:lnTo>
                  <a:lnTo>
                    <a:pt x="828969" y="240086"/>
                  </a:lnTo>
                  <a:lnTo>
                    <a:pt x="413160" y="0"/>
                  </a:lnTo>
                  <a:close/>
                </a:path>
              </a:pathLst>
            </a:custGeom>
            <a:solidFill>
              <a:srgbClr val="BCBEC0"/>
            </a:solidFill>
          </p:spPr>
          <p:txBody>
            <a:bodyPr wrap="square" lIns="0" tIns="0" rIns="0" bIns="0" rtlCol="0"/>
            <a:lstStyle/>
            <a:p>
              <a:endParaRPr sz="1092" dirty="0"/>
            </a:p>
          </p:txBody>
        </p:sp>
        <p:sp>
          <p:nvSpPr>
            <p:cNvPr id="133" name="object 133"/>
            <p:cNvSpPr/>
            <p:nvPr/>
          </p:nvSpPr>
          <p:spPr>
            <a:xfrm>
              <a:off x="8077753" y="4893103"/>
              <a:ext cx="509055" cy="293804"/>
            </a:xfrm>
            <a:custGeom>
              <a:avLst/>
              <a:gdLst/>
              <a:ahLst/>
              <a:cxnLst/>
              <a:rect l="l" t="t" r="r" b="b"/>
              <a:pathLst>
                <a:path w="839469" h="484504">
                  <a:moveTo>
                    <a:pt x="413401" y="0"/>
                  </a:moveTo>
                  <a:lnTo>
                    <a:pt x="0" y="238631"/>
                  </a:lnTo>
                  <a:lnTo>
                    <a:pt x="426165" y="484508"/>
                  </a:lnTo>
                  <a:lnTo>
                    <a:pt x="839346" y="245877"/>
                  </a:lnTo>
                  <a:lnTo>
                    <a:pt x="413401" y="0"/>
                  </a:lnTo>
                  <a:close/>
                </a:path>
              </a:pathLst>
            </a:custGeom>
            <a:solidFill>
              <a:srgbClr val="BCBEC0"/>
            </a:solidFill>
          </p:spPr>
          <p:txBody>
            <a:bodyPr wrap="square" lIns="0" tIns="0" rIns="0" bIns="0" rtlCol="0"/>
            <a:lstStyle/>
            <a:p>
              <a:endParaRPr sz="1092" dirty="0"/>
            </a:p>
          </p:txBody>
        </p:sp>
        <p:sp>
          <p:nvSpPr>
            <p:cNvPr id="134" name="object 134"/>
            <p:cNvSpPr/>
            <p:nvPr/>
          </p:nvSpPr>
          <p:spPr>
            <a:xfrm>
              <a:off x="7313695" y="5334254"/>
              <a:ext cx="509055" cy="294189"/>
            </a:xfrm>
            <a:custGeom>
              <a:avLst/>
              <a:gdLst/>
              <a:ahLst/>
              <a:cxnLst/>
              <a:rect l="l" t="t" r="r" b="b"/>
              <a:pathLst>
                <a:path w="839470" h="485140">
                  <a:moveTo>
                    <a:pt x="413170" y="0"/>
                  </a:moveTo>
                  <a:lnTo>
                    <a:pt x="0" y="238422"/>
                  </a:lnTo>
                  <a:lnTo>
                    <a:pt x="426185" y="484529"/>
                  </a:lnTo>
                  <a:lnTo>
                    <a:pt x="839346" y="246118"/>
                  </a:lnTo>
                  <a:lnTo>
                    <a:pt x="413170" y="0"/>
                  </a:lnTo>
                  <a:close/>
                </a:path>
              </a:pathLst>
            </a:custGeom>
            <a:solidFill>
              <a:srgbClr val="BCBEC0"/>
            </a:solidFill>
          </p:spPr>
          <p:txBody>
            <a:bodyPr wrap="square" lIns="0" tIns="0" rIns="0" bIns="0" rtlCol="0"/>
            <a:lstStyle/>
            <a:p>
              <a:endParaRPr sz="1092" dirty="0"/>
            </a:p>
          </p:txBody>
        </p:sp>
        <p:sp>
          <p:nvSpPr>
            <p:cNvPr id="135" name="object 135"/>
            <p:cNvSpPr/>
            <p:nvPr/>
          </p:nvSpPr>
          <p:spPr>
            <a:xfrm>
              <a:off x="7572134" y="5483495"/>
              <a:ext cx="509055" cy="294189"/>
            </a:xfrm>
            <a:custGeom>
              <a:avLst/>
              <a:gdLst/>
              <a:ahLst/>
              <a:cxnLst/>
              <a:rect l="l" t="t" r="r" b="b"/>
              <a:pathLst>
                <a:path w="839469" h="485140">
                  <a:moveTo>
                    <a:pt x="413160" y="0"/>
                  </a:moveTo>
                  <a:lnTo>
                    <a:pt x="0" y="238422"/>
                  </a:lnTo>
                  <a:lnTo>
                    <a:pt x="426175" y="484529"/>
                  </a:lnTo>
                  <a:lnTo>
                    <a:pt x="839346" y="245877"/>
                  </a:lnTo>
                  <a:lnTo>
                    <a:pt x="413160" y="0"/>
                  </a:lnTo>
                  <a:close/>
                </a:path>
              </a:pathLst>
            </a:custGeom>
            <a:solidFill>
              <a:srgbClr val="BCBEC0"/>
            </a:solidFill>
          </p:spPr>
          <p:txBody>
            <a:bodyPr wrap="square" lIns="0" tIns="0" rIns="0" bIns="0" rtlCol="0"/>
            <a:lstStyle/>
            <a:p>
              <a:endParaRPr sz="1092" dirty="0"/>
            </a:p>
          </p:txBody>
        </p:sp>
        <p:sp>
          <p:nvSpPr>
            <p:cNvPr id="136" name="object 136"/>
            <p:cNvSpPr/>
            <p:nvPr/>
          </p:nvSpPr>
          <p:spPr>
            <a:xfrm>
              <a:off x="7830571" y="5632598"/>
              <a:ext cx="502894" cy="290339"/>
            </a:xfrm>
            <a:custGeom>
              <a:avLst/>
              <a:gdLst/>
              <a:ahLst/>
              <a:cxnLst/>
              <a:rect l="l" t="t" r="r" b="b"/>
              <a:pathLst>
                <a:path w="829309" h="478790">
                  <a:moveTo>
                    <a:pt x="413170" y="0"/>
                  </a:moveTo>
                  <a:lnTo>
                    <a:pt x="0" y="238652"/>
                  </a:lnTo>
                  <a:lnTo>
                    <a:pt x="415809" y="478477"/>
                  </a:lnTo>
                  <a:lnTo>
                    <a:pt x="828728" y="240086"/>
                  </a:lnTo>
                  <a:lnTo>
                    <a:pt x="413170" y="0"/>
                  </a:lnTo>
                  <a:close/>
                </a:path>
              </a:pathLst>
            </a:custGeom>
            <a:solidFill>
              <a:srgbClr val="DCDDDE"/>
            </a:solidFill>
          </p:spPr>
          <p:txBody>
            <a:bodyPr wrap="square" lIns="0" tIns="0" rIns="0" bIns="0" rtlCol="0"/>
            <a:lstStyle/>
            <a:p>
              <a:endParaRPr sz="1092" dirty="0"/>
            </a:p>
          </p:txBody>
        </p:sp>
        <p:sp>
          <p:nvSpPr>
            <p:cNvPr id="137" name="object 137"/>
            <p:cNvSpPr/>
            <p:nvPr/>
          </p:nvSpPr>
          <p:spPr>
            <a:xfrm>
              <a:off x="6292669" y="4744732"/>
              <a:ext cx="509055" cy="294189"/>
            </a:xfrm>
            <a:custGeom>
              <a:avLst/>
              <a:gdLst/>
              <a:ahLst/>
              <a:cxnLst/>
              <a:rect l="l" t="t" r="r" b="b"/>
              <a:pathLst>
                <a:path w="839470" h="485140">
                  <a:moveTo>
                    <a:pt x="413170" y="0"/>
                  </a:moveTo>
                  <a:lnTo>
                    <a:pt x="0" y="238652"/>
                  </a:lnTo>
                  <a:lnTo>
                    <a:pt x="426185" y="484529"/>
                  </a:lnTo>
                  <a:lnTo>
                    <a:pt x="839346" y="246118"/>
                  </a:lnTo>
                  <a:lnTo>
                    <a:pt x="413170" y="0"/>
                  </a:lnTo>
                  <a:close/>
                </a:path>
              </a:pathLst>
            </a:custGeom>
            <a:solidFill>
              <a:srgbClr val="BCBEC0"/>
            </a:solidFill>
          </p:spPr>
          <p:txBody>
            <a:bodyPr wrap="square" lIns="0" tIns="0" rIns="0" bIns="0" rtlCol="0"/>
            <a:lstStyle/>
            <a:p>
              <a:endParaRPr sz="1092" dirty="0"/>
            </a:p>
          </p:txBody>
        </p:sp>
        <p:sp>
          <p:nvSpPr>
            <p:cNvPr id="138" name="object 138"/>
            <p:cNvSpPr/>
            <p:nvPr/>
          </p:nvSpPr>
          <p:spPr>
            <a:xfrm>
              <a:off x="7061697" y="5188662"/>
              <a:ext cx="502894" cy="290339"/>
            </a:xfrm>
            <a:custGeom>
              <a:avLst/>
              <a:gdLst/>
              <a:ahLst/>
              <a:cxnLst/>
              <a:rect l="l" t="t" r="r" b="b"/>
              <a:pathLst>
                <a:path w="829309" h="478790">
                  <a:moveTo>
                    <a:pt x="412919" y="0"/>
                  </a:moveTo>
                  <a:lnTo>
                    <a:pt x="0" y="238652"/>
                  </a:lnTo>
                  <a:lnTo>
                    <a:pt x="415568" y="478508"/>
                  </a:lnTo>
                  <a:lnTo>
                    <a:pt x="828728" y="240086"/>
                  </a:lnTo>
                  <a:lnTo>
                    <a:pt x="412919" y="0"/>
                  </a:lnTo>
                  <a:close/>
                </a:path>
              </a:pathLst>
            </a:custGeom>
            <a:solidFill>
              <a:srgbClr val="BCBEC0"/>
            </a:solidFill>
          </p:spPr>
          <p:txBody>
            <a:bodyPr wrap="square" lIns="0" tIns="0" rIns="0" bIns="0" rtlCol="0"/>
            <a:lstStyle/>
            <a:p>
              <a:endParaRPr sz="1092" dirty="0"/>
            </a:p>
          </p:txBody>
        </p:sp>
        <p:sp>
          <p:nvSpPr>
            <p:cNvPr id="139" name="object 139"/>
            <p:cNvSpPr/>
            <p:nvPr/>
          </p:nvSpPr>
          <p:spPr>
            <a:xfrm>
              <a:off x="6040670" y="4599289"/>
              <a:ext cx="502894" cy="290339"/>
            </a:xfrm>
            <a:custGeom>
              <a:avLst/>
              <a:gdLst/>
              <a:ahLst/>
              <a:cxnLst/>
              <a:rect l="l" t="t" r="r" b="b"/>
              <a:pathLst>
                <a:path w="829309" h="478790">
                  <a:moveTo>
                    <a:pt x="413170" y="0"/>
                  </a:moveTo>
                  <a:lnTo>
                    <a:pt x="0" y="238411"/>
                  </a:lnTo>
                  <a:lnTo>
                    <a:pt x="415568" y="478498"/>
                  </a:lnTo>
                  <a:lnTo>
                    <a:pt x="828728" y="239846"/>
                  </a:lnTo>
                  <a:lnTo>
                    <a:pt x="413170" y="0"/>
                  </a:lnTo>
                  <a:close/>
                </a:path>
              </a:pathLst>
            </a:custGeom>
            <a:solidFill>
              <a:srgbClr val="BCBEC0"/>
            </a:solidFill>
          </p:spPr>
          <p:txBody>
            <a:bodyPr wrap="square" lIns="0" tIns="0" rIns="0" bIns="0" rtlCol="0"/>
            <a:lstStyle/>
            <a:p>
              <a:endParaRPr sz="1092" dirty="0"/>
            </a:p>
          </p:txBody>
        </p:sp>
        <p:sp>
          <p:nvSpPr>
            <p:cNvPr id="140" name="object 140"/>
            <p:cNvSpPr/>
            <p:nvPr/>
          </p:nvSpPr>
          <p:spPr>
            <a:xfrm>
              <a:off x="6551106" y="4893978"/>
              <a:ext cx="502894" cy="290339"/>
            </a:xfrm>
            <a:custGeom>
              <a:avLst/>
              <a:gdLst/>
              <a:ahLst/>
              <a:cxnLst/>
              <a:rect l="l" t="t" r="r" b="b"/>
              <a:pathLst>
                <a:path w="829309" h="478790">
                  <a:moveTo>
                    <a:pt x="413170" y="0"/>
                  </a:moveTo>
                  <a:lnTo>
                    <a:pt x="0" y="238411"/>
                  </a:lnTo>
                  <a:lnTo>
                    <a:pt x="415819" y="478498"/>
                  </a:lnTo>
                  <a:lnTo>
                    <a:pt x="828979" y="240086"/>
                  </a:lnTo>
                  <a:lnTo>
                    <a:pt x="413170" y="0"/>
                  </a:lnTo>
                  <a:close/>
                </a:path>
              </a:pathLst>
            </a:custGeom>
            <a:solidFill>
              <a:srgbClr val="BCBEC0"/>
            </a:solidFill>
          </p:spPr>
          <p:txBody>
            <a:bodyPr wrap="square" lIns="0" tIns="0" rIns="0" bIns="0" rtlCol="0"/>
            <a:lstStyle/>
            <a:p>
              <a:endParaRPr sz="1092" dirty="0"/>
            </a:p>
          </p:txBody>
        </p:sp>
        <p:sp>
          <p:nvSpPr>
            <p:cNvPr id="141" name="object 141"/>
            <p:cNvSpPr/>
            <p:nvPr/>
          </p:nvSpPr>
          <p:spPr>
            <a:xfrm>
              <a:off x="6803258" y="5039563"/>
              <a:ext cx="509055" cy="294189"/>
            </a:xfrm>
            <a:custGeom>
              <a:avLst/>
              <a:gdLst/>
              <a:ahLst/>
              <a:cxnLst/>
              <a:rect l="l" t="t" r="r" b="b"/>
              <a:pathLst>
                <a:path w="839470" h="485140">
                  <a:moveTo>
                    <a:pt x="413170" y="0"/>
                  </a:moveTo>
                  <a:lnTo>
                    <a:pt x="0" y="238422"/>
                  </a:lnTo>
                  <a:lnTo>
                    <a:pt x="426185" y="484529"/>
                  </a:lnTo>
                  <a:lnTo>
                    <a:pt x="839105" y="245877"/>
                  </a:lnTo>
                  <a:lnTo>
                    <a:pt x="413170" y="0"/>
                  </a:lnTo>
                  <a:close/>
                </a:path>
              </a:pathLst>
            </a:custGeom>
            <a:solidFill>
              <a:srgbClr val="BCBEC0"/>
            </a:solidFill>
          </p:spPr>
          <p:txBody>
            <a:bodyPr wrap="square" lIns="0" tIns="0" rIns="0" bIns="0" rtlCol="0"/>
            <a:lstStyle/>
            <a:p>
              <a:endParaRPr sz="1092" dirty="0"/>
            </a:p>
          </p:txBody>
        </p:sp>
        <p:sp>
          <p:nvSpPr>
            <p:cNvPr id="142" name="object 142"/>
            <p:cNvSpPr/>
            <p:nvPr/>
          </p:nvSpPr>
          <p:spPr>
            <a:xfrm>
              <a:off x="5530086" y="4304457"/>
              <a:ext cx="502894" cy="290339"/>
            </a:xfrm>
            <a:custGeom>
              <a:avLst/>
              <a:gdLst/>
              <a:ahLst/>
              <a:cxnLst/>
              <a:rect l="l" t="t" r="r" b="b"/>
              <a:pathLst>
                <a:path w="829309" h="478790">
                  <a:moveTo>
                    <a:pt x="413160" y="0"/>
                  </a:moveTo>
                  <a:lnTo>
                    <a:pt x="0" y="238411"/>
                  </a:lnTo>
                  <a:lnTo>
                    <a:pt x="415809" y="478498"/>
                  </a:lnTo>
                  <a:lnTo>
                    <a:pt x="828969" y="239846"/>
                  </a:lnTo>
                  <a:lnTo>
                    <a:pt x="413160" y="0"/>
                  </a:lnTo>
                  <a:close/>
                </a:path>
              </a:pathLst>
            </a:custGeom>
            <a:solidFill>
              <a:srgbClr val="DCDDDE"/>
            </a:solidFill>
          </p:spPr>
          <p:txBody>
            <a:bodyPr wrap="square" lIns="0" tIns="0" rIns="0" bIns="0" rtlCol="0"/>
            <a:lstStyle/>
            <a:p>
              <a:endParaRPr sz="1092" dirty="0"/>
            </a:p>
          </p:txBody>
        </p:sp>
        <p:sp>
          <p:nvSpPr>
            <p:cNvPr id="143" name="object 143"/>
            <p:cNvSpPr/>
            <p:nvPr/>
          </p:nvSpPr>
          <p:spPr>
            <a:xfrm>
              <a:off x="5782233" y="4449905"/>
              <a:ext cx="509055" cy="294189"/>
            </a:xfrm>
            <a:custGeom>
              <a:avLst/>
              <a:gdLst/>
              <a:ahLst/>
              <a:cxnLst/>
              <a:rect l="l" t="t" r="r" b="b"/>
              <a:pathLst>
                <a:path w="839470" h="485140">
                  <a:moveTo>
                    <a:pt x="413170" y="0"/>
                  </a:moveTo>
                  <a:lnTo>
                    <a:pt x="0" y="238641"/>
                  </a:lnTo>
                  <a:lnTo>
                    <a:pt x="426185" y="484760"/>
                  </a:lnTo>
                  <a:lnTo>
                    <a:pt x="839346" y="246338"/>
                  </a:lnTo>
                  <a:lnTo>
                    <a:pt x="413170" y="0"/>
                  </a:lnTo>
                  <a:close/>
                </a:path>
              </a:pathLst>
            </a:custGeom>
            <a:solidFill>
              <a:srgbClr val="BCBEC0"/>
            </a:solidFill>
          </p:spPr>
          <p:txBody>
            <a:bodyPr wrap="square" lIns="0" tIns="0" rIns="0" bIns="0" rtlCol="0"/>
            <a:lstStyle/>
            <a:p>
              <a:endParaRPr sz="1092" dirty="0"/>
            </a:p>
          </p:txBody>
        </p:sp>
        <p:sp>
          <p:nvSpPr>
            <p:cNvPr id="144" name="object 144"/>
            <p:cNvSpPr/>
            <p:nvPr/>
          </p:nvSpPr>
          <p:spPr>
            <a:xfrm>
              <a:off x="6543214" y="4592862"/>
              <a:ext cx="521762" cy="301120"/>
            </a:xfrm>
            <a:custGeom>
              <a:avLst/>
              <a:gdLst/>
              <a:ahLst/>
              <a:cxnLst/>
              <a:rect l="l" t="t" r="r" b="b"/>
              <a:pathLst>
                <a:path w="860425" h="496570">
                  <a:moveTo>
                    <a:pt x="433892" y="0"/>
                  </a:moveTo>
                  <a:lnTo>
                    <a:pt x="0" y="250442"/>
                  </a:lnTo>
                  <a:lnTo>
                    <a:pt x="426185" y="496560"/>
                  </a:lnTo>
                  <a:lnTo>
                    <a:pt x="860078" y="246118"/>
                  </a:lnTo>
                  <a:lnTo>
                    <a:pt x="433892" y="0"/>
                  </a:lnTo>
                  <a:close/>
                </a:path>
              </a:pathLst>
            </a:custGeom>
            <a:solidFill>
              <a:srgbClr val="BCBEC0"/>
            </a:solidFill>
          </p:spPr>
          <p:txBody>
            <a:bodyPr wrap="square" lIns="0" tIns="0" rIns="0" bIns="0" rtlCol="0"/>
            <a:lstStyle/>
            <a:p>
              <a:endParaRPr sz="1092" dirty="0"/>
            </a:p>
          </p:txBody>
        </p:sp>
        <p:sp>
          <p:nvSpPr>
            <p:cNvPr id="145" name="object 145"/>
            <p:cNvSpPr/>
            <p:nvPr/>
          </p:nvSpPr>
          <p:spPr>
            <a:xfrm>
              <a:off x="6291214" y="4447415"/>
              <a:ext cx="515216" cy="297655"/>
            </a:xfrm>
            <a:custGeom>
              <a:avLst/>
              <a:gdLst/>
              <a:ahLst/>
              <a:cxnLst/>
              <a:rect l="l" t="t" r="r" b="b"/>
              <a:pathLst>
                <a:path w="849629" h="490854">
                  <a:moveTo>
                    <a:pt x="433651" y="0"/>
                  </a:moveTo>
                  <a:lnTo>
                    <a:pt x="0" y="250442"/>
                  </a:lnTo>
                  <a:lnTo>
                    <a:pt x="415568" y="490299"/>
                  </a:lnTo>
                  <a:lnTo>
                    <a:pt x="849461" y="239856"/>
                  </a:lnTo>
                  <a:lnTo>
                    <a:pt x="433651" y="0"/>
                  </a:lnTo>
                  <a:close/>
                </a:path>
              </a:pathLst>
            </a:custGeom>
            <a:solidFill>
              <a:srgbClr val="BCBEC0"/>
            </a:solidFill>
          </p:spPr>
          <p:txBody>
            <a:bodyPr wrap="square" lIns="0" tIns="0" rIns="0" bIns="0" rtlCol="0"/>
            <a:lstStyle/>
            <a:p>
              <a:endParaRPr sz="1092" dirty="0"/>
            </a:p>
          </p:txBody>
        </p:sp>
        <p:sp>
          <p:nvSpPr>
            <p:cNvPr id="146" name="object 146"/>
            <p:cNvSpPr/>
            <p:nvPr/>
          </p:nvSpPr>
          <p:spPr>
            <a:xfrm>
              <a:off x="6801656" y="4742108"/>
              <a:ext cx="515216" cy="297655"/>
            </a:xfrm>
            <a:custGeom>
              <a:avLst/>
              <a:gdLst/>
              <a:ahLst/>
              <a:cxnLst/>
              <a:rect l="l" t="t" r="r" b="b"/>
              <a:pathLst>
                <a:path w="849629" h="490854">
                  <a:moveTo>
                    <a:pt x="433892" y="0"/>
                  </a:moveTo>
                  <a:lnTo>
                    <a:pt x="0" y="250442"/>
                  </a:lnTo>
                  <a:lnTo>
                    <a:pt x="415809" y="490529"/>
                  </a:lnTo>
                  <a:lnTo>
                    <a:pt x="849450" y="240086"/>
                  </a:lnTo>
                  <a:lnTo>
                    <a:pt x="433892" y="0"/>
                  </a:lnTo>
                  <a:close/>
                </a:path>
              </a:pathLst>
            </a:custGeom>
            <a:solidFill>
              <a:srgbClr val="BCBEC0"/>
            </a:solidFill>
          </p:spPr>
          <p:txBody>
            <a:bodyPr wrap="square" lIns="0" tIns="0" rIns="0" bIns="0" rtlCol="0"/>
            <a:lstStyle/>
            <a:p>
              <a:endParaRPr sz="1092" dirty="0"/>
            </a:p>
          </p:txBody>
        </p:sp>
        <p:sp>
          <p:nvSpPr>
            <p:cNvPr id="147" name="object 147"/>
            <p:cNvSpPr/>
            <p:nvPr/>
          </p:nvSpPr>
          <p:spPr>
            <a:xfrm>
              <a:off x="6032776" y="4298172"/>
              <a:ext cx="521762" cy="301120"/>
            </a:xfrm>
            <a:custGeom>
              <a:avLst/>
              <a:gdLst/>
              <a:ahLst/>
              <a:cxnLst/>
              <a:rect l="l" t="t" r="r" b="b"/>
              <a:pathLst>
                <a:path w="860425" h="496570">
                  <a:moveTo>
                    <a:pt x="433892" y="0"/>
                  </a:moveTo>
                  <a:lnTo>
                    <a:pt x="0" y="250212"/>
                  </a:lnTo>
                  <a:lnTo>
                    <a:pt x="426185" y="496560"/>
                  </a:lnTo>
                  <a:lnTo>
                    <a:pt x="859827" y="246118"/>
                  </a:lnTo>
                  <a:lnTo>
                    <a:pt x="433892" y="0"/>
                  </a:lnTo>
                  <a:close/>
                </a:path>
              </a:pathLst>
            </a:custGeom>
            <a:solidFill>
              <a:srgbClr val="BCBEC0"/>
            </a:solidFill>
          </p:spPr>
          <p:txBody>
            <a:bodyPr wrap="square" lIns="0" tIns="0" rIns="0" bIns="0" rtlCol="0"/>
            <a:lstStyle/>
            <a:p>
              <a:endParaRPr sz="1092" dirty="0"/>
            </a:p>
          </p:txBody>
        </p:sp>
        <p:sp>
          <p:nvSpPr>
            <p:cNvPr id="148" name="object 148"/>
            <p:cNvSpPr/>
            <p:nvPr/>
          </p:nvSpPr>
          <p:spPr>
            <a:xfrm>
              <a:off x="5780630" y="4152590"/>
              <a:ext cx="515601" cy="297655"/>
            </a:xfrm>
            <a:custGeom>
              <a:avLst/>
              <a:gdLst/>
              <a:ahLst/>
              <a:cxnLst/>
              <a:rect l="l" t="t" r="r" b="b"/>
              <a:pathLst>
                <a:path w="850265" h="490854">
                  <a:moveTo>
                    <a:pt x="433892" y="0"/>
                  </a:moveTo>
                  <a:lnTo>
                    <a:pt x="0" y="250442"/>
                  </a:lnTo>
                  <a:lnTo>
                    <a:pt x="415809" y="490288"/>
                  </a:lnTo>
                  <a:lnTo>
                    <a:pt x="849701" y="240076"/>
                  </a:lnTo>
                  <a:lnTo>
                    <a:pt x="433892" y="0"/>
                  </a:lnTo>
                  <a:close/>
                </a:path>
              </a:pathLst>
            </a:custGeom>
            <a:solidFill>
              <a:srgbClr val="DCDDDE"/>
            </a:solidFill>
          </p:spPr>
          <p:txBody>
            <a:bodyPr wrap="square" lIns="0" tIns="0" rIns="0" bIns="0" rtlCol="0"/>
            <a:lstStyle/>
            <a:p>
              <a:endParaRPr sz="1092" dirty="0"/>
            </a:p>
          </p:txBody>
        </p:sp>
        <p:sp>
          <p:nvSpPr>
            <p:cNvPr id="149" name="object 149"/>
            <p:cNvSpPr/>
            <p:nvPr/>
          </p:nvSpPr>
          <p:spPr>
            <a:xfrm>
              <a:off x="7312095" y="5036797"/>
              <a:ext cx="515216" cy="297655"/>
            </a:xfrm>
            <a:custGeom>
              <a:avLst/>
              <a:gdLst/>
              <a:ahLst/>
              <a:cxnLst/>
              <a:rect l="l" t="t" r="r" b="b"/>
              <a:pathLst>
                <a:path w="849629" h="490854">
                  <a:moveTo>
                    <a:pt x="433892" y="0"/>
                  </a:moveTo>
                  <a:lnTo>
                    <a:pt x="0" y="250442"/>
                  </a:lnTo>
                  <a:lnTo>
                    <a:pt x="415809" y="490529"/>
                  </a:lnTo>
                  <a:lnTo>
                    <a:pt x="849471" y="240086"/>
                  </a:lnTo>
                  <a:lnTo>
                    <a:pt x="433892" y="0"/>
                  </a:lnTo>
                  <a:close/>
                </a:path>
              </a:pathLst>
            </a:custGeom>
            <a:solidFill>
              <a:srgbClr val="BCBEC0"/>
            </a:solidFill>
          </p:spPr>
          <p:txBody>
            <a:bodyPr wrap="square" lIns="0" tIns="0" rIns="0" bIns="0" rtlCol="0"/>
            <a:lstStyle/>
            <a:p>
              <a:endParaRPr sz="1092" dirty="0"/>
            </a:p>
          </p:txBody>
        </p:sp>
        <p:sp>
          <p:nvSpPr>
            <p:cNvPr id="150" name="object 150"/>
            <p:cNvSpPr/>
            <p:nvPr/>
          </p:nvSpPr>
          <p:spPr>
            <a:xfrm>
              <a:off x="7053807" y="4887696"/>
              <a:ext cx="521762" cy="301120"/>
            </a:xfrm>
            <a:custGeom>
              <a:avLst/>
              <a:gdLst/>
              <a:ahLst/>
              <a:cxnLst/>
              <a:rect l="l" t="t" r="r" b="b"/>
              <a:pathLst>
                <a:path w="860425" h="496570">
                  <a:moveTo>
                    <a:pt x="433641" y="0"/>
                  </a:moveTo>
                  <a:lnTo>
                    <a:pt x="0" y="250442"/>
                  </a:lnTo>
                  <a:lnTo>
                    <a:pt x="425934" y="496319"/>
                  </a:lnTo>
                  <a:lnTo>
                    <a:pt x="859827" y="245877"/>
                  </a:lnTo>
                  <a:lnTo>
                    <a:pt x="433641" y="0"/>
                  </a:lnTo>
                  <a:close/>
                </a:path>
              </a:pathLst>
            </a:custGeom>
            <a:solidFill>
              <a:srgbClr val="BCBEC0"/>
            </a:solidFill>
          </p:spPr>
          <p:txBody>
            <a:bodyPr wrap="square" lIns="0" tIns="0" rIns="0" bIns="0" rtlCol="0"/>
            <a:lstStyle/>
            <a:p>
              <a:endParaRPr sz="1092" dirty="0"/>
            </a:p>
          </p:txBody>
        </p:sp>
        <p:sp>
          <p:nvSpPr>
            <p:cNvPr id="151" name="object 151"/>
            <p:cNvSpPr/>
            <p:nvPr/>
          </p:nvSpPr>
          <p:spPr>
            <a:xfrm>
              <a:off x="7822671" y="5331488"/>
              <a:ext cx="521762" cy="301120"/>
            </a:xfrm>
            <a:custGeom>
              <a:avLst/>
              <a:gdLst/>
              <a:ahLst/>
              <a:cxnLst/>
              <a:rect l="l" t="t" r="r" b="b"/>
              <a:pathLst>
                <a:path w="860425" h="496570">
                  <a:moveTo>
                    <a:pt x="433892" y="0"/>
                  </a:moveTo>
                  <a:lnTo>
                    <a:pt x="0" y="250672"/>
                  </a:lnTo>
                  <a:lnTo>
                    <a:pt x="426196" y="496550"/>
                  </a:lnTo>
                  <a:lnTo>
                    <a:pt x="859837" y="246107"/>
                  </a:lnTo>
                  <a:lnTo>
                    <a:pt x="433892" y="0"/>
                  </a:lnTo>
                  <a:close/>
                </a:path>
              </a:pathLst>
            </a:custGeom>
            <a:solidFill>
              <a:srgbClr val="BCBEC0"/>
            </a:solidFill>
          </p:spPr>
          <p:txBody>
            <a:bodyPr wrap="square" lIns="0" tIns="0" rIns="0" bIns="0" rtlCol="0"/>
            <a:lstStyle/>
            <a:p>
              <a:endParaRPr sz="1092" dirty="0"/>
            </a:p>
          </p:txBody>
        </p:sp>
        <p:sp>
          <p:nvSpPr>
            <p:cNvPr id="152" name="object 152"/>
            <p:cNvSpPr/>
            <p:nvPr/>
          </p:nvSpPr>
          <p:spPr>
            <a:xfrm>
              <a:off x="7564240" y="5182382"/>
              <a:ext cx="521762" cy="301120"/>
            </a:xfrm>
            <a:custGeom>
              <a:avLst/>
              <a:gdLst/>
              <a:ahLst/>
              <a:cxnLst/>
              <a:rect l="l" t="t" r="r" b="b"/>
              <a:pathLst>
                <a:path w="860425" h="496570">
                  <a:moveTo>
                    <a:pt x="433662" y="0"/>
                  </a:moveTo>
                  <a:lnTo>
                    <a:pt x="0" y="250442"/>
                  </a:lnTo>
                  <a:lnTo>
                    <a:pt x="426175" y="496560"/>
                  </a:lnTo>
                  <a:lnTo>
                    <a:pt x="860068" y="245877"/>
                  </a:lnTo>
                  <a:lnTo>
                    <a:pt x="433662" y="0"/>
                  </a:lnTo>
                  <a:close/>
                </a:path>
              </a:pathLst>
            </a:custGeom>
            <a:solidFill>
              <a:srgbClr val="BCBEC0"/>
            </a:solidFill>
          </p:spPr>
          <p:txBody>
            <a:bodyPr wrap="square" lIns="0" tIns="0" rIns="0" bIns="0" rtlCol="0"/>
            <a:lstStyle/>
            <a:p>
              <a:endParaRPr sz="1092" dirty="0"/>
            </a:p>
          </p:txBody>
        </p:sp>
        <p:sp>
          <p:nvSpPr>
            <p:cNvPr id="153" name="object 153"/>
            <p:cNvSpPr/>
            <p:nvPr/>
          </p:nvSpPr>
          <p:spPr>
            <a:xfrm>
              <a:off x="8081116" y="5480728"/>
              <a:ext cx="515216" cy="297655"/>
            </a:xfrm>
            <a:custGeom>
              <a:avLst/>
              <a:gdLst/>
              <a:ahLst/>
              <a:cxnLst/>
              <a:rect l="l" t="t" r="r" b="b"/>
              <a:pathLst>
                <a:path w="849630" h="490854">
                  <a:moveTo>
                    <a:pt x="433641" y="0"/>
                  </a:moveTo>
                  <a:lnTo>
                    <a:pt x="0" y="250442"/>
                  </a:lnTo>
                  <a:lnTo>
                    <a:pt x="415558" y="490529"/>
                  </a:lnTo>
                  <a:lnTo>
                    <a:pt x="849450" y="240086"/>
                  </a:lnTo>
                  <a:lnTo>
                    <a:pt x="433641" y="0"/>
                  </a:lnTo>
                  <a:close/>
                </a:path>
              </a:pathLst>
            </a:custGeom>
            <a:solidFill>
              <a:srgbClr val="DCDDDE"/>
            </a:solidFill>
          </p:spPr>
          <p:txBody>
            <a:bodyPr wrap="square" lIns="0" tIns="0" rIns="0" bIns="0" rtlCol="0"/>
            <a:lstStyle/>
            <a:p>
              <a:endParaRPr sz="1092" dirty="0"/>
            </a:p>
          </p:txBody>
        </p:sp>
        <p:sp>
          <p:nvSpPr>
            <p:cNvPr id="154" name="object 154"/>
            <p:cNvSpPr/>
            <p:nvPr/>
          </p:nvSpPr>
          <p:spPr>
            <a:xfrm>
              <a:off x="6956596" y="3298639"/>
              <a:ext cx="1373910" cy="800934"/>
            </a:xfrm>
            <a:custGeom>
              <a:avLst/>
              <a:gdLst/>
              <a:ahLst/>
              <a:cxnLst/>
              <a:rect l="l" t="t" r="r" b="b"/>
              <a:pathLst>
                <a:path w="2265680" h="1320800">
                  <a:moveTo>
                    <a:pt x="946369" y="0"/>
                  </a:moveTo>
                  <a:lnTo>
                    <a:pt x="0" y="685801"/>
                  </a:lnTo>
                  <a:lnTo>
                    <a:pt x="1173189" y="1320724"/>
                  </a:lnTo>
                  <a:lnTo>
                    <a:pt x="2265407" y="699287"/>
                  </a:lnTo>
                  <a:lnTo>
                    <a:pt x="946369" y="0"/>
                  </a:lnTo>
                  <a:close/>
                </a:path>
              </a:pathLst>
            </a:custGeom>
            <a:solidFill>
              <a:srgbClr val="999999"/>
            </a:solidFill>
          </p:spPr>
          <p:txBody>
            <a:bodyPr wrap="square" lIns="0" tIns="0" rIns="0" bIns="0" rtlCol="0"/>
            <a:lstStyle/>
            <a:p>
              <a:endParaRPr sz="1092" dirty="0"/>
            </a:p>
          </p:txBody>
        </p:sp>
        <p:sp>
          <p:nvSpPr>
            <p:cNvPr id="155" name="object 155"/>
            <p:cNvSpPr/>
            <p:nvPr/>
          </p:nvSpPr>
          <p:spPr>
            <a:xfrm>
              <a:off x="7668020" y="3722684"/>
              <a:ext cx="662696" cy="626499"/>
            </a:xfrm>
            <a:custGeom>
              <a:avLst/>
              <a:gdLst/>
              <a:ahLst/>
              <a:cxnLst/>
              <a:rect l="l" t="t" r="r" b="b"/>
              <a:pathLst>
                <a:path w="1092834" h="1033145">
                  <a:moveTo>
                    <a:pt x="1092218" y="0"/>
                  </a:moveTo>
                  <a:lnTo>
                    <a:pt x="0" y="621436"/>
                  </a:lnTo>
                  <a:lnTo>
                    <a:pt x="0" y="1032670"/>
                  </a:lnTo>
                  <a:lnTo>
                    <a:pt x="1092218" y="411484"/>
                  </a:lnTo>
                  <a:lnTo>
                    <a:pt x="1092218" y="0"/>
                  </a:lnTo>
                  <a:close/>
                </a:path>
              </a:pathLst>
            </a:custGeom>
            <a:solidFill>
              <a:srgbClr val="BCC5DC"/>
            </a:solidFill>
          </p:spPr>
          <p:txBody>
            <a:bodyPr wrap="square" lIns="0" tIns="0" rIns="0" bIns="0" rtlCol="0"/>
            <a:lstStyle/>
            <a:p>
              <a:endParaRPr sz="1092" dirty="0"/>
            </a:p>
          </p:txBody>
        </p:sp>
        <p:sp>
          <p:nvSpPr>
            <p:cNvPr id="156" name="object 156"/>
            <p:cNvSpPr/>
            <p:nvPr/>
          </p:nvSpPr>
          <p:spPr>
            <a:xfrm>
              <a:off x="6956602" y="3714503"/>
              <a:ext cx="711599" cy="634586"/>
            </a:xfrm>
            <a:custGeom>
              <a:avLst/>
              <a:gdLst/>
              <a:ahLst/>
              <a:cxnLst/>
              <a:rect l="l" t="t" r="r" b="b"/>
              <a:pathLst>
                <a:path w="1173479" h="1046479">
                  <a:moveTo>
                    <a:pt x="0" y="0"/>
                  </a:moveTo>
                  <a:lnTo>
                    <a:pt x="0" y="410992"/>
                  </a:lnTo>
                  <a:lnTo>
                    <a:pt x="1173178" y="1046156"/>
                  </a:lnTo>
                  <a:lnTo>
                    <a:pt x="1173178" y="634933"/>
                  </a:lnTo>
                  <a:lnTo>
                    <a:pt x="0" y="0"/>
                  </a:lnTo>
                  <a:close/>
                </a:path>
              </a:pathLst>
            </a:custGeom>
            <a:solidFill>
              <a:srgbClr val="F7F1F1"/>
            </a:solidFill>
          </p:spPr>
          <p:txBody>
            <a:bodyPr wrap="square" lIns="0" tIns="0" rIns="0" bIns="0" rtlCol="0"/>
            <a:lstStyle/>
            <a:p>
              <a:endParaRPr sz="1092" dirty="0"/>
            </a:p>
          </p:txBody>
        </p:sp>
        <p:sp>
          <p:nvSpPr>
            <p:cNvPr id="157" name="object 157"/>
            <p:cNvSpPr/>
            <p:nvPr/>
          </p:nvSpPr>
          <p:spPr>
            <a:xfrm>
              <a:off x="7511239" y="4035580"/>
              <a:ext cx="99783" cy="142185"/>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58" name="object 158"/>
            <p:cNvSpPr/>
            <p:nvPr/>
          </p:nvSpPr>
          <p:spPr>
            <a:xfrm>
              <a:off x="7289582" y="3917388"/>
              <a:ext cx="155672" cy="281095"/>
            </a:xfrm>
            <a:prstGeom prst="rect">
              <a:avLst/>
            </a:prstGeom>
            <a:blipFill>
              <a:blip r:embed="rId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59" name="object 159"/>
            <p:cNvSpPr/>
            <p:nvPr/>
          </p:nvSpPr>
          <p:spPr>
            <a:xfrm>
              <a:off x="7123967" y="3829104"/>
              <a:ext cx="155818" cy="280942"/>
            </a:xfrm>
            <a:prstGeom prst="rect">
              <a:avLst/>
            </a:prstGeom>
            <a:blipFill>
              <a:blip r:embed="rId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60" name="object 160"/>
            <p:cNvSpPr/>
            <p:nvPr/>
          </p:nvSpPr>
          <p:spPr>
            <a:xfrm>
              <a:off x="6958206" y="3740668"/>
              <a:ext cx="155824" cy="280949"/>
            </a:xfrm>
            <a:prstGeom prst="rect">
              <a:avLst/>
            </a:prstGeom>
            <a:blipFill>
              <a:blip r:embed="rId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61" name="object 161"/>
            <p:cNvSpPr/>
            <p:nvPr/>
          </p:nvSpPr>
          <p:spPr>
            <a:xfrm>
              <a:off x="7695503" y="4028335"/>
              <a:ext cx="150992" cy="243689"/>
            </a:xfrm>
            <a:prstGeom prst="rect">
              <a:avLst/>
            </a:prstGeom>
            <a:blipFill>
              <a:blip r:embed="rId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62" name="object 162"/>
            <p:cNvSpPr/>
            <p:nvPr/>
          </p:nvSpPr>
          <p:spPr>
            <a:xfrm>
              <a:off x="7856146" y="3934932"/>
              <a:ext cx="150999" cy="273050"/>
            </a:xfrm>
            <a:prstGeom prst="rect">
              <a:avLst/>
            </a:prstGeom>
            <a:blipFill>
              <a:blip r:embed="rId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63" name="object 163"/>
            <p:cNvSpPr/>
            <p:nvPr/>
          </p:nvSpPr>
          <p:spPr>
            <a:xfrm>
              <a:off x="8016796" y="3841677"/>
              <a:ext cx="150999" cy="272910"/>
            </a:xfrm>
            <a:prstGeom prst="rect">
              <a:avLst/>
            </a:prstGeom>
            <a:blipFill>
              <a:blip r:embed="rId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64" name="object 164"/>
            <p:cNvSpPr/>
            <p:nvPr/>
          </p:nvSpPr>
          <p:spPr>
            <a:xfrm>
              <a:off x="8177441" y="3748269"/>
              <a:ext cx="151005" cy="272903"/>
            </a:xfrm>
            <a:prstGeom prst="rect">
              <a:avLst/>
            </a:prstGeom>
            <a:blipFill>
              <a:blip r:embed="rId1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65" name="object 165"/>
            <p:cNvSpPr/>
            <p:nvPr/>
          </p:nvSpPr>
          <p:spPr>
            <a:xfrm>
              <a:off x="7674155" y="3834372"/>
              <a:ext cx="656920" cy="395076"/>
            </a:xfrm>
            <a:custGeom>
              <a:avLst/>
              <a:gdLst/>
              <a:ahLst/>
              <a:cxnLst/>
              <a:rect l="l" t="t" r="r" b="b"/>
              <a:pathLst>
                <a:path w="1083309" h="651509">
                  <a:moveTo>
                    <a:pt x="1083066" y="0"/>
                  </a:moveTo>
                  <a:lnTo>
                    <a:pt x="0" y="617551"/>
                  </a:lnTo>
                  <a:lnTo>
                    <a:pt x="0" y="651310"/>
                  </a:lnTo>
                  <a:lnTo>
                    <a:pt x="1083066" y="33967"/>
                  </a:lnTo>
                  <a:lnTo>
                    <a:pt x="1083066" y="0"/>
                  </a:lnTo>
                  <a:close/>
                </a:path>
              </a:pathLst>
            </a:custGeom>
            <a:solidFill>
              <a:srgbClr val="BCC5DC"/>
            </a:solidFill>
          </p:spPr>
          <p:txBody>
            <a:bodyPr wrap="square" lIns="0" tIns="0" rIns="0" bIns="0" rtlCol="0"/>
            <a:lstStyle/>
            <a:p>
              <a:endParaRPr sz="1092" dirty="0"/>
            </a:p>
          </p:txBody>
        </p:sp>
        <p:sp>
          <p:nvSpPr>
            <p:cNvPr id="166" name="object 166"/>
            <p:cNvSpPr/>
            <p:nvPr/>
          </p:nvSpPr>
          <p:spPr>
            <a:xfrm>
              <a:off x="6958933" y="3828520"/>
              <a:ext cx="667702" cy="379289"/>
            </a:xfrm>
            <a:custGeom>
              <a:avLst/>
              <a:gdLst/>
              <a:ahLst/>
              <a:cxnLst/>
              <a:rect l="l" t="t" r="r" b="b"/>
              <a:pathLst>
                <a:path w="1101090" h="625475">
                  <a:moveTo>
                    <a:pt x="0" y="0"/>
                  </a:moveTo>
                  <a:lnTo>
                    <a:pt x="0" y="35663"/>
                  </a:lnTo>
                  <a:lnTo>
                    <a:pt x="1100877" y="625300"/>
                  </a:lnTo>
                  <a:lnTo>
                    <a:pt x="1100877" y="589615"/>
                  </a:lnTo>
                  <a:lnTo>
                    <a:pt x="0" y="0"/>
                  </a:lnTo>
                  <a:close/>
                </a:path>
              </a:pathLst>
            </a:custGeom>
            <a:solidFill>
              <a:srgbClr val="F7F1F1"/>
            </a:solidFill>
          </p:spPr>
          <p:txBody>
            <a:bodyPr wrap="square" lIns="0" tIns="0" rIns="0" bIns="0" rtlCol="0"/>
            <a:lstStyle/>
            <a:p>
              <a:endParaRPr sz="1092" dirty="0"/>
            </a:p>
          </p:txBody>
        </p:sp>
        <p:sp>
          <p:nvSpPr>
            <p:cNvPr id="167" name="object 167"/>
            <p:cNvSpPr/>
            <p:nvPr/>
          </p:nvSpPr>
          <p:spPr>
            <a:xfrm>
              <a:off x="6956596" y="3032600"/>
              <a:ext cx="1373910" cy="801319"/>
            </a:xfrm>
            <a:custGeom>
              <a:avLst/>
              <a:gdLst/>
              <a:ahLst/>
              <a:cxnLst/>
              <a:rect l="l" t="t" r="r" b="b"/>
              <a:pathLst>
                <a:path w="2265680" h="1321435">
                  <a:moveTo>
                    <a:pt x="946369" y="0"/>
                  </a:moveTo>
                  <a:lnTo>
                    <a:pt x="0" y="685790"/>
                  </a:lnTo>
                  <a:lnTo>
                    <a:pt x="1173189" y="1321216"/>
                  </a:lnTo>
                  <a:lnTo>
                    <a:pt x="2265407" y="699528"/>
                  </a:lnTo>
                  <a:lnTo>
                    <a:pt x="946369" y="0"/>
                  </a:lnTo>
                  <a:close/>
                </a:path>
              </a:pathLst>
            </a:custGeom>
            <a:solidFill>
              <a:srgbClr val="999999"/>
            </a:solidFill>
          </p:spPr>
          <p:txBody>
            <a:bodyPr wrap="square" lIns="0" tIns="0" rIns="0" bIns="0" rtlCol="0"/>
            <a:lstStyle/>
            <a:p>
              <a:endParaRPr sz="1092" dirty="0"/>
            </a:p>
          </p:txBody>
        </p:sp>
        <p:sp>
          <p:nvSpPr>
            <p:cNvPr id="168" name="object 168"/>
            <p:cNvSpPr/>
            <p:nvPr/>
          </p:nvSpPr>
          <p:spPr>
            <a:xfrm>
              <a:off x="7668020" y="3456795"/>
              <a:ext cx="662696" cy="626499"/>
            </a:xfrm>
            <a:custGeom>
              <a:avLst/>
              <a:gdLst/>
              <a:ahLst/>
              <a:cxnLst/>
              <a:rect l="l" t="t" r="r" b="b"/>
              <a:pathLst>
                <a:path w="1092834" h="1033145">
                  <a:moveTo>
                    <a:pt x="1092218" y="0"/>
                  </a:moveTo>
                  <a:lnTo>
                    <a:pt x="0" y="621687"/>
                  </a:lnTo>
                  <a:lnTo>
                    <a:pt x="0" y="1032680"/>
                  </a:lnTo>
                  <a:lnTo>
                    <a:pt x="1092218" y="411003"/>
                  </a:lnTo>
                  <a:lnTo>
                    <a:pt x="1092218" y="0"/>
                  </a:lnTo>
                  <a:close/>
                </a:path>
              </a:pathLst>
            </a:custGeom>
            <a:solidFill>
              <a:srgbClr val="BCC5DC"/>
            </a:solidFill>
          </p:spPr>
          <p:txBody>
            <a:bodyPr wrap="square" lIns="0" tIns="0" rIns="0" bIns="0" rtlCol="0"/>
            <a:lstStyle/>
            <a:p>
              <a:endParaRPr sz="1092" dirty="0"/>
            </a:p>
          </p:txBody>
        </p:sp>
        <p:sp>
          <p:nvSpPr>
            <p:cNvPr id="169" name="object 169"/>
            <p:cNvSpPr/>
            <p:nvPr/>
          </p:nvSpPr>
          <p:spPr>
            <a:xfrm>
              <a:off x="6956596" y="3448468"/>
              <a:ext cx="711599" cy="634586"/>
            </a:xfrm>
            <a:custGeom>
              <a:avLst/>
              <a:gdLst/>
              <a:ahLst/>
              <a:cxnLst/>
              <a:rect l="l" t="t" r="r" b="b"/>
              <a:pathLst>
                <a:path w="1173479" h="1046479">
                  <a:moveTo>
                    <a:pt x="0" y="0"/>
                  </a:moveTo>
                  <a:lnTo>
                    <a:pt x="0" y="410751"/>
                  </a:lnTo>
                  <a:lnTo>
                    <a:pt x="1173189" y="1046407"/>
                  </a:lnTo>
                  <a:lnTo>
                    <a:pt x="1173189" y="635415"/>
                  </a:lnTo>
                  <a:lnTo>
                    <a:pt x="0" y="0"/>
                  </a:lnTo>
                  <a:close/>
                </a:path>
              </a:pathLst>
            </a:custGeom>
            <a:solidFill>
              <a:srgbClr val="F7F1F1"/>
            </a:solidFill>
          </p:spPr>
          <p:txBody>
            <a:bodyPr wrap="square" lIns="0" tIns="0" rIns="0" bIns="0" rtlCol="0"/>
            <a:lstStyle/>
            <a:p>
              <a:endParaRPr sz="1092" dirty="0"/>
            </a:p>
          </p:txBody>
        </p:sp>
        <p:sp>
          <p:nvSpPr>
            <p:cNvPr id="170" name="object 170"/>
            <p:cNvSpPr/>
            <p:nvPr/>
          </p:nvSpPr>
          <p:spPr>
            <a:xfrm>
              <a:off x="7455046" y="3739792"/>
              <a:ext cx="155977" cy="281240"/>
            </a:xfrm>
            <a:prstGeom prst="rect">
              <a:avLst/>
            </a:prstGeom>
            <a:blipFill>
              <a:blip r:embed="rId1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71" name="object 171"/>
            <p:cNvSpPr/>
            <p:nvPr/>
          </p:nvSpPr>
          <p:spPr>
            <a:xfrm>
              <a:off x="7289582" y="3651501"/>
              <a:ext cx="155672" cy="280796"/>
            </a:xfrm>
            <a:prstGeom prst="rect">
              <a:avLst/>
            </a:prstGeom>
            <a:blipFill>
              <a:blip r:embed="rId1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72" name="object 172"/>
            <p:cNvSpPr/>
            <p:nvPr/>
          </p:nvSpPr>
          <p:spPr>
            <a:xfrm>
              <a:off x="7123967" y="3563065"/>
              <a:ext cx="155818" cy="280942"/>
            </a:xfrm>
            <a:prstGeom prst="rect">
              <a:avLst/>
            </a:prstGeom>
            <a:blipFill>
              <a:blip r:embed="rId1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73" name="object 173"/>
            <p:cNvSpPr/>
            <p:nvPr/>
          </p:nvSpPr>
          <p:spPr>
            <a:xfrm>
              <a:off x="6958205" y="3474628"/>
              <a:ext cx="155824" cy="281088"/>
            </a:xfrm>
            <a:prstGeom prst="rect">
              <a:avLst/>
            </a:prstGeom>
            <a:blipFill>
              <a:blip r:embed="rId1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74" name="object 174"/>
            <p:cNvSpPr/>
            <p:nvPr/>
          </p:nvSpPr>
          <p:spPr>
            <a:xfrm>
              <a:off x="7695503" y="3762441"/>
              <a:ext cx="150992" cy="272923"/>
            </a:xfrm>
            <a:prstGeom prst="rect">
              <a:avLst/>
            </a:prstGeom>
            <a:blipFill>
              <a:blip r:embed="rId1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75" name="object 175"/>
            <p:cNvSpPr/>
            <p:nvPr/>
          </p:nvSpPr>
          <p:spPr>
            <a:xfrm>
              <a:off x="7856147" y="3669039"/>
              <a:ext cx="150999" cy="272910"/>
            </a:xfrm>
            <a:prstGeom prst="rect">
              <a:avLst/>
            </a:prstGeom>
            <a:blipFill>
              <a:blip r:embed="rId1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76" name="object 176"/>
            <p:cNvSpPr/>
            <p:nvPr/>
          </p:nvSpPr>
          <p:spPr>
            <a:xfrm>
              <a:off x="8016798" y="3575644"/>
              <a:ext cx="150999" cy="272903"/>
            </a:xfrm>
            <a:prstGeom prst="rect">
              <a:avLst/>
            </a:prstGeom>
            <a:blipFill>
              <a:blip r:embed="rId1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77" name="object 177"/>
            <p:cNvSpPr/>
            <p:nvPr/>
          </p:nvSpPr>
          <p:spPr>
            <a:xfrm>
              <a:off x="8177442" y="3482382"/>
              <a:ext cx="151005" cy="272910"/>
            </a:xfrm>
            <a:prstGeom prst="rect">
              <a:avLst/>
            </a:prstGeom>
            <a:blipFill>
              <a:blip r:embed="rId1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78" name="object 178"/>
            <p:cNvSpPr/>
            <p:nvPr/>
          </p:nvSpPr>
          <p:spPr>
            <a:xfrm>
              <a:off x="7674160" y="3568474"/>
              <a:ext cx="656920" cy="395076"/>
            </a:xfrm>
            <a:custGeom>
              <a:avLst/>
              <a:gdLst/>
              <a:ahLst/>
              <a:cxnLst/>
              <a:rect l="l" t="t" r="r" b="b"/>
              <a:pathLst>
                <a:path w="1083309" h="651509">
                  <a:moveTo>
                    <a:pt x="1083056" y="0"/>
                  </a:moveTo>
                  <a:lnTo>
                    <a:pt x="0" y="617583"/>
                  </a:lnTo>
                  <a:lnTo>
                    <a:pt x="0" y="651310"/>
                  </a:lnTo>
                  <a:lnTo>
                    <a:pt x="1083056" y="33747"/>
                  </a:lnTo>
                  <a:lnTo>
                    <a:pt x="1083056" y="0"/>
                  </a:lnTo>
                  <a:close/>
                </a:path>
              </a:pathLst>
            </a:custGeom>
            <a:solidFill>
              <a:srgbClr val="BCC5DC"/>
            </a:solidFill>
          </p:spPr>
          <p:txBody>
            <a:bodyPr wrap="square" lIns="0" tIns="0" rIns="0" bIns="0" rtlCol="0"/>
            <a:lstStyle/>
            <a:p>
              <a:endParaRPr sz="1092" dirty="0"/>
            </a:p>
          </p:txBody>
        </p:sp>
        <p:sp>
          <p:nvSpPr>
            <p:cNvPr id="179" name="object 179"/>
            <p:cNvSpPr/>
            <p:nvPr/>
          </p:nvSpPr>
          <p:spPr>
            <a:xfrm>
              <a:off x="6958933" y="3562340"/>
              <a:ext cx="667702" cy="379674"/>
            </a:xfrm>
            <a:custGeom>
              <a:avLst/>
              <a:gdLst/>
              <a:ahLst/>
              <a:cxnLst/>
              <a:rect l="l" t="t" r="r" b="b"/>
              <a:pathLst>
                <a:path w="1101090" h="626110">
                  <a:moveTo>
                    <a:pt x="0" y="0"/>
                  </a:moveTo>
                  <a:lnTo>
                    <a:pt x="0" y="35904"/>
                  </a:lnTo>
                  <a:lnTo>
                    <a:pt x="1100877" y="625530"/>
                  </a:lnTo>
                  <a:lnTo>
                    <a:pt x="1100877" y="589605"/>
                  </a:lnTo>
                  <a:lnTo>
                    <a:pt x="0" y="0"/>
                  </a:lnTo>
                  <a:close/>
                </a:path>
              </a:pathLst>
            </a:custGeom>
            <a:solidFill>
              <a:srgbClr val="F7F1F1"/>
            </a:solidFill>
          </p:spPr>
          <p:txBody>
            <a:bodyPr wrap="square" lIns="0" tIns="0" rIns="0" bIns="0" rtlCol="0"/>
            <a:lstStyle/>
            <a:p>
              <a:endParaRPr sz="1092" dirty="0"/>
            </a:p>
          </p:txBody>
        </p:sp>
        <p:sp>
          <p:nvSpPr>
            <p:cNvPr id="180" name="object 180"/>
            <p:cNvSpPr/>
            <p:nvPr/>
          </p:nvSpPr>
          <p:spPr>
            <a:xfrm>
              <a:off x="6956596" y="2761304"/>
              <a:ext cx="1373910" cy="801319"/>
            </a:xfrm>
            <a:custGeom>
              <a:avLst/>
              <a:gdLst/>
              <a:ahLst/>
              <a:cxnLst/>
              <a:rect l="l" t="t" r="r" b="b"/>
              <a:pathLst>
                <a:path w="2265680" h="1321435">
                  <a:moveTo>
                    <a:pt x="946369" y="0"/>
                  </a:moveTo>
                  <a:lnTo>
                    <a:pt x="0" y="685790"/>
                  </a:lnTo>
                  <a:lnTo>
                    <a:pt x="1173189" y="1320965"/>
                  </a:lnTo>
                  <a:lnTo>
                    <a:pt x="2265407" y="699528"/>
                  </a:lnTo>
                  <a:lnTo>
                    <a:pt x="946369" y="0"/>
                  </a:lnTo>
                  <a:close/>
                </a:path>
              </a:pathLst>
            </a:custGeom>
            <a:solidFill>
              <a:srgbClr val="999999"/>
            </a:solidFill>
          </p:spPr>
          <p:txBody>
            <a:bodyPr wrap="square" lIns="0" tIns="0" rIns="0" bIns="0" rtlCol="0"/>
            <a:lstStyle/>
            <a:p>
              <a:endParaRPr sz="1092" dirty="0"/>
            </a:p>
          </p:txBody>
        </p:sp>
        <p:sp>
          <p:nvSpPr>
            <p:cNvPr id="181" name="object 181"/>
            <p:cNvSpPr/>
            <p:nvPr/>
          </p:nvSpPr>
          <p:spPr>
            <a:xfrm>
              <a:off x="7666562" y="3187400"/>
              <a:ext cx="662311" cy="626499"/>
            </a:xfrm>
            <a:custGeom>
              <a:avLst/>
              <a:gdLst/>
              <a:ahLst/>
              <a:cxnLst/>
              <a:rect l="l" t="t" r="r" b="b"/>
              <a:pathLst>
                <a:path w="1092200" h="1033145">
                  <a:moveTo>
                    <a:pt x="1092197" y="0"/>
                  </a:moveTo>
                  <a:lnTo>
                    <a:pt x="0" y="621677"/>
                  </a:lnTo>
                  <a:lnTo>
                    <a:pt x="0" y="1032649"/>
                  </a:lnTo>
                  <a:lnTo>
                    <a:pt x="1092197" y="410992"/>
                  </a:lnTo>
                  <a:lnTo>
                    <a:pt x="1092197" y="0"/>
                  </a:lnTo>
                  <a:close/>
                </a:path>
              </a:pathLst>
            </a:custGeom>
            <a:solidFill>
              <a:srgbClr val="BCC5DC"/>
            </a:solidFill>
          </p:spPr>
          <p:txBody>
            <a:bodyPr wrap="square" lIns="0" tIns="0" rIns="0" bIns="0" rtlCol="0"/>
            <a:lstStyle/>
            <a:p>
              <a:endParaRPr sz="1092" dirty="0"/>
            </a:p>
          </p:txBody>
        </p:sp>
        <p:sp>
          <p:nvSpPr>
            <p:cNvPr id="182" name="object 182"/>
            <p:cNvSpPr/>
            <p:nvPr/>
          </p:nvSpPr>
          <p:spPr>
            <a:xfrm>
              <a:off x="6956596" y="3177169"/>
              <a:ext cx="711599" cy="634586"/>
            </a:xfrm>
            <a:custGeom>
              <a:avLst/>
              <a:gdLst/>
              <a:ahLst/>
              <a:cxnLst/>
              <a:rect l="l" t="t" r="r" b="b"/>
              <a:pathLst>
                <a:path w="1173479" h="1046479">
                  <a:moveTo>
                    <a:pt x="0" y="0"/>
                  </a:moveTo>
                  <a:lnTo>
                    <a:pt x="0" y="410992"/>
                  </a:lnTo>
                  <a:lnTo>
                    <a:pt x="1173189" y="1046397"/>
                  </a:lnTo>
                  <a:lnTo>
                    <a:pt x="1173189" y="635174"/>
                  </a:lnTo>
                  <a:lnTo>
                    <a:pt x="0" y="0"/>
                  </a:lnTo>
                  <a:close/>
                </a:path>
              </a:pathLst>
            </a:custGeom>
            <a:solidFill>
              <a:srgbClr val="F7F1F1"/>
            </a:solidFill>
          </p:spPr>
          <p:txBody>
            <a:bodyPr wrap="square" lIns="0" tIns="0" rIns="0" bIns="0" rtlCol="0"/>
            <a:lstStyle/>
            <a:p>
              <a:endParaRPr sz="1092" dirty="0"/>
            </a:p>
          </p:txBody>
        </p:sp>
        <p:sp>
          <p:nvSpPr>
            <p:cNvPr id="183" name="object 183"/>
            <p:cNvSpPr/>
            <p:nvPr/>
          </p:nvSpPr>
          <p:spPr>
            <a:xfrm>
              <a:off x="7455046" y="3468634"/>
              <a:ext cx="155977" cy="280955"/>
            </a:xfrm>
            <a:prstGeom prst="rect">
              <a:avLst/>
            </a:prstGeom>
            <a:blipFill>
              <a:blip r:embed="rId1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84" name="object 184"/>
            <p:cNvSpPr/>
            <p:nvPr/>
          </p:nvSpPr>
          <p:spPr>
            <a:xfrm>
              <a:off x="7289582" y="3380350"/>
              <a:ext cx="155672" cy="280949"/>
            </a:xfrm>
            <a:prstGeom prst="rect">
              <a:avLst/>
            </a:prstGeom>
            <a:blipFill>
              <a:blip r:embed="rId2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85" name="object 185"/>
            <p:cNvSpPr/>
            <p:nvPr/>
          </p:nvSpPr>
          <p:spPr>
            <a:xfrm>
              <a:off x="7123966" y="3291920"/>
              <a:ext cx="155818" cy="280936"/>
            </a:xfrm>
            <a:prstGeom prst="rect">
              <a:avLst/>
            </a:prstGeom>
            <a:blipFill>
              <a:blip r:embed="rId2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86" name="object 186"/>
            <p:cNvSpPr/>
            <p:nvPr/>
          </p:nvSpPr>
          <p:spPr>
            <a:xfrm>
              <a:off x="6958206" y="3203477"/>
              <a:ext cx="155824" cy="280949"/>
            </a:xfrm>
            <a:prstGeom prst="rect">
              <a:avLst/>
            </a:prstGeom>
            <a:blipFill>
              <a:blip r:embed="rId2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87" name="object 187"/>
            <p:cNvSpPr/>
            <p:nvPr/>
          </p:nvSpPr>
          <p:spPr>
            <a:xfrm>
              <a:off x="7695504" y="3491010"/>
              <a:ext cx="150992" cy="273050"/>
            </a:xfrm>
            <a:prstGeom prst="rect">
              <a:avLst/>
            </a:prstGeom>
            <a:blipFill>
              <a:blip r:embed="rId2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88" name="object 188"/>
            <p:cNvSpPr/>
            <p:nvPr/>
          </p:nvSpPr>
          <p:spPr>
            <a:xfrm>
              <a:off x="7856147" y="3397742"/>
              <a:ext cx="150999" cy="272910"/>
            </a:xfrm>
            <a:prstGeom prst="rect">
              <a:avLst/>
            </a:prstGeom>
            <a:blipFill>
              <a:blip r:embed="rId2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89" name="object 189"/>
            <p:cNvSpPr/>
            <p:nvPr/>
          </p:nvSpPr>
          <p:spPr>
            <a:xfrm>
              <a:off x="8016796" y="3304340"/>
              <a:ext cx="150999" cy="272910"/>
            </a:xfrm>
            <a:prstGeom prst="rect">
              <a:avLst/>
            </a:prstGeom>
            <a:blipFill>
              <a:blip r:embed="rId2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90" name="object 190"/>
            <p:cNvSpPr/>
            <p:nvPr/>
          </p:nvSpPr>
          <p:spPr>
            <a:xfrm>
              <a:off x="8177440" y="3211077"/>
              <a:ext cx="151005" cy="273056"/>
            </a:xfrm>
            <a:prstGeom prst="rect">
              <a:avLst/>
            </a:prstGeom>
            <a:blipFill>
              <a:blip r:embed="rId2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91" name="object 191"/>
            <p:cNvSpPr/>
            <p:nvPr/>
          </p:nvSpPr>
          <p:spPr>
            <a:xfrm>
              <a:off x="7674160" y="3297324"/>
              <a:ext cx="656920" cy="395076"/>
            </a:xfrm>
            <a:custGeom>
              <a:avLst/>
              <a:gdLst/>
              <a:ahLst/>
              <a:cxnLst/>
              <a:rect l="l" t="t" r="r" b="b"/>
              <a:pathLst>
                <a:path w="1083309" h="651510">
                  <a:moveTo>
                    <a:pt x="1083056" y="0"/>
                  </a:moveTo>
                  <a:lnTo>
                    <a:pt x="0" y="617572"/>
                  </a:lnTo>
                  <a:lnTo>
                    <a:pt x="0" y="651079"/>
                  </a:lnTo>
                  <a:lnTo>
                    <a:pt x="1083056" y="33747"/>
                  </a:lnTo>
                  <a:lnTo>
                    <a:pt x="1083056" y="0"/>
                  </a:lnTo>
                  <a:close/>
                </a:path>
              </a:pathLst>
            </a:custGeom>
            <a:solidFill>
              <a:srgbClr val="BCC5DC"/>
            </a:solidFill>
          </p:spPr>
          <p:txBody>
            <a:bodyPr wrap="square" lIns="0" tIns="0" rIns="0" bIns="0" rtlCol="0"/>
            <a:lstStyle/>
            <a:p>
              <a:endParaRPr sz="1092" dirty="0"/>
            </a:p>
          </p:txBody>
        </p:sp>
        <p:sp>
          <p:nvSpPr>
            <p:cNvPr id="192" name="object 192"/>
            <p:cNvSpPr/>
            <p:nvPr/>
          </p:nvSpPr>
          <p:spPr>
            <a:xfrm>
              <a:off x="6958933" y="3291179"/>
              <a:ext cx="667702" cy="379289"/>
            </a:xfrm>
            <a:custGeom>
              <a:avLst/>
              <a:gdLst/>
              <a:ahLst/>
              <a:cxnLst/>
              <a:rect l="l" t="t" r="r" b="b"/>
              <a:pathLst>
                <a:path w="1101090" h="625475">
                  <a:moveTo>
                    <a:pt x="0" y="0"/>
                  </a:moveTo>
                  <a:lnTo>
                    <a:pt x="0" y="35925"/>
                  </a:lnTo>
                  <a:lnTo>
                    <a:pt x="1100877" y="625300"/>
                  </a:lnTo>
                  <a:lnTo>
                    <a:pt x="1100877" y="589866"/>
                  </a:lnTo>
                  <a:lnTo>
                    <a:pt x="0" y="0"/>
                  </a:lnTo>
                  <a:close/>
                </a:path>
              </a:pathLst>
            </a:custGeom>
            <a:solidFill>
              <a:srgbClr val="F7F1F1"/>
            </a:solidFill>
          </p:spPr>
          <p:txBody>
            <a:bodyPr wrap="square" lIns="0" tIns="0" rIns="0" bIns="0" rtlCol="0"/>
            <a:lstStyle/>
            <a:p>
              <a:endParaRPr sz="1092" dirty="0"/>
            </a:p>
          </p:txBody>
        </p:sp>
        <p:sp>
          <p:nvSpPr>
            <p:cNvPr id="193" name="object 193"/>
            <p:cNvSpPr/>
            <p:nvPr/>
          </p:nvSpPr>
          <p:spPr>
            <a:xfrm>
              <a:off x="6956603" y="2492049"/>
              <a:ext cx="1373910" cy="801319"/>
            </a:xfrm>
            <a:custGeom>
              <a:avLst/>
              <a:gdLst/>
              <a:ahLst/>
              <a:cxnLst/>
              <a:rect l="l" t="t" r="r" b="b"/>
              <a:pathLst>
                <a:path w="2265680" h="1321435">
                  <a:moveTo>
                    <a:pt x="946358" y="0"/>
                  </a:moveTo>
                  <a:lnTo>
                    <a:pt x="0" y="685801"/>
                  </a:lnTo>
                  <a:lnTo>
                    <a:pt x="1173178" y="1321205"/>
                  </a:lnTo>
                  <a:lnTo>
                    <a:pt x="2265396" y="699528"/>
                  </a:lnTo>
                  <a:lnTo>
                    <a:pt x="946358" y="0"/>
                  </a:lnTo>
                  <a:close/>
                </a:path>
              </a:pathLst>
            </a:custGeom>
            <a:solidFill>
              <a:srgbClr val="999999"/>
            </a:solidFill>
          </p:spPr>
          <p:txBody>
            <a:bodyPr wrap="square" lIns="0" tIns="0" rIns="0" bIns="0" rtlCol="0"/>
            <a:lstStyle/>
            <a:p>
              <a:endParaRPr sz="1092" dirty="0"/>
            </a:p>
          </p:txBody>
        </p:sp>
        <p:sp>
          <p:nvSpPr>
            <p:cNvPr id="194" name="object 194"/>
            <p:cNvSpPr/>
            <p:nvPr/>
          </p:nvSpPr>
          <p:spPr>
            <a:xfrm>
              <a:off x="7668020" y="2916244"/>
              <a:ext cx="662696" cy="626499"/>
            </a:xfrm>
            <a:custGeom>
              <a:avLst/>
              <a:gdLst/>
              <a:ahLst/>
              <a:cxnLst/>
              <a:rect l="l" t="t" r="r" b="b"/>
              <a:pathLst>
                <a:path w="1092834" h="1033145">
                  <a:moveTo>
                    <a:pt x="1092218" y="0"/>
                  </a:moveTo>
                  <a:lnTo>
                    <a:pt x="0" y="621677"/>
                  </a:lnTo>
                  <a:lnTo>
                    <a:pt x="0" y="1032910"/>
                  </a:lnTo>
                  <a:lnTo>
                    <a:pt x="1092218" y="411003"/>
                  </a:lnTo>
                  <a:lnTo>
                    <a:pt x="1092218" y="0"/>
                  </a:lnTo>
                  <a:close/>
                </a:path>
              </a:pathLst>
            </a:custGeom>
            <a:solidFill>
              <a:srgbClr val="BCC5DC"/>
            </a:solidFill>
          </p:spPr>
          <p:txBody>
            <a:bodyPr wrap="square" lIns="0" tIns="0" rIns="0" bIns="0" rtlCol="0"/>
            <a:lstStyle/>
            <a:p>
              <a:endParaRPr sz="1092" dirty="0"/>
            </a:p>
          </p:txBody>
        </p:sp>
        <p:sp>
          <p:nvSpPr>
            <p:cNvPr id="195" name="object 195"/>
            <p:cNvSpPr/>
            <p:nvPr/>
          </p:nvSpPr>
          <p:spPr>
            <a:xfrm>
              <a:off x="6956596" y="2907915"/>
              <a:ext cx="711599" cy="634971"/>
            </a:xfrm>
            <a:custGeom>
              <a:avLst/>
              <a:gdLst/>
              <a:ahLst/>
              <a:cxnLst/>
              <a:rect l="l" t="t" r="r" b="b"/>
              <a:pathLst>
                <a:path w="1173479" h="1047114">
                  <a:moveTo>
                    <a:pt x="0" y="0"/>
                  </a:moveTo>
                  <a:lnTo>
                    <a:pt x="0" y="411233"/>
                  </a:lnTo>
                  <a:lnTo>
                    <a:pt x="1173189" y="1046648"/>
                  </a:lnTo>
                  <a:lnTo>
                    <a:pt x="1173189" y="635415"/>
                  </a:lnTo>
                  <a:lnTo>
                    <a:pt x="0" y="0"/>
                  </a:lnTo>
                  <a:close/>
                </a:path>
              </a:pathLst>
            </a:custGeom>
            <a:solidFill>
              <a:srgbClr val="F7F1F1"/>
            </a:solidFill>
          </p:spPr>
          <p:txBody>
            <a:bodyPr wrap="square" lIns="0" tIns="0" rIns="0" bIns="0" rtlCol="0"/>
            <a:lstStyle/>
            <a:p>
              <a:endParaRPr sz="1092" dirty="0"/>
            </a:p>
          </p:txBody>
        </p:sp>
        <p:sp>
          <p:nvSpPr>
            <p:cNvPr id="196" name="object 196"/>
            <p:cNvSpPr/>
            <p:nvPr/>
          </p:nvSpPr>
          <p:spPr>
            <a:xfrm>
              <a:off x="7455046" y="3199387"/>
              <a:ext cx="155977" cy="280942"/>
            </a:xfrm>
            <a:prstGeom prst="rect">
              <a:avLst/>
            </a:prstGeom>
            <a:blipFill>
              <a:blip r:embed="rId2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97" name="object 197"/>
            <p:cNvSpPr/>
            <p:nvPr/>
          </p:nvSpPr>
          <p:spPr>
            <a:xfrm>
              <a:off x="7289582" y="3110951"/>
              <a:ext cx="155672" cy="280942"/>
            </a:xfrm>
            <a:prstGeom prst="rect">
              <a:avLst/>
            </a:prstGeom>
            <a:blipFill>
              <a:blip r:embed="rId2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98" name="object 198"/>
            <p:cNvSpPr/>
            <p:nvPr/>
          </p:nvSpPr>
          <p:spPr>
            <a:xfrm>
              <a:off x="7123968" y="3022515"/>
              <a:ext cx="155818" cy="281095"/>
            </a:xfrm>
            <a:prstGeom prst="rect">
              <a:avLst/>
            </a:prstGeom>
            <a:blipFill>
              <a:blip r:embed="rId2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99" name="object 199"/>
            <p:cNvSpPr/>
            <p:nvPr/>
          </p:nvSpPr>
          <p:spPr>
            <a:xfrm>
              <a:off x="6958206" y="2934078"/>
              <a:ext cx="155824" cy="281095"/>
            </a:xfrm>
            <a:prstGeom prst="rect">
              <a:avLst/>
            </a:prstGeom>
            <a:blipFill>
              <a:blip r:embed="rId3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00" name="object 200"/>
            <p:cNvSpPr/>
            <p:nvPr/>
          </p:nvSpPr>
          <p:spPr>
            <a:xfrm>
              <a:off x="6956596" y="2222794"/>
              <a:ext cx="1373910" cy="801319"/>
            </a:xfrm>
            <a:custGeom>
              <a:avLst/>
              <a:gdLst/>
              <a:ahLst/>
              <a:cxnLst/>
              <a:rect l="l" t="t" r="r" b="b"/>
              <a:pathLst>
                <a:path w="2265680" h="1321435">
                  <a:moveTo>
                    <a:pt x="946369" y="0"/>
                  </a:moveTo>
                  <a:lnTo>
                    <a:pt x="0" y="685801"/>
                  </a:lnTo>
                  <a:lnTo>
                    <a:pt x="1173189" y="1320975"/>
                  </a:lnTo>
                  <a:lnTo>
                    <a:pt x="2265407" y="699538"/>
                  </a:lnTo>
                  <a:lnTo>
                    <a:pt x="946369" y="0"/>
                  </a:lnTo>
                  <a:close/>
                </a:path>
              </a:pathLst>
            </a:custGeom>
            <a:solidFill>
              <a:srgbClr val="999999"/>
            </a:solidFill>
          </p:spPr>
          <p:txBody>
            <a:bodyPr wrap="square" lIns="0" tIns="0" rIns="0" bIns="0" rtlCol="0"/>
            <a:lstStyle/>
            <a:p>
              <a:endParaRPr sz="1092" dirty="0"/>
            </a:p>
          </p:txBody>
        </p:sp>
        <p:sp>
          <p:nvSpPr>
            <p:cNvPr id="201" name="object 201"/>
            <p:cNvSpPr/>
            <p:nvPr/>
          </p:nvSpPr>
          <p:spPr>
            <a:xfrm>
              <a:off x="7668020" y="2646997"/>
              <a:ext cx="662696" cy="626499"/>
            </a:xfrm>
            <a:custGeom>
              <a:avLst/>
              <a:gdLst/>
              <a:ahLst/>
              <a:cxnLst/>
              <a:rect l="l" t="t" r="r" b="b"/>
              <a:pathLst>
                <a:path w="1092834" h="1033145">
                  <a:moveTo>
                    <a:pt x="1092218" y="0"/>
                  </a:moveTo>
                  <a:lnTo>
                    <a:pt x="0" y="621436"/>
                  </a:lnTo>
                  <a:lnTo>
                    <a:pt x="0" y="1032659"/>
                  </a:lnTo>
                  <a:lnTo>
                    <a:pt x="1092218" y="410982"/>
                  </a:lnTo>
                  <a:lnTo>
                    <a:pt x="1092218" y="0"/>
                  </a:lnTo>
                  <a:close/>
                </a:path>
              </a:pathLst>
            </a:custGeom>
            <a:solidFill>
              <a:srgbClr val="BCC5DC"/>
            </a:solidFill>
          </p:spPr>
          <p:txBody>
            <a:bodyPr wrap="square" lIns="0" tIns="0" rIns="0" bIns="0" rtlCol="0"/>
            <a:lstStyle/>
            <a:p>
              <a:endParaRPr sz="1092" dirty="0"/>
            </a:p>
          </p:txBody>
        </p:sp>
        <p:sp>
          <p:nvSpPr>
            <p:cNvPr id="202" name="object 202"/>
            <p:cNvSpPr/>
            <p:nvPr/>
          </p:nvSpPr>
          <p:spPr>
            <a:xfrm>
              <a:off x="6956596" y="2638665"/>
              <a:ext cx="711599" cy="634586"/>
            </a:xfrm>
            <a:custGeom>
              <a:avLst/>
              <a:gdLst/>
              <a:ahLst/>
              <a:cxnLst/>
              <a:rect l="l" t="t" r="r" b="b"/>
              <a:pathLst>
                <a:path w="1173479" h="1046479">
                  <a:moveTo>
                    <a:pt x="0" y="0"/>
                  </a:moveTo>
                  <a:lnTo>
                    <a:pt x="0" y="410992"/>
                  </a:lnTo>
                  <a:lnTo>
                    <a:pt x="1173189" y="1046397"/>
                  </a:lnTo>
                  <a:lnTo>
                    <a:pt x="1173189" y="635174"/>
                  </a:lnTo>
                  <a:lnTo>
                    <a:pt x="0" y="0"/>
                  </a:lnTo>
                  <a:close/>
                </a:path>
              </a:pathLst>
            </a:custGeom>
            <a:solidFill>
              <a:srgbClr val="F7F1F1"/>
            </a:solidFill>
          </p:spPr>
          <p:txBody>
            <a:bodyPr wrap="square" lIns="0" tIns="0" rIns="0" bIns="0" rtlCol="0"/>
            <a:lstStyle/>
            <a:p>
              <a:endParaRPr sz="1092" dirty="0"/>
            </a:p>
          </p:txBody>
        </p:sp>
        <p:sp>
          <p:nvSpPr>
            <p:cNvPr id="203" name="object 203"/>
            <p:cNvSpPr/>
            <p:nvPr/>
          </p:nvSpPr>
          <p:spPr>
            <a:xfrm>
              <a:off x="7455046" y="2930135"/>
              <a:ext cx="155977" cy="280942"/>
            </a:xfrm>
            <a:prstGeom prst="rect">
              <a:avLst/>
            </a:prstGeom>
            <a:blipFill>
              <a:blip r:embed="rId3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04" name="object 204"/>
            <p:cNvSpPr/>
            <p:nvPr/>
          </p:nvSpPr>
          <p:spPr>
            <a:xfrm>
              <a:off x="7289582" y="2841698"/>
              <a:ext cx="155672" cy="280949"/>
            </a:xfrm>
            <a:prstGeom prst="rect">
              <a:avLst/>
            </a:prstGeom>
            <a:blipFill>
              <a:blip r:embed="rId3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05" name="object 205"/>
            <p:cNvSpPr/>
            <p:nvPr/>
          </p:nvSpPr>
          <p:spPr>
            <a:xfrm>
              <a:off x="7123967" y="2753268"/>
              <a:ext cx="155818" cy="280942"/>
            </a:xfrm>
            <a:prstGeom prst="rect">
              <a:avLst/>
            </a:prstGeom>
            <a:blipFill>
              <a:blip r:embed="rId3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06" name="object 206"/>
            <p:cNvSpPr/>
            <p:nvPr/>
          </p:nvSpPr>
          <p:spPr>
            <a:xfrm>
              <a:off x="6958206" y="2664832"/>
              <a:ext cx="155824" cy="281234"/>
            </a:xfrm>
            <a:prstGeom prst="rect">
              <a:avLst/>
            </a:prstGeom>
            <a:blipFill>
              <a:blip r:embed="rId3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07" name="object 207"/>
            <p:cNvSpPr/>
            <p:nvPr/>
          </p:nvSpPr>
          <p:spPr>
            <a:xfrm>
              <a:off x="6956596" y="1956326"/>
              <a:ext cx="1373910" cy="801319"/>
            </a:xfrm>
            <a:custGeom>
              <a:avLst/>
              <a:gdLst/>
              <a:ahLst/>
              <a:cxnLst/>
              <a:rect l="l" t="t" r="r" b="b"/>
              <a:pathLst>
                <a:path w="2265680" h="1321435">
                  <a:moveTo>
                    <a:pt x="946369" y="0"/>
                  </a:moveTo>
                  <a:lnTo>
                    <a:pt x="0" y="685790"/>
                  </a:lnTo>
                  <a:lnTo>
                    <a:pt x="1173189" y="1320954"/>
                  </a:lnTo>
                  <a:lnTo>
                    <a:pt x="2265407" y="699528"/>
                  </a:lnTo>
                  <a:lnTo>
                    <a:pt x="946369" y="0"/>
                  </a:lnTo>
                  <a:close/>
                </a:path>
              </a:pathLst>
            </a:custGeom>
            <a:solidFill>
              <a:srgbClr val="999999"/>
            </a:solidFill>
          </p:spPr>
          <p:txBody>
            <a:bodyPr wrap="square" lIns="0" tIns="0" rIns="0" bIns="0" rtlCol="0"/>
            <a:lstStyle/>
            <a:p>
              <a:endParaRPr sz="1092" dirty="0"/>
            </a:p>
          </p:txBody>
        </p:sp>
        <p:sp>
          <p:nvSpPr>
            <p:cNvPr id="208" name="object 208"/>
            <p:cNvSpPr/>
            <p:nvPr/>
          </p:nvSpPr>
          <p:spPr>
            <a:xfrm>
              <a:off x="7668020" y="2380517"/>
              <a:ext cx="662696" cy="626499"/>
            </a:xfrm>
            <a:custGeom>
              <a:avLst/>
              <a:gdLst/>
              <a:ahLst/>
              <a:cxnLst/>
              <a:rect l="l" t="t" r="r" b="b"/>
              <a:pathLst>
                <a:path w="1092834" h="1033145">
                  <a:moveTo>
                    <a:pt x="1092218" y="0"/>
                  </a:moveTo>
                  <a:lnTo>
                    <a:pt x="0" y="621426"/>
                  </a:lnTo>
                  <a:lnTo>
                    <a:pt x="0" y="1032670"/>
                  </a:lnTo>
                  <a:lnTo>
                    <a:pt x="1092218" y="410992"/>
                  </a:lnTo>
                  <a:lnTo>
                    <a:pt x="1092218" y="0"/>
                  </a:lnTo>
                  <a:close/>
                </a:path>
              </a:pathLst>
            </a:custGeom>
            <a:solidFill>
              <a:srgbClr val="BCC5DC"/>
            </a:solidFill>
          </p:spPr>
          <p:txBody>
            <a:bodyPr wrap="square" lIns="0" tIns="0" rIns="0" bIns="0" rtlCol="0"/>
            <a:lstStyle/>
            <a:p>
              <a:endParaRPr sz="1092" dirty="0"/>
            </a:p>
          </p:txBody>
        </p:sp>
        <p:sp>
          <p:nvSpPr>
            <p:cNvPr id="209" name="object 209"/>
            <p:cNvSpPr/>
            <p:nvPr/>
          </p:nvSpPr>
          <p:spPr>
            <a:xfrm>
              <a:off x="6956596" y="2372190"/>
              <a:ext cx="711599" cy="634586"/>
            </a:xfrm>
            <a:custGeom>
              <a:avLst/>
              <a:gdLst/>
              <a:ahLst/>
              <a:cxnLst/>
              <a:rect l="l" t="t" r="r" b="b"/>
              <a:pathLst>
                <a:path w="1173479" h="1046479">
                  <a:moveTo>
                    <a:pt x="0" y="0"/>
                  </a:moveTo>
                  <a:lnTo>
                    <a:pt x="0" y="410992"/>
                  </a:lnTo>
                  <a:lnTo>
                    <a:pt x="1173189" y="1046397"/>
                  </a:lnTo>
                  <a:lnTo>
                    <a:pt x="1173189" y="635163"/>
                  </a:lnTo>
                  <a:lnTo>
                    <a:pt x="0" y="0"/>
                  </a:lnTo>
                  <a:close/>
                </a:path>
              </a:pathLst>
            </a:custGeom>
            <a:solidFill>
              <a:srgbClr val="F7F1F1"/>
            </a:solidFill>
          </p:spPr>
          <p:txBody>
            <a:bodyPr wrap="square" lIns="0" tIns="0" rIns="0" bIns="0" rtlCol="0"/>
            <a:lstStyle/>
            <a:p>
              <a:endParaRPr sz="1092" dirty="0"/>
            </a:p>
          </p:txBody>
        </p:sp>
        <p:sp>
          <p:nvSpPr>
            <p:cNvPr id="210" name="object 210"/>
            <p:cNvSpPr/>
            <p:nvPr/>
          </p:nvSpPr>
          <p:spPr>
            <a:xfrm>
              <a:off x="7455046" y="2663511"/>
              <a:ext cx="155977" cy="281088"/>
            </a:xfrm>
            <a:prstGeom prst="rect">
              <a:avLst/>
            </a:prstGeom>
            <a:blipFill>
              <a:blip r:embed="rId3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11" name="object 211"/>
            <p:cNvSpPr/>
            <p:nvPr/>
          </p:nvSpPr>
          <p:spPr>
            <a:xfrm>
              <a:off x="7289582" y="2575081"/>
              <a:ext cx="155672" cy="281088"/>
            </a:xfrm>
            <a:prstGeom prst="rect">
              <a:avLst/>
            </a:prstGeom>
            <a:blipFill>
              <a:blip r:embed="rId3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12" name="object 212"/>
            <p:cNvSpPr/>
            <p:nvPr/>
          </p:nvSpPr>
          <p:spPr>
            <a:xfrm>
              <a:off x="7123967" y="2486790"/>
              <a:ext cx="155818" cy="280949"/>
            </a:xfrm>
            <a:prstGeom prst="rect">
              <a:avLst/>
            </a:prstGeom>
            <a:blipFill>
              <a:blip r:embed="rId3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13" name="object 213"/>
            <p:cNvSpPr/>
            <p:nvPr/>
          </p:nvSpPr>
          <p:spPr>
            <a:xfrm>
              <a:off x="6958205" y="2398353"/>
              <a:ext cx="155824" cy="281095"/>
            </a:xfrm>
            <a:prstGeom prst="rect">
              <a:avLst/>
            </a:prstGeom>
            <a:blipFill>
              <a:blip r:embed="rId3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14" name="object 214"/>
            <p:cNvSpPr/>
            <p:nvPr/>
          </p:nvSpPr>
          <p:spPr>
            <a:xfrm>
              <a:off x="6956603" y="1687073"/>
              <a:ext cx="1373910" cy="801319"/>
            </a:xfrm>
            <a:custGeom>
              <a:avLst/>
              <a:gdLst/>
              <a:ahLst/>
              <a:cxnLst/>
              <a:rect l="l" t="t" r="r" b="b"/>
              <a:pathLst>
                <a:path w="2265680" h="1321435">
                  <a:moveTo>
                    <a:pt x="946358" y="0"/>
                  </a:moveTo>
                  <a:lnTo>
                    <a:pt x="0" y="685801"/>
                  </a:lnTo>
                  <a:lnTo>
                    <a:pt x="1173178" y="1320954"/>
                  </a:lnTo>
                  <a:lnTo>
                    <a:pt x="2265396" y="699769"/>
                  </a:lnTo>
                  <a:lnTo>
                    <a:pt x="946358" y="0"/>
                  </a:lnTo>
                  <a:close/>
                </a:path>
              </a:pathLst>
            </a:custGeom>
            <a:solidFill>
              <a:srgbClr val="999999"/>
            </a:solidFill>
          </p:spPr>
          <p:txBody>
            <a:bodyPr wrap="square" lIns="0" tIns="0" rIns="0" bIns="0" rtlCol="0"/>
            <a:lstStyle/>
            <a:p>
              <a:endParaRPr sz="1092" dirty="0"/>
            </a:p>
          </p:txBody>
        </p:sp>
        <p:sp>
          <p:nvSpPr>
            <p:cNvPr id="215" name="object 215"/>
            <p:cNvSpPr/>
            <p:nvPr/>
          </p:nvSpPr>
          <p:spPr>
            <a:xfrm>
              <a:off x="7668020" y="2111409"/>
              <a:ext cx="662696" cy="626499"/>
            </a:xfrm>
            <a:custGeom>
              <a:avLst/>
              <a:gdLst/>
              <a:ahLst/>
              <a:cxnLst/>
              <a:rect l="l" t="t" r="r" b="b"/>
              <a:pathLst>
                <a:path w="1092834" h="1033145">
                  <a:moveTo>
                    <a:pt x="1092218" y="0"/>
                  </a:moveTo>
                  <a:lnTo>
                    <a:pt x="0" y="621195"/>
                  </a:lnTo>
                  <a:lnTo>
                    <a:pt x="0" y="1032680"/>
                  </a:lnTo>
                  <a:lnTo>
                    <a:pt x="1092218" y="411003"/>
                  </a:lnTo>
                  <a:lnTo>
                    <a:pt x="1092218" y="0"/>
                  </a:lnTo>
                  <a:close/>
                </a:path>
              </a:pathLst>
            </a:custGeom>
            <a:solidFill>
              <a:srgbClr val="BCC5DC"/>
            </a:solidFill>
          </p:spPr>
          <p:txBody>
            <a:bodyPr wrap="square" lIns="0" tIns="0" rIns="0" bIns="0" rtlCol="0"/>
            <a:lstStyle/>
            <a:p>
              <a:endParaRPr sz="1092" dirty="0"/>
            </a:p>
          </p:txBody>
        </p:sp>
        <p:sp>
          <p:nvSpPr>
            <p:cNvPr id="216" name="object 216"/>
            <p:cNvSpPr/>
            <p:nvPr/>
          </p:nvSpPr>
          <p:spPr>
            <a:xfrm>
              <a:off x="6956596" y="2102937"/>
              <a:ext cx="711599" cy="634971"/>
            </a:xfrm>
            <a:custGeom>
              <a:avLst/>
              <a:gdLst/>
              <a:ahLst/>
              <a:cxnLst/>
              <a:rect l="l" t="t" r="r" b="b"/>
              <a:pathLst>
                <a:path w="1173479" h="1047114">
                  <a:moveTo>
                    <a:pt x="0" y="0"/>
                  </a:moveTo>
                  <a:lnTo>
                    <a:pt x="0" y="411223"/>
                  </a:lnTo>
                  <a:lnTo>
                    <a:pt x="1173189" y="1046648"/>
                  </a:lnTo>
                  <a:lnTo>
                    <a:pt x="1173189" y="635163"/>
                  </a:lnTo>
                  <a:lnTo>
                    <a:pt x="0" y="0"/>
                  </a:lnTo>
                  <a:close/>
                </a:path>
              </a:pathLst>
            </a:custGeom>
            <a:solidFill>
              <a:srgbClr val="F7F1F1"/>
            </a:solidFill>
          </p:spPr>
          <p:txBody>
            <a:bodyPr wrap="square" lIns="0" tIns="0" rIns="0" bIns="0" rtlCol="0"/>
            <a:lstStyle/>
            <a:p>
              <a:endParaRPr sz="1092" dirty="0"/>
            </a:p>
          </p:txBody>
        </p:sp>
        <p:sp>
          <p:nvSpPr>
            <p:cNvPr id="217" name="object 217"/>
            <p:cNvSpPr/>
            <p:nvPr/>
          </p:nvSpPr>
          <p:spPr>
            <a:xfrm>
              <a:off x="7455046" y="2394410"/>
              <a:ext cx="155977" cy="280942"/>
            </a:xfrm>
            <a:prstGeom prst="rect">
              <a:avLst/>
            </a:prstGeom>
            <a:blipFill>
              <a:blip r:embed="rId3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18" name="object 218"/>
            <p:cNvSpPr/>
            <p:nvPr/>
          </p:nvSpPr>
          <p:spPr>
            <a:xfrm>
              <a:off x="7289582" y="2305973"/>
              <a:ext cx="155672" cy="280942"/>
            </a:xfrm>
            <a:prstGeom prst="rect">
              <a:avLst/>
            </a:prstGeom>
            <a:blipFill>
              <a:blip r:embed="rId4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19" name="object 219"/>
            <p:cNvSpPr/>
            <p:nvPr/>
          </p:nvSpPr>
          <p:spPr>
            <a:xfrm>
              <a:off x="7123968" y="2217537"/>
              <a:ext cx="155818" cy="281088"/>
            </a:xfrm>
            <a:prstGeom prst="rect">
              <a:avLst/>
            </a:prstGeom>
            <a:blipFill>
              <a:blip r:embed="rId4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20" name="object 220"/>
            <p:cNvSpPr/>
            <p:nvPr/>
          </p:nvSpPr>
          <p:spPr>
            <a:xfrm>
              <a:off x="6958206" y="2129101"/>
              <a:ext cx="155824" cy="281088"/>
            </a:xfrm>
            <a:prstGeom prst="rect">
              <a:avLst/>
            </a:prstGeom>
            <a:blipFill>
              <a:blip r:embed="rId4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21" name="object 221"/>
            <p:cNvSpPr/>
            <p:nvPr/>
          </p:nvSpPr>
          <p:spPr>
            <a:xfrm>
              <a:off x="6956603" y="1423374"/>
              <a:ext cx="1373910" cy="801319"/>
            </a:xfrm>
            <a:custGeom>
              <a:avLst/>
              <a:gdLst/>
              <a:ahLst/>
              <a:cxnLst/>
              <a:rect l="l" t="t" r="r" b="b"/>
              <a:pathLst>
                <a:path w="2265680" h="1321435">
                  <a:moveTo>
                    <a:pt x="946358" y="0"/>
                  </a:moveTo>
                  <a:lnTo>
                    <a:pt x="0" y="685801"/>
                  </a:lnTo>
                  <a:lnTo>
                    <a:pt x="1173178" y="1321205"/>
                  </a:lnTo>
                  <a:lnTo>
                    <a:pt x="2265396" y="699528"/>
                  </a:lnTo>
                  <a:lnTo>
                    <a:pt x="946358" y="0"/>
                  </a:lnTo>
                  <a:close/>
                </a:path>
              </a:pathLst>
            </a:custGeom>
            <a:solidFill>
              <a:srgbClr val="999999"/>
            </a:solidFill>
          </p:spPr>
          <p:txBody>
            <a:bodyPr wrap="square" lIns="0" tIns="0" rIns="0" bIns="0" rtlCol="0"/>
            <a:lstStyle/>
            <a:p>
              <a:endParaRPr sz="1092" dirty="0"/>
            </a:p>
          </p:txBody>
        </p:sp>
        <p:sp>
          <p:nvSpPr>
            <p:cNvPr id="222" name="object 222"/>
            <p:cNvSpPr/>
            <p:nvPr/>
          </p:nvSpPr>
          <p:spPr>
            <a:xfrm>
              <a:off x="7668020" y="1847567"/>
              <a:ext cx="662696" cy="626499"/>
            </a:xfrm>
            <a:custGeom>
              <a:avLst/>
              <a:gdLst/>
              <a:ahLst/>
              <a:cxnLst/>
              <a:rect l="l" t="t" r="r" b="b"/>
              <a:pathLst>
                <a:path w="1092834" h="1033145">
                  <a:moveTo>
                    <a:pt x="1092218" y="0"/>
                  </a:moveTo>
                  <a:lnTo>
                    <a:pt x="0" y="621677"/>
                  </a:lnTo>
                  <a:lnTo>
                    <a:pt x="0" y="1032670"/>
                  </a:lnTo>
                  <a:lnTo>
                    <a:pt x="1092218" y="410992"/>
                  </a:lnTo>
                  <a:lnTo>
                    <a:pt x="1092218" y="0"/>
                  </a:lnTo>
                  <a:close/>
                </a:path>
              </a:pathLst>
            </a:custGeom>
            <a:solidFill>
              <a:srgbClr val="BCC5DC"/>
            </a:solidFill>
          </p:spPr>
          <p:txBody>
            <a:bodyPr wrap="square" lIns="0" tIns="0" rIns="0" bIns="0" rtlCol="0"/>
            <a:lstStyle/>
            <a:p>
              <a:endParaRPr sz="1092" dirty="0"/>
            </a:p>
          </p:txBody>
        </p:sp>
        <p:sp>
          <p:nvSpPr>
            <p:cNvPr id="223" name="object 223"/>
            <p:cNvSpPr/>
            <p:nvPr/>
          </p:nvSpPr>
          <p:spPr>
            <a:xfrm>
              <a:off x="6956596" y="1839241"/>
              <a:ext cx="711599" cy="634586"/>
            </a:xfrm>
            <a:custGeom>
              <a:avLst/>
              <a:gdLst/>
              <a:ahLst/>
              <a:cxnLst/>
              <a:rect l="l" t="t" r="r" b="b"/>
              <a:pathLst>
                <a:path w="1173479" h="1046479">
                  <a:moveTo>
                    <a:pt x="0" y="0"/>
                  </a:moveTo>
                  <a:lnTo>
                    <a:pt x="0" y="410982"/>
                  </a:lnTo>
                  <a:lnTo>
                    <a:pt x="1173189" y="1046397"/>
                  </a:lnTo>
                  <a:lnTo>
                    <a:pt x="1173189" y="635404"/>
                  </a:lnTo>
                  <a:lnTo>
                    <a:pt x="0" y="0"/>
                  </a:lnTo>
                  <a:close/>
                </a:path>
              </a:pathLst>
            </a:custGeom>
            <a:solidFill>
              <a:srgbClr val="F7F1F1"/>
            </a:solidFill>
          </p:spPr>
          <p:txBody>
            <a:bodyPr wrap="square" lIns="0" tIns="0" rIns="0" bIns="0" rtlCol="0"/>
            <a:lstStyle/>
            <a:p>
              <a:endParaRPr sz="1092" dirty="0"/>
            </a:p>
          </p:txBody>
        </p:sp>
        <p:sp>
          <p:nvSpPr>
            <p:cNvPr id="224" name="object 224"/>
            <p:cNvSpPr/>
            <p:nvPr/>
          </p:nvSpPr>
          <p:spPr>
            <a:xfrm>
              <a:off x="7455045" y="2135678"/>
              <a:ext cx="155977" cy="281095"/>
            </a:xfrm>
            <a:prstGeom prst="rect">
              <a:avLst/>
            </a:prstGeom>
            <a:blipFill>
              <a:blip r:embed="rId4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25" name="object 225"/>
            <p:cNvSpPr/>
            <p:nvPr/>
          </p:nvSpPr>
          <p:spPr>
            <a:xfrm>
              <a:off x="7289583" y="2047388"/>
              <a:ext cx="155672" cy="280949"/>
            </a:xfrm>
            <a:prstGeom prst="rect">
              <a:avLst/>
            </a:prstGeom>
            <a:blipFill>
              <a:blip r:embed="rId4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26" name="object 226"/>
            <p:cNvSpPr/>
            <p:nvPr/>
          </p:nvSpPr>
          <p:spPr>
            <a:xfrm>
              <a:off x="7123967" y="1958806"/>
              <a:ext cx="155818" cy="281240"/>
            </a:xfrm>
            <a:prstGeom prst="rect">
              <a:avLst/>
            </a:prstGeom>
            <a:blipFill>
              <a:blip r:embed="rId4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27" name="object 227"/>
            <p:cNvSpPr/>
            <p:nvPr/>
          </p:nvSpPr>
          <p:spPr>
            <a:xfrm>
              <a:off x="6958205" y="1870668"/>
              <a:ext cx="155824" cy="280942"/>
            </a:xfrm>
            <a:prstGeom prst="rect">
              <a:avLst/>
            </a:prstGeom>
            <a:blipFill>
              <a:blip r:embed="rId4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28" name="object 228"/>
            <p:cNvSpPr/>
            <p:nvPr/>
          </p:nvSpPr>
          <p:spPr>
            <a:xfrm>
              <a:off x="6956602" y="1182184"/>
              <a:ext cx="1373910" cy="778601"/>
            </a:xfrm>
            <a:custGeom>
              <a:avLst/>
              <a:gdLst/>
              <a:ahLst/>
              <a:cxnLst/>
              <a:rect l="l" t="t" r="r" b="b"/>
              <a:pathLst>
                <a:path w="2265680" h="1283970">
                  <a:moveTo>
                    <a:pt x="1069527" y="0"/>
                  </a:moveTo>
                  <a:lnTo>
                    <a:pt x="0" y="648430"/>
                  </a:lnTo>
                  <a:lnTo>
                    <a:pt x="1173178" y="1283845"/>
                  </a:lnTo>
                  <a:lnTo>
                    <a:pt x="2265396" y="662178"/>
                  </a:lnTo>
                  <a:lnTo>
                    <a:pt x="1069527" y="0"/>
                  </a:lnTo>
                  <a:close/>
                </a:path>
              </a:pathLst>
            </a:custGeom>
            <a:solidFill>
              <a:srgbClr val="C4D0D9"/>
            </a:solidFill>
          </p:spPr>
          <p:txBody>
            <a:bodyPr wrap="square" lIns="0" tIns="0" rIns="0" bIns="0" rtlCol="0"/>
            <a:lstStyle/>
            <a:p>
              <a:endParaRPr sz="1092" dirty="0"/>
            </a:p>
          </p:txBody>
        </p:sp>
        <p:sp>
          <p:nvSpPr>
            <p:cNvPr id="229" name="object 229"/>
            <p:cNvSpPr/>
            <p:nvPr/>
          </p:nvSpPr>
          <p:spPr>
            <a:xfrm>
              <a:off x="7071784" y="1247531"/>
              <a:ext cx="1143256" cy="648064"/>
            </a:xfrm>
            <a:custGeom>
              <a:avLst/>
              <a:gdLst/>
              <a:ahLst/>
              <a:cxnLst/>
              <a:rect l="l" t="t" r="r" b="b"/>
              <a:pathLst>
                <a:path w="1885315" h="1068705">
                  <a:moveTo>
                    <a:pt x="890203" y="0"/>
                  </a:moveTo>
                  <a:lnTo>
                    <a:pt x="0" y="539470"/>
                  </a:lnTo>
                  <a:lnTo>
                    <a:pt x="976504" y="1068333"/>
                  </a:lnTo>
                  <a:lnTo>
                    <a:pt x="1885251" y="550789"/>
                  </a:lnTo>
                  <a:lnTo>
                    <a:pt x="890203" y="0"/>
                  </a:lnTo>
                  <a:close/>
                </a:path>
              </a:pathLst>
            </a:custGeom>
            <a:solidFill>
              <a:srgbClr val="FFFFFF"/>
            </a:solidFill>
          </p:spPr>
          <p:txBody>
            <a:bodyPr wrap="square" lIns="0" tIns="0" rIns="0" bIns="0" rtlCol="0"/>
            <a:lstStyle/>
            <a:p>
              <a:endParaRPr sz="1092" dirty="0"/>
            </a:p>
          </p:txBody>
        </p:sp>
        <p:sp>
          <p:nvSpPr>
            <p:cNvPr id="230" name="object 230"/>
            <p:cNvSpPr/>
            <p:nvPr/>
          </p:nvSpPr>
          <p:spPr>
            <a:xfrm>
              <a:off x="7668020" y="1583729"/>
              <a:ext cx="662696" cy="626499"/>
            </a:xfrm>
            <a:custGeom>
              <a:avLst/>
              <a:gdLst/>
              <a:ahLst/>
              <a:cxnLst/>
              <a:rect l="l" t="t" r="r" b="b"/>
              <a:pathLst>
                <a:path w="1092834" h="1033145">
                  <a:moveTo>
                    <a:pt x="1092218" y="0"/>
                  </a:moveTo>
                  <a:lnTo>
                    <a:pt x="0" y="621666"/>
                  </a:lnTo>
                  <a:lnTo>
                    <a:pt x="0" y="1032900"/>
                  </a:lnTo>
                  <a:lnTo>
                    <a:pt x="1092218" y="411223"/>
                  </a:lnTo>
                  <a:lnTo>
                    <a:pt x="1092218" y="0"/>
                  </a:lnTo>
                  <a:close/>
                </a:path>
              </a:pathLst>
            </a:custGeom>
            <a:solidFill>
              <a:srgbClr val="BCC5DC"/>
            </a:solidFill>
          </p:spPr>
          <p:txBody>
            <a:bodyPr wrap="square" lIns="0" tIns="0" rIns="0" bIns="0" rtlCol="0"/>
            <a:lstStyle/>
            <a:p>
              <a:endParaRPr sz="1092" dirty="0"/>
            </a:p>
          </p:txBody>
        </p:sp>
        <p:sp>
          <p:nvSpPr>
            <p:cNvPr id="231" name="object 231"/>
            <p:cNvSpPr/>
            <p:nvPr/>
          </p:nvSpPr>
          <p:spPr>
            <a:xfrm>
              <a:off x="6956596" y="1575396"/>
              <a:ext cx="711599" cy="634971"/>
            </a:xfrm>
            <a:custGeom>
              <a:avLst/>
              <a:gdLst/>
              <a:ahLst/>
              <a:cxnLst/>
              <a:rect l="l" t="t" r="r" b="b"/>
              <a:pathLst>
                <a:path w="1173479" h="1047114">
                  <a:moveTo>
                    <a:pt x="0" y="0"/>
                  </a:moveTo>
                  <a:lnTo>
                    <a:pt x="0" y="411233"/>
                  </a:lnTo>
                  <a:lnTo>
                    <a:pt x="1173189" y="1046638"/>
                  </a:lnTo>
                  <a:lnTo>
                    <a:pt x="1173189" y="635404"/>
                  </a:lnTo>
                  <a:lnTo>
                    <a:pt x="0" y="0"/>
                  </a:lnTo>
                  <a:close/>
                </a:path>
              </a:pathLst>
            </a:custGeom>
            <a:solidFill>
              <a:srgbClr val="F7F1F1"/>
            </a:solidFill>
          </p:spPr>
          <p:txBody>
            <a:bodyPr wrap="square" lIns="0" tIns="0" rIns="0" bIns="0" rtlCol="0"/>
            <a:lstStyle/>
            <a:p>
              <a:endParaRPr sz="1092" dirty="0"/>
            </a:p>
          </p:txBody>
        </p:sp>
        <p:sp>
          <p:nvSpPr>
            <p:cNvPr id="232" name="object 232"/>
            <p:cNvSpPr/>
            <p:nvPr/>
          </p:nvSpPr>
          <p:spPr>
            <a:xfrm>
              <a:off x="7460608" y="1871975"/>
              <a:ext cx="155666" cy="281095"/>
            </a:xfrm>
            <a:prstGeom prst="rect">
              <a:avLst/>
            </a:prstGeom>
            <a:blipFill>
              <a:blip r:embed="rId4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33" name="object 233"/>
            <p:cNvSpPr/>
            <p:nvPr/>
          </p:nvSpPr>
          <p:spPr>
            <a:xfrm>
              <a:off x="7294840" y="1783393"/>
              <a:ext cx="155824" cy="281095"/>
            </a:xfrm>
            <a:prstGeom prst="rect">
              <a:avLst/>
            </a:prstGeom>
            <a:blipFill>
              <a:blip r:embed="rId4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34" name="object 234"/>
            <p:cNvSpPr/>
            <p:nvPr/>
          </p:nvSpPr>
          <p:spPr>
            <a:xfrm>
              <a:off x="7129225" y="1695108"/>
              <a:ext cx="155818" cy="280949"/>
            </a:xfrm>
            <a:prstGeom prst="rect">
              <a:avLst/>
            </a:prstGeom>
            <a:blipFill>
              <a:blip r:embed="rId4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35" name="object 235"/>
            <p:cNvSpPr/>
            <p:nvPr/>
          </p:nvSpPr>
          <p:spPr>
            <a:xfrm>
              <a:off x="6963754" y="1606679"/>
              <a:ext cx="155672" cy="281088"/>
            </a:xfrm>
            <a:prstGeom prst="rect">
              <a:avLst/>
            </a:prstGeom>
            <a:blipFill>
              <a:blip r:embed="rId5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36" name="object 236"/>
            <p:cNvSpPr/>
            <p:nvPr/>
          </p:nvSpPr>
          <p:spPr>
            <a:xfrm>
              <a:off x="7695503" y="1895075"/>
              <a:ext cx="150993" cy="1602945"/>
            </a:xfrm>
            <a:prstGeom prst="rect">
              <a:avLst/>
            </a:prstGeom>
            <a:blipFill>
              <a:blip r:embed="rId5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37" name="object 237"/>
            <p:cNvSpPr/>
            <p:nvPr/>
          </p:nvSpPr>
          <p:spPr>
            <a:xfrm>
              <a:off x="7856146" y="1801666"/>
              <a:ext cx="151000" cy="1602952"/>
            </a:xfrm>
            <a:prstGeom prst="rect">
              <a:avLst/>
            </a:prstGeom>
            <a:blipFill>
              <a:blip r:embed="rId5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38" name="object 238"/>
            <p:cNvSpPr/>
            <p:nvPr/>
          </p:nvSpPr>
          <p:spPr>
            <a:xfrm>
              <a:off x="8016796" y="1708412"/>
              <a:ext cx="151000" cy="1602944"/>
            </a:xfrm>
            <a:prstGeom prst="rect">
              <a:avLst/>
            </a:prstGeom>
            <a:blipFill>
              <a:blip r:embed="rId5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39" name="object 239"/>
            <p:cNvSpPr/>
            <p:nvPr/>
          </p:nvSpPr>
          <p:spPr>
            <a:xfrm>
              <a:off x="8177440" y="1615009"/>
              <a:ext cx="151006" cy="1331793"/>
            </a:xfrm>
            <a:prstGeom prst="rect">
              <a:avLst/>
            </a:prstGeom>
            <a:blipFill>
              <a:blip r:embed="rId5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40" name="object 240"/>
            <p:cNvSpPr/>
            <p:nvPr/>
          </p:nvSpPr>
          <p:spPr>
            <a:xfrm>
              <a:off x="8177443" y="3084207"/>
              <a:ext cx="123809" cy="133887"/>
            </a:xfrm>
            <a:prstGeom prst="rect">
              <a:avLst/>
            </a:prstGeom>
            <a:blipFill>
              <a:blip r:embed="rId5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41" name="object 241"/>
            <p:cNvSpPr/>
            <p:nvPr/>
          </p:nvSpPr>
          <p:spPr>
            <a:xfrm>
              <a:off x="7674155" y="3031284"/>
              <a:ext cx="656920" cy="395076"/>
            </a:xfrm>
            <a:custGeom>
              <a:avLst/>
              <a:gdLst/>
              <a:ahLst/>
              <a:cxnLst/>
              <a:rect l="l" t="t" r="r" b="b"/>
              <a:pathLst>
                <a:path w="1083309" h="651510">
                  <a:moveTo>
                    <a:pt x="1083066" y="0"/>
                  </a:moveTo>
                  <a:lnTo>
                    <a:pt x="0" y="617331"/>
                  </a:lnTo>
                  <a:lnTo>
                    <a:pt x="0" y="651320"/>
                  </a:lnTo>
                  <a:lnTo>
                    <a:pt x="1083066" y="33747"/>
                  </a:lnTo>
                  <a:lnTo>
                    <a:pt x="1083066" y="0"/>
                  </a:lnTo>
                  <a:close/>
                </a:path>
              </a:pathLst>
            </a:custGeom>
            <a:solidFill>
              <a:srgbClr val="BCC5DC"/>
            </a:solidFill>
          </p:spPr>
          <p:txBody>
            <a:bodyPr wrap="square" lIns="0" tIns="0" rIns="0" bIns="0" rtlCol="0"/>
            <a:lstStyle/>
            <a:p>
              <a:endParaRPr sz="1092" dirty="0"/>
            </a:p>
          </p:txBody>
        </p:sp>
        <p:sp>
          <p:nvSpPr>
            <p:cNvPr id="242" name="object 242"/>
            <p:cNvSpPr/>
            <p:nvPr/>
          </p:nvSpPr>
          <p:spPr>
            <a:xfrm>
              <a:off x="7674160" y="2758675"/>
              <a:ext cx="656920" cy="395076"/>
            </a:xfrm>
            <a:custGeom>
              <a:avLst/>
              <a:gdLst/>
              <a:ahLst/>
              <a:cxnLst/>
              <a:rect l="l" t="t" r="r" b="b"/>
              <a:pathLst>
                <a:path w="1083309" h="651510">
                  <a:moveTo>
                    <a:pt x="1083056" y="0"/>
                  </a:moveTo>
                  <a:lnTo>
                    <a:pt x="0" y="617572"/>
                  </a:lnTo>
                  <a:lnTo>
                    <a:pt x="0" y="651320"/>
                  </a:lnTo>
                  <a:lnTo>
                    <a:pt x="1083056" y="33978"/>
                  </a:lnTo>
                  <a:lnTo>
                    <a:pt x="1083056" y="0"/>
                  </a:lnTo>
                  <a:close/>
                </a:path>
              </a:pathLst>
            </a:custGeom>
            <a:solidFill>
              <a:srgbClr val="BCC5DC"/>
            </a:solidFill>
          </p:spPr>
          <p:txBody>
            <a:bodyPr wrap="square" lIns="0" tIns="0" rIns="0" bIns="0" rtlCol="0"/>
            <a:lstStyle/>
            <a:p>
              <a:endParaRPr sz="1092" dirty="0"/>
            </a:p>
          </p:txBody>
        </p:sp>
        <p:sp>
          <p:nvSpPr>
            <p:cNvPr id="243" name="object 243"/>
            <p:cNvSpPr/>
            <p:nvPr/>
          </p:nvSpPr>
          <p:spPr>
            <a:xfrm>
              <a:off x="7674160" y="2482406"/>
              <a:ext cx="656920" cy="395076"/>
            </a:xfrm>
            <a:custGeom>
              <a:avLst/>
              <a:gdLst/>
              <a:ahLst/>
              <a:cxnLst/>
              <a:rect l="l" t="t" r="r" b="b"/>
              <a:pathLst>
                <a:path w="1083309" h="651510">
                  <a:moveTo>
                    <a:pt x="1083056" y="0"/>
                  </a:moveTo>
                  <a:lnTo>
                    <a:pt x="0" y="617331"/>
                  </a:lnTo>
                  <a:lnTo>
                    <a:pt x="0" y="651320"/>
                  </a:lnTo>
                  <a:lnTo>
                    <a:pt x="1083056" y="33496"/>
                  </a:lnTo>
                  <a:lnTo>
                    <a:pt x="1083056" y="0"/>
                  </a:lnTo>
                  <a:close/>
                </a:path>
              </a:pathLst>
            </a:custGeom>
            <a:solidFill>
              <a:srgbClr val="BCC5DC"/>
            </a:solidFill>
          </p:spPr>
          <p:txBody>
            <a:bodyPr wrap="square" lIns="0" tIns="0" rIns="0" bIns="0" rtlCol="0"/>
            <a:lstStyle/>
            <a:p>
              <a:endParaRPr sz="1092" dirty="0"/>
            </a:p>
          </p:txBody>
        </p:sp>
        <p:sp>
          <p:nvSpPr>
            <p:cNvPr id="244" name="object 244"/>
            <p:cNvSpPr/>
            <p:nvPr/>
          </p:nvSpPr>
          <p:spPr>
            <a:xfrm>
              <a:off x="7674160" y="2213735"/>
              <a:ext cx="656920" cy="395076"/>
            </a:xfrm>
            <a:custGeom>
              <a:avLst/>
              <a:gdLst/>
              <a:ahLst/>
              <a:cxnLst/>
              <a:rect l="l" t="t" r="r" b="b"/>
              <a:pathLst>
                <a:path w="1083309" h="651510">
                  <a:moveTo>
                    <a:pt x="1083056" y="0"/>
                  </a:moveTo>
                  <a:lnTo>
                    <a:pt x="0" y="617342"/>
                  </a:lnTo>
                  <a:lnTo>
                    <a:pt x="0" y="651320"/>
                  </a:lnTo>
                  <a:lnTo>
                    <a:pt x="1083056" y="33988"/>
                  </a:lnTo>
                  <a:lnTo>
                    <a:pt x="1083056" y="0"/>
                  </a:lnTo>
                  <a:close/>
                </a:path>
              </a:pathLst>
            </a:custGeom>
            <a:solidFill>
              <a:srgbClr val="BCC5DC"/>
            </a:solidFill>
          </p:spPr>
          <p:txBody>
            <a:bodyPr wrap="square" lIns="0" tIns="0" rIns="0" bIns="0" rtlCol="0"/>
            <a:lstStyle/>
            <a:p>
              <a:endParaRPr sz="1092" dirty="0"/>
            </a:p>
          </p:txBody>
        </p:sp>
        <p:sp>
          <p:nvSpPr>
            <p:cNvPr id="245" name="object 245"/>
            <p:cNvSpPr/>
            <p:nvPr/>
          </p:nvSpPr>
          <p:spPr>
            <a:xfrm>
              <a:off x="7674160" y="1958220"/>
              <a:ext cx="656920" cy="395076"/>
            </a:xfrm>
            <a:custGeom>
              <a:avLst/>
              <a:gdLst/>
              <a:ahLst/>
              <a:cxnLst/>
              <a:rect l="l" t="t" r="r" b="b"/>
              <a:pathLst>
                <a:path w="1083309" h="651510">
                  <a:moveTo>
                    <a:pt x="1083056" y="0"/>
                  </a:moveTo>
                  <a:lnTo>
                    <a:pt x="0" y="617342"/>
                  </a:lnTo>
                  <a:lnTo>
                    <a:pt x="0" y="651090"/>
                  </a:lnTo>
                  <a:lnTo>
                    <a:pt x="1083056" y="33758"/>
                  </a:lnTo>
                  <a:lnTo>
                    <a:pt x="1083056" y="0"/>
                  </a:lnTo>
                  <a:close/>
                </a:path>
              </a:pathLst>
            </a:custGeom>
            <a:solidFill>
              <a:srgbClr val="BCC5DC"/>
            </a:solidFill>
          </p:spPr>
          <p:txBody>
            <a:bodyPr wrap="square" lIns="0" tIns="0" rIns="0" bIns="0" rtlCol="0"/>
            <a:lstStyle/>
            <a:p>
              <a:endParaRPr sz="1092" dirty="0"/>
            </a:p>
          </p:txBody>
        </p:sp>
        <p:sp>
          <p:nvSpPr>
            <p:cNvPr id="246" name="object 246"/>
            <p:cNvSpPr/>
            <p:nvPr/>
          </p:nvSpPr>
          <p:spPr>
            <a:xfrm>
              <a:off x="7674160" y="1702565"/>
              <a:ext cx="656920" cy="395076"/>
            </a:xfrm>
            <a:custGeom>
              <a:avLst/>
              <a:gdLst/>
              <a:ahLst/>
              <a:cxnLst/>
              <a:rect l="l" t="t" r="r" b="b"/>
              <a:pathLst>
                <a:path w="1083309" h="651510">
                  <a:moveTo>
                    <a:pt x="1083056" y="0"/>
                  </a:moveTo>
                  <a:lnTo>
                    <a:pt x="0" y="617583"/>
                  </a:lnTo>
                  <a:lnTo>
                    <a:pt x="0" y="651320"/>
                  </a:lnTo>
                  <a:lnTo>
                    <a:pt x="1083056" y="33747"/>
                  </a:lnTo>
                  <a:lnTo>
                    <a:pt x="1083056" y="0"/>
                  </a:lnTo>
                  <a:close/>
                </a:path>
              </a:pathLst>
            </a:custGeom>
            <a:solidFill>
              <a:srgbClr val="BCC5DC"/>
            </a:solidFill>
          </p:spPr>
          <p:txBody>
            <a:bodyPr wrap="square" lIns="0" tIns="0" rIns="0" bIns="0" rtlCol="0"/>
            <a:lstStyle/>
            <a:p>
              <a:endParaRPr sz="1092" dirty="0"/>
            </a:p>
          </p:txBody>
        </p:sp>
        <p:sp>
          <p:nvSpPr>
            <p:cNvPr id="247" name="object 247"/>
            <p:cNvSpPr/>
            <p:nvPr/>
          </p:nvSpPr>
          <p:spPr>
            <a:xfrm>
              <a:off x="6958933" y="1700224"/>
              <a:ext cx="667702" cy="379674"/>
            </a:xfrm>
            <a:custGeom>
              <a:avLst/>
              <a:gdLst/>
              <a:ahLst/>
              <a:cxnLst/>
              <a:rect l="l" t="t" r="r" b="b"/>
              <a:pathLst>
                <a:path w="1101090" h="626110">
                  <a:moveTo>
                    <a:pt x="0" y="0"/>
                  </a:moveTo>
                  <a:lnTo>
                    <a:pt x="0" y="35925"/>
                  </a:lnTo>
                  <a:lnTo>
                    <a:pt x="1100877" y="625530"/>
                  </a:lnTo>
                  <a:lnTo>
                    <a:pt x="1100877" y="589866"/>
                  </a:lnTo>
                  <a:lnTo>
                    <a:pt x="0" y="0"/>
                  </a:lnTo>
                  <a:close/>
                </a:path>
              </a:pathLst>
            </a:custGeom>
            <a:solidFill>
              <a:srgbClr val="F7F1F1"/>
            </a:solidFill>
          </p:spPr>
          <p:txBody>
            <a:bodyPr wrap="square" lIns="0" tIns="0" rIns="0" bIns="0" rtlCol="0"/>
            <a:lstStyle/>
            <a:p>
              <a:endParaRPr sz="1092" dirty="0"/>
            </a:p>
          </p:txBody>
        </p:sp>
        <p:sp>
          <p:nvSpPr>
            <p:cNvPr id="248" name="object 248"/>
            <p:cNvSpPr/>
            <p:nvPr/>
          </p:nvSpPr>
          <p:spPr>
            <a:xfrm>
              <a:off x="6958933" y="1962457"/>
              <a:ext cx="667702" cy="379674"/>
            </a:xfrm>
            <a:custGeom>
              <a:avLst/>
              <a:gdLst/>
              <a:ahLst/>
              <a:cxnLst/>
              <a:rect l="l" t="t" r="r" b="b"/>
              <a:pathLst>
                <a:path w="1101090" h="626110">
                  <a:moveTo>
                    <a:pt x="0" y="0"/>
                  </a:moveTo>
                  <a:lnTo>
                    <a:pt x="0" y="35925"/>
                  </a:lnTo>
                  <a:lnTo>
                    <a:pt x="1100877" y="625541"/>
                  </a:lnTo>
                  <a:lnTo>
                    <a:pt x="1100877" y="589615"/>
                  </a:lnTo>
                  <a:lnTo>
                    <a:pt x="0" y="0"/>
                  </a:lnTo>
                  <a:close/>
                </a:path>
              </a:pathLst>
            </a:custGeom>
            <a:solidFill>
              <a:srgbClr val="F7F1F1"/>
            </a:solidFill>
          </p:spPr>
          <p:txBody>
            <a:bodyPr wrap="square" lIns="0" tIns="0" rIns="0" bIns="0" rtlCol="0"/>
            <a:lstStyle/>
            <a:p>
              <a:endParaRPr sz="1092" dirty="0"/>
            </a:p>
          </p:txBody>
        </p:sp>
        <p:sp>
          <p:nvSpPr>
            <p:cNvPr id="249" name="object 249"/>
            <p:cNvSpPr/>
            <p:nvPr/>
          </p:nvSpPr>
          <p:spPr>
            <a:xfrm>
              <a:off x="6958933" y="2228502"/>
              <a:ext cx="667702" cy="379289"/>
            </a:xfrm>
            <a:custGeom>
              <a:avLst/>
              <a:gdLst/>
              <a:ahLst/>
              <a:cxnLst/>
              <a:rect l="l" t="t" r="r" b="b"/>
              <a:pathLst>
                <a:path w="1101090" h="625475">
                  <a:moveTo>
                    <a:pt x="0" y="0"/>
                  </a:moveTo>
                  <a:lnTo>
                    <a:pt x="0" y="35674"/>
                  </a:lnTo>
                  <a:lnTo>
                    <a:pt x="1100877" y="625279"/>
                  </a:lnTo>
                  <a:lnTo>
                    <a:pt x="1100877" y="589605"/>
                  </a:lnTo>
                  <a:lnTo>
                    <a:pt x="0" y="0"/>
                  </a:lnTo>
                  <a:close/>
                </a:path>
              </a:pathLst>
            </a:custGeom>
            <a:solidFill>
              <a:srgbClr val="F7F1F1"/>
            </a:solidFill>
          </p:spPr>
          <p:txBody>
            <a:bodyPr wrap="square" lIns="0" tIns="0" rIns="0" bIns="0" rtlCol="0"/>
            <a:lstStyle/>
            <a:p>
              <a:endParaRPr sz="1092" dirty="0"/>
            </a:p>
          </p:txBody>
        </p:sp>
        <p:sp>
          <p:nvSpPr>
            <p:cNvPr id="250" name="object 250"/>
            <p:cNvSpPr/>
            <p:nvPr/>
          </p:nvSpPr>
          <p:spPr>
            <a:xfrm>
              <a:off x="6958933" y="2491755"/>
              <a:ext cx="667702" cy="379289"/>
            </a:xfrm>
            <a:custGeom>
              <a:avLst/>
              <a:gdLst/>
              <a:ahLst/>
              <a:cxnLst/>
              <a:rect l="l" t="t" r="r" b="b"/>
              <a:pathLst>
                <a:path w="1101090" h="625475">
                  <a:moveTo>
                    <a:pt x="0" y="0"/>
                  </a:moveTo>
                  <a:lnTo>
                    <a:pt x="0" y="35925"/>
                  </a:lnTo>
                  <a:lnTo>
                    <a:pt x="1100877" y="625289"/>
                  </a:lnTo>
                  <a:lnTo>
                    <a:pt x="1100877" y="589856"/>
                  </a:lnTo>
                  <a:lnTo>
                    <a:pt x="0" y="0"/>
                  </a:lnTo>
                  <a:close/>
                </a:path>
              </a:pathLst>
            </a:custGeom>
            <a:solidFill>
              <a:srgbClr val="F7F1F1"/>
            </a:solidFill>
          </p:spPr>
          <p:txBody>
            <a:bodyPr wrap="square" lIns="0" tIns="0" rIns="0" bIns="0" rtlCol="0"/>
            <a:lstStyle/>
            <a:p>
              <a:endParaRPr sz="1092" dirty="0"/>
            </a:p>
          </p:txBody>
        </p:sp>
        <p:sp>
          <p:nvSpPr>
            <p:cNvPr id="251" name="object 251"/>
            <p:cNvSpPr/>
            <p:nvPr/>
          </p:nvSpPr>
          <p:spPr>
            <a:xfrm>
              <a:off x="6958933" y="2753846"/>
              <a:ext cx="667702" cy="379674"/>
            </a:xfrm>
            <a:custGeom>
              <a:avLst/>
              <a:gdLst/>
              <a:ahLst/>
              <a:cxnLst/>
              <a:rect l="l" t="t" r="r" b="b"/>
              <a:pathLst>
                <a:path w="1101090" h="626110">
                  <a:moveTo>
                    <a:pt x="0" y="0"/>
                  </a:moveTo>
                  <a:lnTo>
                    <a:pt x="0" y="35915"/>
                  </a:lnTo>
                  <a:lnTo>
                    <a:pt x="1100877" y="625541"/>
                  </a:lnTo>
                  <a:lnTo>
                    <a:pt x="1100877" y="589615"/>
                  </a:lnTo>
                  <a:lnTo>
                    <a:pt x="0" y="0"/>
                  </a:lnTo>
                  <a:close/>
                </a:path>
              </a:pathLst>
            </a:custGeom>
            <a:solidFill>
              <a:srgbClr val="F7F1F1"/>
            </a:solidFill>
          </p:spPr>
          <p:txBody>
            <a:bodyPr wrap="square" lIns="0" tIns="0" rIns="0" bIns="0" rtlCol="0"/>
            <a:lstStyle/>
            <a:p>
              <a:endParaRPr sz="1092" dirty="0"/>
            </a:p>
          </p:txBody>
        </p:sp>
        <p:sp>
          <p:nvSpPr>
            <p:cNvPr id="252" name="object 252"/>
            <p:cNvSpPr/>
            <p:nvPr/>
          </p:nvSpPr>
          <p:spPr>
            <a:xfrm>
              <a:off x="6958933" y="3021345"/>
              <a:ext cx="667702" cy="379289"/>
            </a:xfrm>
            <a:custGeom>
              <a:avLst/>
              <a:gdLst/>
              <a:ahLst/>
              <a:cxnLst/>
              <a:rect l="l" t="t" r="r" b="b"/>
              <a:pathLst>
                <a:path w="1101090" h="625475">
                  <a:moveTo>
                    <a:pt x="0" y="0"/>
                  </a:moveTo>
                  <a:lnTo>
                    <a:pt x="0" y="35674"/>
                  </a:lnTo>
                  <a:lnTo>
                    <a:pt x="1100877" y="625289"/>
                  </a:lnTo>
                  <a:lnTo>
                    <a:pt x="1100877" y="589615"/>
                  </a:lnTo>
                  <a:lnTo>
                    <a:pt x="0" y="0"/>
                  </a:lnTo>
                  <a:close/>
                </a:path>
              </a:pathLst>
            </a:custGeom>
            <a:solidFill>
              <a:srgbClr val="F7F1F1"/>
            </a:solidFill>
          </p:spPr>
          <p:txBody>
            <a:bodyPr wrap="square" lIns="0" tIns="0" rIns="0" bIns="0" rtlCol="0"/>
            <a:lstStyle/>
            <a:p>
              <a:endParaRPr sz="1092" dirty="0"/>
            </a:p>
          </p:txBody>
        </p:sp>
        <p:sp>
          <p:nvSpPr>
            <p:cNvPr id="253" name="object 253"/>
            <p:cNvSpPr/>
            <p:nvPr/>
          </p:nvSpPr>
          <p:spPr>
            <a:xfrm>
              <a:off x="7204691" y="1538783"/>
              <a:ext cx="108183" cy="66314"/>
            </a:xfrm>
            <a:prstGeom prst="rect">
              <a:avLst/>
            </a:prstGeom>
            <a:blipFill>
              <a:blip r:embed="rId5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54" name="object 254"/>
            <p:cNvSpPr/>
            <p:nvPr/>
          </p:nvSpPr>
          <p:spPr>
            <a:xfrm>
              <a:off x="7185104" y="1536456"/>
              <a:ext cx="108039" cy="76855"/>
            </a:xfrm>
            <a:prstGeom prst="rect">
              <a:avLst/>
            </a:prstGeom>
            <a:blipFill>
              <a:blip r:embed="rId5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55" name="object 255"/>
            <p:cNvSpPr/>
            <p:nvPr/>
          </p:nvSpPr>
          <p:spPr>
            <a:xfrm>
              <a:off x="7405243" y="1645093"/>
              <a:ext cx="108040" cy="66277"/>
            </a:xfrm>
            <a:prstGeom prst="rect">
              <a:avLst/>
            </a:prstGeom>
            <a:blipFill>
              <a:blip r:embed="rId5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56" name="object 256"/>
            <p:cNvSpPr/>
            <p:nvPr/>
          </p:nvSpPr>
          <p:spPr>
            <a:xfrm>
              <a:off x="7385471" y="1642724"/>
              <a:ext cx="108075" cy="76779"/>
            </a:xfrm>
            <a:prstGeom prst="rect">
              <a:avLst/>
            </a:prstGeom>
            <a:blipFill>
              <a:blip r:embed="rId5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57" name="object 257"/>
            <p:cNvSpPr/>
            <p:nvPr/>
          </p:nvSpPr>
          <p:spPr>
            <a:xfrm>
              <a:off x="7618359" y="1752610"/>
              <a:ext cx="108044" cy="66340"/>
            </a:xfrm>
            <a:prstGeom prst="rect">
              <a:avLst/>
            </a:prstGeom>
            <a:blipFill>
              <a:blip r:embed="rId6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58" name="object 258"/>
            <p:cNvSpPr/>
            <p:nvPr/>
          </p:nvSpPr>
          <p:spPr>
            <a:xfrm>
              <a:off x="7598739" y="1750310"/>
              <a:ext cx="107933" cy="76846"/>
            </a:xfrm>
            <a:prstGeom prst="rect">
              <a:avLst/>
            </a:prstGeom>
            <a:blipFill>
              <a:blip r:embed="rId6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59" name="object 259"/>
            <p:cNvSpPr/>
            <p:nvPr/>
          </p:nvSpPr>
          <p:spPr>
            <a:xfrm>
              <a:off x="7741845" y="1421903"/>
              <a:ext cx="197153" cy="136313"/>
            </a:xfrm>
            <a:custGeom>
              <a:avLst/>
              <a:gdLst/>
              <a:ahLst/>
              <a:cxnLst/>
              <a:rect l="l" t="t" r="r" b="b"/>
              <a:pathLst>
                <a:path w="325119" h="224789">
                  <a:moveTo>
                    <a:pt x="397" y="222558"/>
                  </a:moveTo>
                  <a:lnTo>
                    <a:pt x="0" y="224432"/>
                  </a:lnTo>
                  <a:lnTo>
                    <a:pt x="3184" y="223459"/>
                  </a:lnTo>
                  <a:lnTo>
                    <a:pt x="1916" y="223459"/>
                  </a:lnTo>
                  <a:lnTo>
                    <a:pt x="397" y="222558"/>
                  </a:lnTo>
                  <a:close/>
                </a:path>
                <a:path w="325119" h="224789">
                  <a:moveTo>
                    <a:pt x="219742" y="0"/>
                  </a:moveTo>
                  <a:lnTo>
                    <a:pt x="242254" y="13507"/>
                  </a:lnTo>
                  <a:lnTo>
                    <a:pt x="242495" y="74018"/>
                  </a:lnTo>
                  <a:lnTo>
                    <a:pt x="1916" y="223459"/>
                  </a:lnTo>
                  <a:lnTo>
                    <a:pt x="3184" y="223459"/>
                  </a:lnTo>
                  <a:lnTo>
                    <a:pt x="145838" y="179837"/>
                  </a:lnTo>
                  <a:lnTo>
                    <a:pt x="324691" y="59558"/>
                  </a:lnTo>
                  <a:lnTo>
                    <a:pt x="219742" y="0"/>
                  </a:lnTo>
                  <a:close/>
                </a:path>
              </a:pathLst>
            </a:custGeom>
            <a:solidFill>
              <a:srgbClr val="D4D4D5"/>
            </a:solidFill>
          </p:spPr>
          <p:txBody>
            <a:bodyPr wrap="square" lIns="0" tIns="0" rIns="0" bIns="0" rtlCol="0"/>
            <a:lstStyle/>
            <a:p>
              <a:endParaRPr sz="1092" dirty="0"/>
            </a:p>
          </p:txBody>
        </p:sp>
        <p:sp>
          <p:nvSpPr>
            <p:cNvPr id="260" name="object 260"/>
            <p:cNvSpPr/>
            <p:nvPr/>
          </p:nvSpPr>
          <p:spPr>
            <a:xfrm>
              <a:off x="7486331" y="1276181"/>
              <a:ext cx="402778" cy="244901"/>
            </a:xfrm>
            <a:custGeom>
              <a:avLst/>
              <a:gdLst/>
              <a:ahLst/>
              <a:cxnLst/>
              <a:rect l="l" t="t" r="r" b="b"/>
              <a:pathLst>
                <a:path w="664209" h="403860">
                  <a:moveTo>
                    <a:pt x="240579" y="0"/>
                  </a:moveTo>
                  <a:lnTo>
                    <a:pt x="0" y="149440"/>
                  </a:lnTo>
                  <a:lnTo>
                    <a:pt x="422803" y="403275"/>
                  </a:lnTo>
                  <a:lnTo>
                    <a:pt x="663623" y="253814"/>
                  </a:lnTo>
                  <a:lnTo>
                    <a:pt x="240579" y="0"/>
                  </a:lnTo>
                  <a:close/>
                </a:path>
              </a:pathLst>
            </a:custGeom>
            <a:solidFill>
              <a:srgbClr val="FFFFFF"/>
            </a:solidFill>
          </p:spPr>
          <p:txBody>
            <a:bodyPr wrap="square" lIns="0" tIns="0" rIns="0" bIns="0" rtlCol="0"/>
            <a:lstStyle/>
            <a:p>
              <a:endParaRPr sz="1092" dirty="0"/>
            </a:p>
          </p:txBody>
        </p:sp>
        <p:sp>
          <p:nvSpPr>
            <p:cNvPr id="261" name="object 261"/>
            <p:cNvSpPr/>
            <p:nvPr/>
          </p:nvSpPr>
          <p:spPr>
            <a:xfrm>
              <a:off x="7742720" y="1430098"/>
              <a:ext cx="146325" cy="127456"/>
            </a:xfrm>
            <a:custGeom>
              <a:avLst/>
              <a:gdLst/>
              <a:ahLst/>
              <a:cxnLst/>
              <a:rect l="l" t="t" r="r" b="b"/>
              <a:pathLst>
                <a:path w="241300" h="210185">
                  <a:moveTo>
                    <a:pt x="240819" y="0"/>
                  </a:moveTo>
                  <a:lnTo>
                    <a:pt x="0" y="149461"/>
                  </a:lnTo>
                  <a:lnTo>
                    <a:pt x="471" y="209951"/>
                  </a:lnTo>
                  <a:lnTo>
                    <a:pt x="241050" y="60511"/>
                  </a:lnTo>
                  <a:lnTo>
                    <a:pt x="240819" y="0"/>
                  </a:lnTo>
                  <a:close/>
                </a:path>
              </a:pathLst>
            </a:custGeom>
            <a:solidFill>
              <a:srgbClr val="787371"/>
            </a:solidFill>
          </p:spPr>
          <p:txBody>
            <a:bodyPr wrap="square" lIns="0" tIns="0" rIns="0" bIns="0" rtlCol="0"/>
            <a:lstStyle/>
            <a:p>
              <a:endParaRPr sz="1092" dirty="0"/>
            </a:p>
          </p:txBody>
        </p:sp>
        <p:sp>
          <p:nvSpPr>
            <p:cNvPr id="262" name="object 262"/>
            <p:cNvSpPr/>
            <p:nvPr/>
          </p:nvSpPr>
          <p:spPr>
            <a:xfrm>
              <a:off x="7486332" y="1366799"/>
              <a:ext cx="256838" cy="190992"/>
            </a:xfrm>
            <a:custGeom>
              <a:avLst/>
              <a:gdLst/>
              <a:ahLst/>
              <a:cxnLst/>
              <a:rect l="l" t="t" r="r" b="b"/>
              <a:pathLst>
                <a:path w="423545" h="314960">
                  <a:moveTo>
                    <a:pt x="0" y="0"/>
                  </a:moveTo>
                  <a:lnTo>
                    <a:pt x="481" y="60521"/>
                  </a:lnTo>
                  <a:lnTo>
                    <a:pt x="423275" y="314335"/>
                  </a:lnTo>
                  <a:lnTo>
                    <a:pt x="422803" y="253835"/>
                  </a:lnTo>
                  <a:lnTo>
                    <a:pt x="0" y="0"/>
                  </a:lnTo>
                  <a:close/>
                </a:path>
              </a:pathLst>
            </a:custGeom>
            <a:solidFill>
              <a:srgbClr val="D6CCC2"/>
            </a:solidFill>
          </p:spPr>
          <p:txBody>
            <a:bodyPr wrap="square" lIns="0" tIns="0" rIns="0" bIns="0" rtlCol="0"/>
            <a:lstStyle/>
            <a:p>
              <a:endParaRPr sz="1092" dirty="0"/>
            </a:p>
          </p:txBody>
        </p:sp>
        <p:sp>
          <p:nvSpPr>
            <p:cNvPr id="263" name="object 263"/>
            <p:cNvSpPr/>
            <p:nvPr/>
          </p:nvSpPr>
          <p:spPr>
            <a:xfrm>
              <a:off x="7786428" y="1407150"/>
              <a:ext cx="83559" cy="60840"/>
            </a:xfrm>
            <a:custGeom>
              <a:avLst/>
              <a:gdLst/>
              <a:ahLst/>
              <a:cxnLst/>
              <a:rect l="l" t="t" r="r" b="b"/>
              <a:pathLst>
                <a:path w="137795" h="100330">
                  <a:moveTo>
                    <a:pt x="67725" y="0"/>
                  </a:moveTo>
                  <a:lnTo>
                    <a:pt x="13978" y="38574"/>
                  </a:lnTo>
                  <a:lnTo>
                    <a:pt x="0" y="99787"/>
                  </a:lnTo>
                  <a:lnTo>
                    <a:pt x="61694" y="82185"/>
                  </a:lnTo>
                  <a:lnTo>
                    <a:pt x="137409" y="35423"/>
                  </a:lnTo>
                  <a:lnTo>
                    <a:pt x="67725" y="0"/>
                  </a:lnTo>
                  <a:close/>
                </a:path>
              </a:pathLst>
            </a:custGeom>
            <a:solidFill>
              <a:srgbClr val="D4D4D5"/>
            </a:solidFill>
          </p:spPr>
          <p:txBody>
            <a:bodyPr wrap="square" lIns="0" tIns="0" rIns="0" bIns="0" rtlCol="0"/>
            <a:lstStyle/>
            <a:p>
              <a:endParaRPr sz="1092" dirty="0"/>
            </a:p>
          </p:txBody>
        </p:sp>
        <p:sp>
          <p:nvSpPr>
            <p:cNvPr id="264" name="object 264"/>
            <p:cNvSpPr/>
            <p:nvPr/>
          </p:nvSpPr>
          <p:spPr>
            <a:xfrm>
              <a:off x="7583101" y="1321343"/>
              <a:ext cx="134180" cy="90923"/>
            </a:xfrm>
            <a:prstGeom prst="rect">
              <a:avLst/>
            </a:prstGeom>
            <a:blipFill>
              <a:blip r:embed="rId6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65" name="object 265"/>
            <p:cNvSpPr/>
            <p:nvPr/>
          </p:nvSpPr>
          <p:spPr>
            <a:xfrm>
              <a:off x="7665976" y="1334647"/>
              <a:ext cx="180980" cy="110128"/>
            </a:xfrm>
            <a:custGeom>
              <a:avLst/>
              <a:gdLst/>
              <a:ahLst/>
              <a:cxnLst/>
              <a:rect l="l" t="t" r="r" b="b"/>
              <a:pathLst>
                <a:path w="298450" h="181610">
                  <a:moveTo>
                    <a:pt x="99557" y="0"/>
                  </a:moveTo>
                  <a:lnTo>
                    <a:pt x="0" y="61945"/>
                  </a:lnTo>
                  <a:lnTo>
                    <a:pt x="198402" y="181271"/>
                  </a:lnTo>
                  <a:lnTo>
                    <a:pt x="298189" y="119074"/>
                  </a:lnTo>
                  <a:lnTo>
                    <a:pt x="99557" y="0"/>
                  </a:lnTo>
                  <a:close/>
                </a:path>
              </a:pathLst>
            </a:custGeom>
            <a:solidFill>
              <a:srgbClr val="FFFFFF"/>
            </a:solidFill>
          </p:spPr>
          <p:txBody>
            <a:bodyPr wrap="square" lIns="0" tIns="0" rIns="0" bIns="0" rtlCol="0"/>
            <a:lstStyle/>
            <a:p>
              <a:endParaRPr sz="1092" dirty="0"/>
            </a:p>
          </p:txBody>
        </p:sp>
        <p:sp>
          <p:nvSpPr>
            <p:cNvPr id="266" name="object 266"/>
            <p:cNvSpPr/>
            <p:nvPr/>
          </p:nvSpPr>
          <p:spPr>
            <a:xfrm>
              <a:off x="7665977" y="1372214"/>
              <a:ext cx="180962" cy="95446"/>
            </a:xfrm>
            <a:prstGeom prst="rect">
              <a:avLst/>
            </a:prstGeom>
            <a:blipFill>
              <a:blip r:embed="rId6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67" name="object 267"/>
            <p:cNvSpPr/>
            <p:nvPr/>
          </p:nvSpPr>
          <p:spPr>
            <a:xfrm>
              <a:off x="7519661" y="1287139"/>
              <a:ext cx="179064" cy="125708"/>
            </a:xfrm>
            <a:prstGeom prst="rect">
              <a:avLst/>
            </a:prstGeom>
            <a:blipFill>
              <a:blip r:embed="rId6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68" name="object 268"/>
            <p:cNvSpPr/>
            <p:nvPr/>
          </p:nvSpPr>
          <p:spPr>
            <a:xfrm>
              <a:off x="7669345" y="1692772"/>
              <a:ext cx="266471" cy="83318"/>
            </a:xfrm>
            <a:prstGeom prst="rect">
              <a:avLst/>
            </a:prstGeom>
            <a:blipFill>
              <a:blip r:embed="rId6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69" name="object 269"/>
            <p:cNvSpPr/>
            <p:nvPr/>
          </p:nvSpPr>
          <p:spPr>
            <a:xfrm>
              <a:off x="7668905" y="1624218"/>
              <a:ext cx="246056" cy="139778"/>
            </a:xfrm>
            <a:custGeom>
              <a:avLst/>
              <a:gdLst/>
              <a:ahLst/>
              <a:cxnLst/>
              <a:rect l="l" t="t" r="r" b="b"/>
              <a:pathLst>
                <a:path w="405765" h="230505">
                  <a:moveTo>
                    <a:pt x="204894" y="0"/>
                  </a:moveTo>
                  <a:lnTo>
                    <a:pt x="0" y="117389"/>
                  </a:lnTo>
                  <a:lnTo>
                    <a:pt x="200538" y="230432"/>
                  </a:lnTo>
                  <a:lnTo>
                    <a:pt x="227075" y="215249"/>
                  </a:lnTo>
                  <a:lnTo>
                    <a:pt x="200308" y="215249"/>
                  </a:lnTo>
                  <a:lnTo>
                    <a:pt x="26271" y="116896"/>
                  </a:lnTo>
                  <a:lnTo>
                    <a:pt x="35423" y="111609"/>
                  </a:lnTo>
                  <a:lnTo>
                    <a:pt x="85866" y="111609"/>
                  </a:lnTo>
                  <a:lnTo>
                    <a:pt x="60259" y="97138"/>
                  </a:lnTo>
                  <a:lnTo>
                    <a:pt x="69421" y="91829"/>
                  </a:lnTo>
                  <a:lnTo>
                    <a:pt x="119634" y="91829"/>
                  </a:lnTo>
                  <a:lnTo>
                    <a:pt x="93997" y="77379"/>
                  </a:lnTo>
                  <a:lnTo>
                    <a:pt x="103180" y="72071"/>
                  </a:lnTo>
                  <a:lnTo>
                    <a:pt x="153767" y="72071"/>
                  </a:lnTo>
                  <a:lnTo>
                    <a:pt x="127755" y="57369"/>
                  </a:lnTo>
                  <a:lnTo>
                    <a:pt x="136906" y="52061"/>
                  </a:lnTo>
                  <a:lnTo>
                    <a:pt x="187757" y="52061"/>
                  </a:lnTo>
                  <a:lnTo>
                    <a:pt x="161743" y="37360"/>
                  </a:lnTo>
                  <a:lnTo>
                    <a:pt x="170905" y="32051"/>
                  </a:lnTo>
                  <a:lnTo>
                    <a:pt x="221058" y="32051"/>
                  </a:lnTo>
                  <a:lnTo>
                    <a:pt x="195480" y="17601"/>
                  </a:lnTo>
                  <a:lnTo>
                    <a:pt x="204663" y="12292"/>
                  </a:lnTo>
                  <a:lnTo>
                    <a:pt x="226728" y="12292"/>
                  </a:lnTo>
                  <a:lnTo>
                    <a:pt x="204894" y="0"/>
                  </a:lnTo>
                  <a:close/>
                </a:path>
                <a:path w="405765" h="230505">
                  <a:moveTo>
                    <a:pt x="85866" y="111609"/>
                  </a:moveTo>
                  <a:lnTo>
                    <a:pt x="35423" y="111609"/>
                  </a:lnTo>
                  <a:lnTo>
                    <a:pt x="209721" y="209710"/>
                  </a:lnTo>
                  <a:lnTo>
                    <a:pt x="200308" y="215249"/>
                  </a:lnTo>
                  <a:lnTo>
                    <a:pt x="227075" y="215249"/>
                  </a:lnTo>
                  <a:lnTo>
                    <a:pt x="261609" y="195491"/>
                  </a:lnTo>
                  <a:lnTo>
                    <a:pt x="234296" y="195491"/>
                  </a:lnTo>
                  <a:lnTo>
                    <a:pt x="85866" y="111609"/>
                  </a:lnTo>
                  <a:close/>
                </a:path>
                <a:path w="405765" h="230505">
                  <a:moveTo>
                    <a:pt x="119634" y="91829"/>
                  </a:moveTo>
                  <a:lnTo>
                    <a:pt x="69421" y="91829"/>
                  </a:lnTo>
                  <a:lnTo>
                    <a:pt x="243448" y="190182"/>
                  </a:lnTo>
                  <a:lnTo>
                    <a:pt x="234296" y="195491"/>
                  </a:lnTo>
                  <a:lnTo>
                    <a:pt x="261609" y="195491"/>
                  </a:lnTo>
                  <a:lnTo>
                    <a:pt x="296582" y="175481"/>
                  </a:lnTo>
                  <a:lnTo>
                    <a:pt x="268054" y="175481"/>
                  </a:lnTo>
                  <a:lnTo>
                    <a:pt x="119634" y="91829"/>
                  </a:lnTo>
                  <a:close/>
                </a:path>
                <a:path w="405765" h="230505">
                  <a:moveTo>
                    <a:pt x="153767" y="72071"/>
                  </a:moveTo>
                  <a:lnTo>
                    <a:pt x="103180" y="72071"/>
                  </a:lnTo>
                  <a:lnTo>
                    <a:pt x="277206" y="170172"/>
                  </a:lnTo>
                  <a:lnTo>
                    <a:pt x="268054" y="175481"/>
                  </a:lnTo>
                  <a:lnTo>
                    <a:pt x="296582" y="175481"/>
                  </a:lnTo>
                  <a:lnTo>
                    <a:pt x="331117" y="155723"/>
                  </a:lnTo>
                  <a:lnTo>
                    <a:pt x="301781" y="155723"/>
                  </a:lnTo>
                  <a:lnTo>
                    <a:pt x="153767" y="72071"/>
                  </a:lnTo>
                  <a:close/>
                </a:path>
                <a:path w="405765" h="230505">
                  <a:moveTo>
                    <a:pt x="187757" y="52061"/>
                  </a:moveTo>
                  <a:lnTo>
                    <a:pt x="136906" y="52061"/>
                  </a:lnTo>
                  <a:lnTo>
                    <a:pt x="310943" y="150414"/>
                  </a:lnTo>
                  <a:lnTo>
                    <a:pt x="301781" y="155723"/>
                  </a:lnTo>
                  <a:lnTo>
                    <a:pt x="331117" y="155723"/>
                  </a:lnTo>
                  <a:lnTo>
                    <a:pt x="366090" y="135713"/>
                  </a:lnTo>
                  <a:lnTo>
                    <a:pt x="335780" y="135713"/>
                  </a:lnTo>
                  <a:lnTo>
                    <a:pt x="187757" y="52061"/>
                  </a:lnTo>
                  <a:close/>
                </a:path>
                <a:path w="405765" h="230505">
                  <a:moveTo>
                    <a:pt x="221058" y="32051"/>
                  </a:moveTo>
                  <a:lnTo>
                    <a:pt x="170905" y="32051"/>
                  </a:lnTo>
                  <a:lnTo>
                    <a:pt x="344931" y="130163"/>
                  </a:lnTo>
                  <a:lnTo>
                    <a:pt x="335780" y="135713"/>
                  </a:lnTo>
                  <a:lnTo>
                    <a:pt x="366090" y="135713"/>
                  </a:lnTo>
                  <a:lnTo>
                    <a:pt x="400661" y="115933"/>
                  </a:lnTo>
                  <a:lnTo>
                    <a:pt x="369538" y="115933"/>
                  </a:lnTo>
                  <a:lnTo>
                    <a:pt x="221058" y="32051"/>
                  </a:lnTo>
                  <a:close/>
                </a:path>
                <a:path w="405765" h="230505">
                  <a:moveTo>
                    <a:pt x="226728" y="12292"/>
                  </a:moveTo>
                  <a:lnTo>
                    <a:pt x="204663" y="12292"/>
                  </a:lnTo>
                  <a:lnTo>
                    <a:pt x="378690" y="110645"/>
                  </a:lnTo>
                  <a:lnTo>
                    <a:pt x="369538" y="115933"/>
                  </a:lnTo>
                  <a:lnTo>
                    <a:pt x="400661" y="115933"/>
                  </a:lnTo>
                  <a:lnTo>
                    <a:pt x="405694" y="113054"/>
                  </a:lnTo>
                  <a:lnTo>
                    <a:pt x="226728" y="12292"/>
                  </a:lnTo>
                  <a:close/>
                </a:path>
              </a:pathLst>
            </a:custGeom>
            <a:solidFill>
              <a:srgbClr val="C4D0D9"/>
            </a:solidFill>
          </p:spPr>
          <p:txBody>
            <a:bodyPr wrap="square" lIns="0" tIns="0" rIns="0" bIns="0" rtlCol="0"/>
            <a:lstStyle/>
            <a:p>
              <a:endParaRPr sz="1092" dirty="0"/>
            </a:p>
          </p:txBody>
        </p:sp>
        <p:sp>
          <p:nvSpPr>
            <p:cNvPr id="270" name="object 270"/>
            <p:cNvSpPr/>
            <p:nvPr/>
          </p:nvSpPr>
          <p:spPr>
            <a:xfrm>
              <a:off x="7854250" y="1576997"/>
              <a:ext cx="266480" cy="83325"/>
            </a:xfrm>
            <a:prstGeom prst="rect">
              <a:avLst/>
            </a:prstGeom>
            <a:blipFill>
              <a:blip r:embed="rId6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71" name="object 271"/>
            <p:cNvSpPr/>
            <p:nvPr/>
          </p:nvSpPr>
          <p:spPr>
            <a:xfrm>
              <a:off x="7853522" y="1508301"/>
              <a:ext cx="246056" cy="139778"/>
            </a:xfrm>
            <a:custGeom>
              <a:avLst/>
              <a:gdLst/>
              <a:ahLst/>
              <a:cxnLst/>
              <a:rect l="l" t="t" r="r" b="b"/>
              <a:pathLst>
                <a:path w="405765" h="230505">
                  <a:moveTo>
                    <a:pt x="205124" y="0"/>
                  </a:moveTo>
                  <a:lnTo>
                    <a:pt x="0" y="117389"/>
                  </a:lnTo>
                  <a:lnTo>
                    <a:pt x="200559" y="230443"/>
                  </a:lnTo>
                  <a:lnTo>
                    <a:pt x="226670" y="215501"/>
                  </a:lnTo>
                  <a:lnTo>
                    <a:pt x="200800" y="215501"/>
                  </a:lnTo>
                  <a:lnTo>
                    <a:pt x="26763" y="117148"/>
                  </a:lnTo>
                  <a:lnTo>
                    <a:pt x="35915" y="111849"/>
                  </a:lnTo>
                  <a:lnTo>
                    <a:pt x="86159" y="111849"/>
                  </a:lnTo>
                  <a:lnTo>
                    <a:pt x="60490" y="97379"/>
                  </a:lnTo>
                  <a:lnTo>
                    <a:pt x="69652" y="92080"/>
                  </a:lnTo>
                  <a:lnTo>
                    <a:pt x="120568" y="92080"/>
                  </a:lnTo>
                  <a:lnTo>
                    <a:pt x="94489" y="77379"/>
                  </a:lnTo>
                  <a:lnTo>
                    <a:pt x="103640" y="72071"/>
                  </a:lnTo>
                  <a:lnTo>
                    <a:pt x="154278" y="72071"/>
                  </a:lnTo>
                  <a:lnTo>
                    <a:pt x="128247" y="57359"/>
                  </a:lnTo>
                  <a:lnTo>
                    <a:pt x="137398" y="52071"/>
                  </a:lnTo>
                  <a:lnTo>
                    <a:pt x="187889" y="52071"/>
                  </a:lnTo>
                  <a:lnTo>
                    <a:pt x="162214" y="37600"/>
                  </a:lnTo>
                  <a:lnTo>
                    <a:pt x="171387" y="32292"/>
                  </a:lnTo>
                  <a:lnTo>
                    <a:pt x="221985" y="32292"/>
                  </a:lnTo>
                  <a:lnTo>
                    <a:pt x="195973" y="17591"/>
                  </a:lnTo>
                  <a:lnTo>
                    <a:pt x="205124" y="12282"/>
                  </a:lnTo>
                  <a:lnTo>
                    <a:pt x="226914" y="12282"/>
                  </a:lnTo>
                  <a:lnTo>
                    <a:pt x="205124" y="0"/>
                  </a:lnTo>
                  <a:close/>
                </a:path>
                <a:path w="405765" h="230505">
                  <a:moveTo>
                    <a:pt x="86159" y="111849"/>
                  </a:moveTo>
                  <a:lnTo>
                    <a:pt x="35915" y="111849"/>
                  </a:lnTo>
                  <a:lnTo>
                    <a:pt x="210192" y="209951"/>
                  </a:lnTo>
                  <a:lnTo>
                    <a:pt x="200800" y="215501"/>
                  </a:lnTo>
                  <a:lnTo>
                    <a:pt x="226670" y="215501"/>
                  </a:lnTo>
                  <a:lnTo>
                    <a:pt x="261636" y="195491"/>
                  </a:lnTo>
                  <a:lnTo>
                    <a:pt x="234526" y="195491"/>
                  </a:lnTo>
                  <a:lnTo>
                    <a:pt x="86159" y="111849"/>
                  </a:lnTo>
                  <a:close/>
                </a:path>
                <a:path w="405765" h="230505">
                  <a:moveTo>
                    <a:pt x="120568" y="92080"/>
                  </a:moveTo>
                  <a:lnTo>
                    <a:pt x="69652" y="92080"/>
                  </a:lnTo>
                  <a:lnTo>
                    <a:pt x="243709" y="190423"/>
                  </a:lnTo>
                  <a:lnTo>
                    <a:pt x="234526" y="195491"/>
                  </a:lnTo>
                  <a:lnTo>
                    <a:pt x="261636" y="195491"/>
                  </a:lnTo>
                  <a:lnTo>
                    <a:pt x="296603" y="175481"/>
                  </a:lnTo>
                  <a:lnTo>
                    <a:pt x="268515" y="175481"/>
                  </a:lnTo>
                  <a:lnTo>
                    <a:pt x="120568" y="92080"/>
                  </a:lnTo>
                  <a:close/>
                </a:path>
                <a:path w="405765" h="230505">
                  <a:moveTo>
                    <a:pt x="154278" y="72071"/>
                  </a:moveTo>
                  <a:lnTo>
                    <a:pt x="103640" y="72071"/>
                  </a:lnTo>
                  <a:lnTo>
                    <a:pt x="277677" y="170183"/>
                  </a:lnTo>
                  <a:lnTo>
                    <a:pt x="268515" y="175481"/>
                  </a:lnTo>
                  <a:lnTo>
                    <a:pt x="296603" y="175481"/>
                  </a:lnTo>
                  <a:lnTo>
                    <a:pt x="331149" y="155712"/>
                  </a:lnTo>
                  <a:lnTo>
                    <a:pt x="302273" y="155712"/>
                  </a:lnTo>
                  <a:lnTo>
                    <a:pt x="154278" y="72071"/>
                  </a:lnTo>
                  <a:close/>
                </a:path>
                <a:path w="405765" h="230505">
                  <a:moveTo>
                    <a:pt x="187889" y="52071"/>
                  </a:moveTo>
                  <a:lnTo>
                    <a:pt x="137398" y="52071"/>
                  </a:lnTo>
                  <a:lnTo>
                    <a:pt x="311435" y="150173"/>
                  </a:lnTo>
                  <a:lnTo>
                    <a:pt x="302273" y="155712"/>
                  </a:lnTo>
                  <a:lnTo>
                    <a:pt x="331149" y="155712"/>
                  </a:lnTo>
                  <a:lnTo>
                    <a:pt x="366116" y="135702"/>
                  </a:lnTo>
                  <a:lnTo>
                    <a:pt x="336272" y="135702"/>
                  </a:lnTo>
                  <a:lnTo>
                    <a:pt x="187889" y="52071"/>
                  </a:lnTo>
                  <a:close/>
                </a:path>
                <a:path w="405765" h="230505">
                  <a:moveTo>
                    <a:pt x="221985" y="32292"/>
                  </a:moveTo>
                  <a:lnTo>
                    <a:pt x="171387" y="32292"/>
                  </a:lnTo>
                  <a:lnTo>
                    <a:pt x="345664" y="130414"/>
                  </a:lnTo>
                  <a:lnTo>
                    <a:pt x="336272" y="135702"/>
                  </a:lnTo>
                  <a:lnTo>
                    <a:pt x="366116" y="135702"/>
                  </a:lnTo>
                  <a:lnTo>
                    <a:pt x="400644" y="115944"/>
                  </a:lnTo>
                  <a:lnTo>
                    <a:pt x="369999" y="115944"/>
                  </a:lnTo>
                  <a:lnTo>
                    <a:pt x="221985" y="32292"/>
                  </a:lnTo>
                  <a:close/>
                </a:path>
                <a:path w="405765" h="230505">
                  <a:moveTo>
                    <a:pt x="226914" y="12282"/>
                  </a:moveTo>
                  <a:lnTo>
                    <a:pt x="205124" y="12282"/>
                  </a:lnTo>
                  <a:lnTo>
                    <a:pt x="379161" y="110635"/>
                  </a:lnTo>
                  <a:lnTo>
                    <a:pt x="369999" y="115944"/>
                  </a:lnTo>
                  <a:lnTo>
                    <a:pt x="400644" y="115944"/>
                  </a:lnTo>
                  <a:lnTo>
                    <a:pt x="405694" y="113054"/>
                  </a:lnTo>
                  <a:lnTo>
                    <a:pt x="226914" y="12282"/>
                  </a:lnTo>
                  <a:close/>
                </a:path>
              </a:pathLst>
            </a:custGeom>
            <a:solidFill>
              <a:srgbClr val="C4D0D9"/>
            </a:solidFill>
          </p:spPr>
          <p:txBody>
            <a:bodyPr wrap="square" lIns="0" tIns="0" rIns="0" bIns="0" rtlCol="0"/>
            <a:lstStyle/>
            <a:p>
              <a:endParaRPr sz="1092" dirty="0"/>
            </a:p>
          </p:txBody>
        </p:sp>
        <p:sp>
          <p:nvSpPr>
            <p:cNvPr id="272" name="object 272"/>
            <p:cNvSpPr/>
            <p:nvPr/>
          </p:nvSpPr>
          <p:spPr>
            <a:xfrm>
              <a:off x="7290018" y="1481406"/>
              <a:ext cx="266474" cy="83315"/>
            </a:xfrm>
            <a:prstGeom prst="rect">
              <a:avLst/>
            </a:prstGeom>
            <a:blipFill>
              <a:blip r:embed="rId6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73" name="object 273"/>
            <p:cNvSpPr/>
            <p:nvPr/>
          </p:nvSpPr>
          <p:spPr>
            <a:xfrm>
              <a:off x="7289291" y="1412845"/>
              <a:ext cx="246056" cy="139778"/>
            </a:xfrm>
            <a:custGeom>
              <a:avLst/>
              <a:gdLst/>
              <a:ahLst/>
              <a:cxnLst/>
              <a:rect l="l" t="t" r="r" b="b"/>
              <a:pathLst>
                <a:path w="405765" h="230505">
                  <a:moveTo>
                    <a:pt x="205135" y="0"/>
                  </a:moveTo>
                  <a:lnTo>
                    <a:pt x="0" y="117399"/>
                  </a:lnTo>
                  <a:lnTo>
                    <a:pt x="200548" y="230443"/>
                  </a:lnTo>
                  <a:lnTo>
                    <a:pt x="227103" y="215260"/>
                  </a:lnTo>
                  <a:lnTo>
                    <a:pt x="200789" y="215260"/>
                  </a:lnTo>
                  <a:lnTo>
                    <a:pt x="26742" y="116907"/>
                  </a:lnTo>
                  <a:lnTo>
                    <a:pt x="35915" y="111619"/>
                  </a:lnTo>
                  <a:lnTo>
                    <a:pt x="86172" y="111619"/>
                  </a:lnTo>
                  <a:lnTo>
                    <a:pt x="60500" y="97148"/>
                  </a:lnTo>
                  <a:lnTo>
                    <a:pt x="69662" y="91840"/>
                  </a:lnTo>
                  <a:lnTo>
                    <a:pt x="120569" y="91840"/>
                  </a:lnTo>
                  <a:lnTo>
                    <a:pt x="94489" y="77139"/>
                  </a:lnTo>
                  <a:lnTo>
                    <a:pt x="103640" y="71830"/>
                  </a:lnTo>
                  <a:lnTo>
                    <a:pt x="154045" y="71830"/>
                  </a:lnTo>
                  <a:lnTo>
                    <a:pt x="127996" y="57129"/>
                  </a:lnTo>
                  <a:lnTo>
                    <a:pt x="137147" y="52071"/>
                  </a:lnTo>
                  <a:lnTo>
                    <a:pt x="187650" y="52071"/>
                  </a:lnTo>
                  <a:lnTo>
                    <a:pt x="161984" y="37600"/>
                  </a:lnTo>
                  <a:lnTo>
                    <a:pt x="171146" y="32313"/>
                  </a:lnTo>
                  <a:lnTo>
                    <a:pt x="222008" y="32313"/>
                  </a:lnTo>
                  <a:lnTo>
                    <a:pt x="195973" y="17601"/>
                  </a:lnTo>
                  <a:lnTo>
                    <a:pt x="205135" y="12303"/>
                  </a:lnTo>
                  <a:lnTo>
                    <a:pt x="226887" y="12303"/>
                  </a:lnTo>
                  <a:lnTo>
                    <a:pt x="205135" y="0"/>
                  </a:lnTo>
                  <a:close/>
                </a:path>
                <a:path w="405765" h="230505">
                  <a:moveTo>
                    <a:pt x="86172" y="111619"/>
                  </a:moveTo>
                  <a:lnTo>
                    <a:pt x="35915" y="111619"/>
                  </a:lnTo>
                  <a:lnTo>
                    <a:pt x="209951" y="209721"/>
                  </a:lnTo>
                  <a:lnTo>
                    <a:pt x="200789" y="215260"/>
                  </a:lnTo>
                  <a:lnTo>
                    <a:pt x="227103" y="215260"/>
                  </a:lnTo>
                  <a:lnTo>
                    <a:pt x="262101" y="195250"/>
                  </a:lnTo>
                  <a:lnTo>
                    <a:pt x="234537" y="195250"/>
                  </a:lnTo>
                  <a:lnTo>
                    <a:pt x="86172" y="111619"/>
                  </a:lnTo>
                  <a:close/>
                </a:path>
                <a:path w="405765" h="230505">
                  <a:moveTo>
                    <a:pt x="120569" y="91840"/>
                  </a:moveTo>
                  <a:lnTo>
                    <a:pt x="69662" y="91840"/>
                  </a:lnTo>
                  <a:lnTo>
                    <a:pt x="243688" y="190193"/>
                  </a:lnTo>
                  <a:lnTo>
                    <a:pt x="234537" y="195250"/>
                  </a:lnTo>
                  <a:lnTo>
                    <a:pt x="262101" y="195250"/>
                  </a:lnTo>
                  <a:lnTo>
                    <a:pt x="297098" y="175240"/>
                  </a:lnTo>
                  <a:lnTo>
                    <a:pt x="268525" y="175240"/>
                  </a:lnTo>
                  <a:lnTo>
                    <a:pt x="120569" y="91840"/>
                  </a:lnTo>
                  <a:close/>
                </a:path>
                <a:path w="405765" h="230505">
                  <a:moveTo>
                    <a:pt x="154045" y="71830"/>
                  </a:moveTo>
                  <a:lnTo>
                    <a:pt x="103640" y="71830"/>
                  </a:lnTo>
                  <a:lnTo>
                    <a:pt x="277928" y="169952"/>
                  </a:lnTo>
                  <a:lnTo>
                    <a:pt x="268525" y="175240"/>
                  </a:lnTo>
                  <a:lnTo>
                    <a:pt x="297098" y="175240"/>
                  </a:lnTo>
                  <a:lnTo>
                    <a:pt x="331657" y="155482"/>
                  </a:lnTo>
                  <a:lnTo>
                    <a:pt x="302273" y="155482"/>
                  </a:lnTo>
                  <a:lnTo>
                    <a:pt x="154045" y="71830"/>
                  </a:lnTo>
                  <a:close/>
                </a:path>
                <a:path w="405765" h="230505">
                  <a:moveTo>
                    <a:pt x="187650" y="52071"/>
                  </a:moveTo>
                  <a:lnTo>
                    <a:pt x="137147" y="52071"/>
                  </a:lnTo>
                  <a:lnTo>
                    <a:pt x="311194" y="150173"/>
                  </a:lnTo>
                  <a:lnTo>
                    <a:pt x="302273" y="155482"/>
                  </a:lnTo>
                  <a:lnTo>
                    <a:pt x="331657" y="155482"/>
                  </a:lnTo>
                  <a:lnTo>
                    <a:pt x="366215" y="135723"/>
                  </a:lnTo>
                  <a:lnTo>
                    <a:pt x="336021" y="135723"/>
                  </a:lnTo>
                  <a:lnTo>
                    <a:pt x="187650" y="52071"/>
                  </a:lnTo>
                  <a:close/>
                </a:path>
                <a:path w="405765" h="230505">
                  <a:moveTo>
                    <a:pt x="222008" y="32313"/>
                  </a:moveTo>
                  <a:lnTo>
                    <a:pt x="171146" y="32313"/>
                  </a:lnTo>
                  <a:lnTo>
                    <a:pt x="345172" y="130655"/>
                  </a:lnTo>
                  <a:lnTo>
                    <a:pt x="336021" y="135723"/>
                  </a:lnTo>
                  <a:lnTo>
                    <a:pt x="366215" y="135723"/>
                  </a:lnTo>
                  <a:lnTo>
                    <a:pt x="400809" y="115944"/>
                  </a:lnTo>
                  <a:lnTo>
                    <a:pt x="370009" y="115944"/>
                  </a:lnTo>
                  <a:lnTo>
                    <a:pt x="222008" y="32313"/>
                  </a:lnTo>
                  <a:close/>
                </a:path>
                <a:path w="405765" h="230505">
                  <a:moveTo>
                    <a:pt x="226887" y="12303"/>
                  </a:moveTo>
                  <a:lnTo>
                    <a:pt x="205135" y="12303"/>
                  </a:lnTo>
                  <a:lnTo>
                    <a:pt x="379171" y="110645"/>
                  </a:lnTo>
                  <a:lnTo>
                    <a:pt x="370009" y="115944"/>
                  </a:lnTo>
                  <a:lnTo>
                    <a:pt x="400809" y="115944"/>
                  </a:lnTo>
                  <a:lnTo>
                    <a:pt x="405443" y="113294"/>
                  </a:lnTo>
                  <a:lnTo>
                    <a:pt x="226887" y="12303"/>
                  </a:lnTo>
                  <a:close/>
                </a:path>
              </a:pathLst>
            </a:custGeom>
            <a:solidFill>
              <a:srgbClr val="C4D0D9"/>
            </a:solidFill>
          </p:spPr>
          <p:txBody>
            <a:bodyPr wrap="square" lIns="0" tIns="0" rIns="0" bIns="0" rtlCol="0"/>
            <a:lstStyle/>
            <a:p>
              <a:endParaRPr sz="1092" dirty="0"/>
            </a:p>
          </p:txBody>
        </p:sp>
        <p:sp>
          <p:nvSpPr>
            <p:cNvPr id="274" name="object 274"/>
            <p:cNvSpPr/>
            <p:nvPr/>
          </p:nvSpPr>
          <p:spPr>
            <a:xfrm>
              <a:off x="7483406" y="1587819"/>
              <a:ext cx="266338" cy="83173"/>
            </a:xfrm>
            <a:prstGeom prst="rect">
              <a:avLst/>
            </a:prstGeom>
            <a:blipFill>
              <a:blip r:embed="rId6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275" name="object 275"/>
            <p:cNvSpPr/>
            <p:nvPr/>
          </p:nvSpPr>
          <p:spPr>
            <a:xfrm>
              <a:off x="7482825" y="1519114"/>
              <a:ext cx="246056" cy="139778"/>
            </a:xfrm>
            <a:custGeom>
              <a:avLst/>
              <a:gdLst/>
              <a:ahLst/>
              <a:cxnLst/>
              <a:rect l="l" t="t" r="r" b="b"/>
              <a:pathLst>
                <a:path w="405765" h="230505">
                  <a:moveTo>
                    <a:pt x="204883" y="0"/>
                  </a:moveTo>
                  <a:lnTo>
                    <a:pt x="0" y="117389"/>
                  </a:lnTo>
                  <a:lnTo>
                    <a:pt x="200548" y="230443"/>
                  </a:lnTo>
                  <a:lnTo>
                    <a:pt x="226613" y="215511"/>
                  </a:lnTo>
                  <a:lnTo>
                    <a:pt x="200318" y="215511"/>
                  </a:lnTo>
                  <a:lnTo>
                    <a:pt x="26271" y="117158"/>
                  </a:lnTo>
                  <a:lnTo>
                    <a:pt x="35433" y="111849"/>
                  </a:lnTo>
                  <a:lnTo>
                    <a:pt x="85722" y="111849"/>
                  </a:lnTo>
                  <a:lnTo>
                    <a:pt x="60019" y="97379"/>
                  </a:lnTo>
                  <a:lnTo>
                    <a:pt x="69170" y="92091"/>
                  </a:lnTo>
                  <a:lnTo>
                    <a:pt x="120343" y="92091"/>
                  </a:lnTo>
                  <a:lnTo>
                    <a:pt x="94248" y="77379"/>
                  </a:lnTo>
                  <a:lnTo>
                    <a:pt x="103399" y="72081"/>
                  </a:lnTo>
                  <a:lnTo>
                    <a:pt x="154003" y="72081"/>
                  </a:lnTo>
                  <a:lnTo>
                    <a:pt x="127985" y="57380"/>
                  </a:lnTo>
                  <a:lnTo>
                    <a:pt x="137158" y="52071"/>
                  </a:lnTo>
                  <a:lnTo>
                    <a:pt x="187386" y="52071"/>
                  </a:lnTo>
                  <a:lnTo>
                    <a:pt x="161733" y="37611"/>
                  </a:lnTo>
                  <a:lnTo>
                    <a:pt x="170895" y="32313"/>
                  </a:lnTo>
                  <a:lnTo>
                    <a:pt x="221796" y="32313"/>
                  </a:lnTo>
                  <a:lnTo>
                    <a:pt x="195721" y="17601"/>
                  </a:lnTo>
                  <a:lnTo>
                    <a:pt x="204883" y="12303"/>
                  </a:lnTo>
                  <a:lnTo>
                    <a:pt x="226707" y="12303"/>
                  </a:lnTo>
                  <a:lnTo>
                    <a:pt x="204883" y="0"/>
                  </a:lnTo>
                  <a:close/>
                </a:path>
                <a:path w="405765" h="230505">
                  <a:moveTo>
                    <a:pt x="85722" y="111849"/>
                  </a:moveTo>
                  <a:lnTo>
                    <a:pt x="35433" y="111849"/>
                  </a:lnTo>
                  <a:lnTo>
                    <a:pt x="209480" y="210203"/>
                  </a:lnTo>
                  <a:lnTo>
                    <a:pt x="200318" y="215511"/>
                  </a:lnTo>
                  <a:lnTo>
                    <a:pt x="226613" y="215511"/>
                  </a:lnTo>
                  <a:lnTo>
                    <a:pt x="261541" y="195501"/>
                  </a:lnTo>
                  <a:lnTo>
                    <a:pt x="234307" y="195501"/>
                  </a:lnTo>
                  <a:lnTo>
                    <a:pt x="85722" y="111849"/>
                  </a:lnTo>
                  <a:close/>
                </a:path>
                <a:path w="405765" h="230505">
                  <a:moveTo>
                    <a:pt x="120343" y="92091"/>
                  </a:moveTo>
                  <a:lnTo>
                    <a:pt x="69170" y="92091"/>
                  </a:lnTo>
                  <a:lnTo>
                    <a:pt x="243207" y="190444"/>
                  </a:lnTo>
                  <a:lnTo>
                    <a:pt x="234307" y="195501"/>
                  </a:lnTo>
                  <a:lnTo>
                    <a:pt x="261541" y="195501"/>
                  </a:lnTo>
                  <a:lnTo>
                    <a:pt x="296470" y="175492"/>
                  </a:lnTo>
                  <a:lnTo>
                    <a:pt x="268274" y="175492"/>
                  </a:lnTo>
                  <a:lnTo>
                    <a:pt x="120343" y="92091"/>
                  </a:lnTo>
                  <a:close/>
                </a:path>
                <a:path w="405765" h="230505">
                  <a:moveTo>
                    <a:pt x="154003" y="72081"/>
                  </a:moveTo>
                  <a:lnTo>
                    <a:pt x="103399" y="72081"/>
                  </a:lnTo>
                  <a:lnTo>
                    <a:pt x="277687" y="170183"/>
                  </a:lnTo>
                  <a:lnTo>
                    <a:pt x="268274" y="175492"/>
                  </a:lnTo>
                  <a:lnTo>
                    <a:pt x="296470" y="175492"/>
                  </a:lnTo>
                  <a:lnTo>
                    <a:pt x="330979" y="155723"/>
                  </a:lnTo>
                  <a:lnTo>
                    <a:pt x="302032" y="155723"/>
                  </a:lnTo>
                  <a:lnTo>
                    <a:pt x="154003" y="72081"/>
                  </a:lnTo>
                  <a:close/>
                </a:path>
                <a:path w="405765" h="230505">
                  <a:moveTo>
                    <a:pt x="187386" y="52071"/>
                  </a:moveTo>
                  <a:lnTo>
                    <a:pt x="137158" y="52071"/>
                  </a:lnTo>
                  <a:lnTo>
                    <a:pt x="311194" y="150424"/>
                  </a:lnTo>
                  <a:lnTo>
                    <a:pt x="302032" y="155723"/>
                  </a:lnTo>
                  <a:lnTo>
                    <a:pt x="330979" y="155723"/>
                  </a:lnTo>
                  <a:lnTo>
                    <a:pt x="365889" y="135723"/>
                  </a:lnTo>
                  <a:lnTo>
                    <a:pt x="335790" y="135723"/>
                  </a:lnTo>
                  <a:lnTo>
                    <a:pt x="187386" y="52071"/>
                  </a:lnTo>
                  <a:close/>
                </a:path>
                <a:path w="405765" h="230505">
                  <a:moveTo>
                    <a:pt x="221796" y="32313"/>
                  </a:moveTo>
                  <a:lnTo>
                    <a:pt x="170895" y="32313"/>
                  </a:lnTo>
                  <a:lnTo>
                    <a:pt x="344952" y="130655"/>
                  </a:lnTo>
                  <a:lnTo>
                    <a:pt x="335790" y="135723"/>
                  </a:lnTo>
                  <a:lnTo>
                    <a:pt x="365889" y="135723"/>
                  </a:lnTo>
                  <a:lnTo>
                    <a:pt x="400416" y="115944"/>
                  </a:lnTo>
                  <a:lnTo>
                    <a:pt x="370020" y="115944"/>
                  </a:lnTo>
                  <a:lnTo>
                    <a:pt x="221796" y="32313"/>
                  </a:lnTo>
                  <a:close/>
                </a:path>
                <a:path w="405765" h="230505">
                  <a:moveTo>
                    <a:pt x="226707" y="12303"/>
                  </a:moveTo>
                  <a:lnTo>
                    <a:pt x="204883" y="12303"/>
                  </a:lnTo>
                  <a:lnTo>
                    <a:pt x="379171" y="110645"/>
                  </a:lnTo>
                  <a:lnTo>
                    <a:pt x="370020" y="115944"/>
                  </a:lnTo>
                  <a:lnTo>
                    <a:pt x="400416" y="115944"/>
                  </a:lnTo>
                  <a:lnTo>
                    <a:pt x="405443" y="113064"/>
                  </a:lnTo>
                  <a:lnTo>
                    <a:pt x="226707" y="12303"/>
                  </a:lnTo>
                  <a:close/>
                </a:path>
              </a:pathLst>
            </a:custGeom>
            <a:solidFill>
              <a:srgbClr val="C4D0D9"/>
            </a:solidFill>
          </p:spPr>
          <p:txBody>
            <a:bodyPr wrap="square" lIns="0" tIns="0" rIns="0" bIns="0" rtlCol="0"/>
            <a:lstStyle/>
            <a:p>
              <a:endParaRPr sz="1092" dirty="0"/>
            </a:p>
          </p:txBody>
        </p:sp>
        <p:sp>
          <p:nvSpPr>
            <p:cNvPr id="276" name="object 276"/>
            <p:cNvSpPr/>
            <p:nvPr/>
          </p:nvSpPr>
          <p:spPr>
            <a:xfrm>
              <a:off x="8292183" y="3174098"/>
              <a:ext cx="182906" cy="104738"/>
            </a:xfrm>
            <a:custGeom>
              <a:avLst/>
              <a:gdLst/>
              <a:ahLst/>
              <a:cxnLst/>
              <a:rect l="l" t="t" r="r" b="b"/>
              <a:pathLst>
                <a:path w="301625" h="172720">
                  <a:moveTo>
                    <a:pt x="29664" y="0"/>
                  </a:moveTo>
                  <a:lnTo>
                    <a:pt x="0" y="16879"/>
                  </a:lnTo>
                  <a:lnTo>
                    <a:pt x="271426" y="172120"/>
                  </a:lnTo>
                  <a:lnTo>
                    <a:pt x="301320" y="155241"/>
                  </a:lnTo>
                  <a:lnTo>
                    <a:pt x="29664" y="0"/>
                  </a:lnTo>
                  <a:close/>
                </a:path>
              </a:pathLst>
            </a:custGeom>
            <a:solidFill>
              <a:srgbClr val="D4D4D4"/>
            </a:solidFill>
          </p:spPr>
          <p:txBody>
            <a:bodyPr wrap="square" lIns="0" tIns="0" rIns="0" bIns="0" rtlCol="0"/>
            <a:lstStyle/>
            <a:p>
              <a:endParaRPr sz="1092" dirty="0"/>
            </a:p>
          </p:txBody>
        </p:sp>
        <p:sp>
          <p:nvSpPr>
            <p:cNvPr id="277" name="object 277"/>
            <p:cNvSpPr/>
            <p:nvPr/>
          </p:nvSpPr>
          <p:spPr>
            <a:xfrm>
              <a:off x="8241323" y="3203768"/>
              <a:ext cx="182906" cy="104738"/>
            </a:xfrm>
            <a:custGeom>
              <a:avLst/>
              <a:gdLst/>
              <a:ahLst/>
              <a:cxnLst/>
              <a:rect l="l" t="t" r="r" b="b"/>
              <a:pathLst>
                <a:path w="301625" h="172720">
                  <a:moveTo>
                    <a:pt x="29873" y="0"/>
                  </a:moveTo>
                  <a:lnTo>
                    <a:pt x="0" y="16879"/>
                  </a:lnTo>
                  <a:lnTo>
                    <a:pt x="271656" y="172109"/>
                  </a:lnTo>
                  <a:lnTo>
                    <a:pt x="301551" y="155251"/>
                  </a:lnTo>
                  <a:lnTo>
                    <a:pt x="29873" y="0"/>
                  </a:lnTo>
                  <a:close/>
                </a:path>
              </a:pathLst>
            </a:custGeom>
            <a:solidFill>
              <a:srgbClr val="D4D4D4"/>
            </a:solidFill>
          </p:spPr>
          <p:txBody>
            <a:bodyPr wrap="square" lIns="0" tIns="0" rIns="0" bIns="0" rtlCol="0"/>
            <a:lstStyle/>
            <a:p>
              <a:endParaRPr sz="1092" dirty="0"/>
            </a:p>
          </p:txBody>
        </p:sp>
        <p:sp>
          <p:nvSpPr>
            <p:cNvPr id="278" name="object 278"/>
            <p:cNvSpPr/>
            <p:nvPr/>
          </p:nvSpPr>
          <p:spPr>
            <a:xfrm>
              <a:off x="8181970" y="3237686"/>
              <a:ext cx="182906" cy="104352"/>
            </a:xfrm>
            <a:custGeom>
              <a:avLst/>
              <a:gdLst/>
              <a:ahLst/>
              <a:cxnLst/>
              <a:rect l="l" t="t" r="r" b="b"/>
              <a:pathLst>
                <a:path w="301625" h="172085">
                  <a:moveTo>
                    <a:pt x="29894" y="0"/>
                  </a:moveTo>
                  <a:lnTo>
                    <a:pt x="0" y="16638"/>
                  </a:lnTo>
                  <a:lnTo>
                    <a:pt x="271677" y="171869"/>
                  </a:lnTo>
                  <a:lnTo>
                    <a:pt x="301551" y="155241"/>
                  </a:lnTo>
                  <a:lnTo>
                    <a:pt x="29894" y="0"/>
                  </a:lnTo>
                  <a:close/>
                </a:path>
              </a:pathLst>
            </a:custGeom>
            <a:solidFill>
              <a:srgbClr val="D4D4D4"/>
            </a:solidFill>
          </p:spPr>
          <p:txBody>
            <a:bodyPr wrap="square" lIns="0" tIns="0" rIns="0" bIns="0" rtlCol="0"/>
            <a:lstStyle/>
            <a:p>
              <a:endParaRPr sz="1092" dirty="0"/>
            </a:p>
          </p:txBody>
        </p:sp>
        <p:sp>
          <p:nvSpPr>
            <p:cNvPr id="279" name="object 279"/>
            <p:cNvSpPr/>
            <p:nvPr/>
          </p:nvSpPr>
          <p:spPr>
            <a:xfrm>
              <a:off x="8121314" y="3275691"/>
              <a:ext cx="182906" cy="104738"/>
            </a:xfrm>
            <a:custGeom>
              <a:avLst/>
              <a:gdLst/>
              <a:ahLst/>
              <a:cxnLst/>
              <a:rect l="l" t="t" r="r" b="b"/>
              <a:pathLst>
                <a:path w="301625" h="172720">
                  <a:moveTo>
                    <a:pt x="29873" y="0"/>
                  </a:moveTo>
                  <a:lnTo>
                    <a:pt x="0" y="16868"/>
                  </a:lnTo>
                  <a:lnTo>
                    <a:pt x="271656" y="172099"/>
                  </a:lnTo>
                  <a:lnTo>
                    <a:pt x="301551" y="155241"/>
                  </a:lnTo>
                  <a:lnTo>
                    <a:pt x="29873" y="0"/>
                  </a:lnTo>
                  <a:close/>
                </a:path>
              </a:pathLst>
            </a:custGeom>
            <a:solidFill>
              <a:srgbClr val="D4D4D4"/>
            </a:solidFill>
          </p:spPr>
          <p:txBody>
            <a:bodyPr wrap="square" lIns="0" tIns="0" rIns="0" bIns="0" rtlCol="0"/>
            <a:lstStyle/>
            <a:p>
              <a:endParaRPr sz="1092" dirty="0"/>
            </a:p>
          </p:txBody>
        </p:sp>
        <p:sp>
          <p:nvSpPr>
            <p:cNvPr id="280" name="object 280"/>
            <p:cNvSpPr/>
            <p:nvPr/>
          </p:nvSpPr>
          <p:spPr>
            <a:xfrm>
              <a:off x="8057865" y="3308137"/>
              <a:ext cx="182906" cy="104738"/>
            </a:xfrm>
            <a:custGeom>
              <a:avLst/>
              <a:gdLst/>
              <a:ahLst/>
              <a:cxnLst/>
              <a:rect l="l" t="t" r="r" b="b"/>
              <a:pathLst>
                <a:path w="301625" h="172720">
                  <a:moveTo>
                    <a:pt x="29894" y="0"/>
                  </a:moveTo>
                  <a:lnTo>
                    <a:pt x="0" y="16879"/>
                  </a:lnTo>
                  <a:lnTo>
                    <a:pt x="271677" y="172120"/>
                  </a:lnTo>
                  <a:lnTo>
                    <a:pt x="301571" y="155241"/>
                  </a:lnTo>
                  <a:lnTo>
                    <a:pt x="29894" y="0"/>
                  </a:lnTo>
                  <a:close/>
                </a:path>
              </a:pathLst>
            </a:custGeom>
            <a:solidFill>
              <a:srgbClr val="D4D4D4"/>
            </a:solidFill>
          </p:spPr>
          <p:txBody>
            <a:bodyPr wrap="square" lIns="0" tIns="0" rIns="0" bIns="0" rtlCol="0"/>
            <a:lstStyle/>
            <a:p>
              <a:endParaRPr sz="1092" dirty="0"/>
            </a:p>
          </p:txBody>
        </p:sp>
        <p:sp>
          <p:nvSpPr>
            <p:cNvPr id="281" name="object 281"/>
            <p:cNvSpPr/>
            <p:nvPr/>
          </p:nvSpPr>
          <p:spPr>
            <a:xfrm>
              <a:off x="7998524" y="3347751"/>
              <a:ext cx="182906" cy="104352"/>
            </a:xfrm>
            <a:custGeom>
              <a:avLst/>
              <a:gdLst/>
              <a:ahLst/>
              <a:cxnLst/>
              <a:rect l="l" t="t" r="r" b="b"/>
              <a:pathLst>
                <a:path w="301625" h="172085">
                  <a:moveTo>
                    <a:pt x="29894" y="0"/>
                  </a:moveTo>
                  <a:lnTo>
                    <a:pt x="0" y="16627"/>
                  </a:lnTo>
                  <a:lnTo>
                    <a:pt x="271656" y="171869"/>
                  </a:lnTo>
                  <a:lnTo>
                    <a:pt x="301551" y="155230"/>
                  </a:lnTo>
                  <a:lnTo>
                    <a:pt x="29894" y="0"/>
                  </a:lnTo>
                  <a:close/>
                </a:path>
              </a:pathLst>
            </a:custGeom>
            <a:solidFill>
              <a:srgbClr val="D4D4D4"/>
            </a:solidFill>
          </p:spPr>
          <p:txBody>
            <a:bodyPr wrap="square" lIns="0" tIns="0" rIns="0" bIns="0" rtlCol="0"/>
            <a:lstStyle/>
            <a:p>
              <a:endParaRPr sz="1092" dirty="0"/>
            </a:p>
          </p:txBody>
        </p:sp>
        <p:sp>
          <p:nvSpPr>
            <p:cNvPr id="282" name="object 282"/>
            <p:cNvSpPr/>
            <p:nvPr/>
          </p:nvSpPr>
          <p:spPr>
            <a:xfrm>
              <a:off x="7939327" y="3380205"/>
              <a:ext cx="182906" cy="104352"/>
            </a:xfrm>
            <a:custGeom>
              <a:avLst/>
              <a:gdLst/>
              <a:ahLst/>
              <a:cxnLst/>
              <a:rect l="l" t="t" r="r" b="b"/>
              <a:pathLst>
                <a:path w="301625" h="172085">
                  <a:moveTo>
                    <a:pt x="29894" y="0"/>
                  </a:moveTo>
                  <a:lnTo>
                    <a:pt x="0" y="16627"/>
                  </a:lnTo>
                  <a:lnTo>
                    <a:pt x="271415" y="171869"/>
                  </a:lnTo>
                  <a:lnTo>
                    <a:pt x="301551" y="155241"/>
                  </a:lnTo>
                  <a:lnTo>
                    <a:pt x="29894" y="0"/>
                  </a:lnTo>
                  <a:close/>
                </a:path>
              </a:pathLst>
            </a:custGeom>
            <a:solidFill>
              <a:srgbClr val="D4D4D4"/>
            </a:solidFill>
          </p:spPr>
          <p:txBody>
            <a:bodyPr wrap="square" lIns="0" tIns="0" rIns="0" bIns="0" rtlCol="0"/>
            <a:lstStyle/>
            <a:p>
              <a:endParaRPr sz="1092" dirty="0"/>
            </a:p>
          </p:txBody>
        </p:sp>
        <p:sp>
          <p:nvSpPr>
            <p:cNvPr id="283" name="object 283"/>
            <p:cNvSpPr/>
            <p:nvPr/>
          </p:nvSpPr>
          <p:spPr>
            <a:xfrm>
              <a:off x="7872964" y="3415429"/>
              <a:ext cx="182906" cy="104352"/>
            </a:xfrm>
            <a:custGeom>
              <a:avLst/>
              <a:gdLst/>
              <a:ahLst/>
              <a:cxnLst/>
              <a:rect l="l" t="t" r="r" b="b"/>
              <a:pathLst>
                <a:path w="301625" h="172085">
                  <a:moveTo>
                    <a:pt x="29894" y="0"/>
                  </a:moveTo>
                  <a:lnTo>
                    <a:pt x="0" y="16879"/>
                  </a:lnTo>
                  <a:lnTo>
                    <a:pt x="271656" y="171879"/>
                  </a:lnTo>
                  <a:lnTo>
                    <a:pt x="301551" y="155251"/>
                  </a:lnTo>
                  <a:lnTo>
                    <a:pt x="29894" y="0"/>
                  </a:lnTo>
                  <a:close/>
                </a:path>
              </a:pathLst>
            </a:custGeom>
            <a:solidFill>
              <a:srgbClr val="D4D4D4"/>
            </a:solidFill>
          </p:spPr>
          <p:txBody>
            <a:bodyPr wrap="square" lIns="0" tIns="0" rIns="0" bIns="0" rtlCol="0"/>
            <a:lstStyle/>
            <a:p>
              <a:endParaRPr sz="1092" dirty="0"/>
            </a:p>
          </p:txBody>
        </p:sp>
        <p:sp>
          <p:nvSpPr>
            <p:cNvPr id="284" name="object 284"/>
            <p:cNvSpPr/>
            <p:nvPr/>
          </p:nvSpPr>
          <p:spPr>
            <a:xfrm>
              <a:off x="8444497" y="3262530"/>
              <a:ext cx="182906" cy="104738"/>
            </a:xfrm>
            <a:custGeom>
              <a:avLst/>
              <a:gdLst/>
              <a:ahLst/>
              <a:cxnLst/>
              <a:rect l="l" t="t" r="r" b="b"/>
              <a:pathLst>
                <a:path w="301625" h="172720">
                  <a:moveTo>
                    <a:pt x="29894" y="0"/>
                  </a:moveTo>
                  <a:lnTo>
                    <a:pt x="0" y="16879"/>
                  </a:lnTo>
                  <a:lnTo>
                    <a:pt x="271677" y="172109"/>
                  </a:lnTo>
                  <a:lnTo>
                    <a:pt x="301551" y="155241"/>
                  </a:lnTo>
                  <a:lnTo>
                    <a:pt x="29894" y="0"/>
                  </a:lnTo>
                  <a:close/>
                </a:path>
              </a:pathLst>
            </a:custGeom>
            <a:solidFill>
              <a:srgbClr val="D4D4D4"/>
            </a:solidFill>
          </p:spPr>
          <p:txBody>
            <a:bodyPr wrap="square" lIns="0" tIns="0" rIns="0" bIns="0" rtlCol="0"/>
            <a:lstStyle/>
            <a:p>
              <a:endParaRPr sz="1092" dirty="0"/>
            </a:p>
          </p:txBody>
        </p:sp>
        <p:sp>
          <p:nvSpPr>
            <p:cNvPr id="285" name="object 285"/>
            <p:cNvSpPr/>
            <p:nvPr/>
          </p:nvSpPr>
          <p:spPr>
            <a:xfrm>
              <a:off x="8393780" y="3292208"/>
              <a:ext cx="182906" cy="104738"/>
            </a:xfrm>
            <a:custGeom>
              <a:avLst/>
              <a:gdLst/>
              <a:ahLst/>
              <a:cxnLst/>
              <a:rect l="l" t="t" r="r" b="b"/>
              <a:pathLst>
                <a:path w="301625" h="172720">
                  <a:moveTo>
                    <a:pt x="29632" y="0"/>
                  </a:moveTo>
                  <a:lnTo>
                    <a:pt x="0" y="16868"/>
                  </a:lnTo>
                  <a:lnTo>
                    <a:pt x="271415" y="172109"/>
                  </a:lnTo>
                  <a:lnTo>
                    <a:pt x="301310" y="155230"/>
                  </a:lnTo>
                  <a:lnTo>
                    <a:pt x="29632" y="0"/>
                  </a:lnTo>
                  <a:close/>
                </a:path>
              </a:pathLst>
            </a:custGeom>
            <a:solidFill>
              <a:srgbClr val="D4D4D4"/>
            </a:solidFill>
          </p:spPr>
          <p:txBody>
            <a:bodyPr wrap="square" lIns="0" tIns="0" rIns="0" bIns="0" rtlCol="0"/>
            <a:lstStyle/>
            <a:p>
              <a:endParaRPr sz="1092" dirty="0"/>
            </a:p>
          </p:txBody>
        </p:sp>
        <p:sp>
          <p:nvSpPr>
            <p:cNvPr id="286" name="object 286"/>
            <p:cNvSpPr/>
            <p:nvPr/>
          </p:nvSpPr>
          <p:spPr>
            <a:xfrm>
              <a:off x="8334437" y="3326117"/>
              <a:ext cx="182906" cy="104738"/>
            </a:xfrm>
            <a:custGeom>
              <a:avLst/>
              <a:gdLst/>
              <a:ahLst/>
              <a:cxnLst/>
              <a:rect l="l" t="t" r="r" b="b"/>
              <a:pathLst>
                <a:path w="301625" h="172720">
                  <a:moveTo>
                    <a:pt x="29873" y="0"/>
                  </a:moveTo>
                  <a:lnTo>
                    <a:pt x="0" y="16879"/>
                  </a:lnTo>
                  <a:lnTo>
                    <a:pt x="271656" y="172109"/>
                  </a:lnTo>
                  <a:lnTo>
                    <a:pt x="301551" y="155241"/>
                  </a:lnTo>
                  <a:lnTo>
                    <a:pt x="29873" y="0"/>
                  </a:lnTo>
                  <a:close/>
                </a:path>
              </a:pathLst>
            </a:custGeom>
            <a:solidFill>
              <a:srgbClr val="D4D4D4"/>
            </a:solidFill>
          </p:spPr>
          <p:txBody>
            <a:bodyPr wrap="square" lIns="0" tIns="0" rIns="0" bIns="0" rtlCol="0"/>
            <a:lstStyle/>
            <a:p>
              <a:endParaRPr sz="1092" dirty="0"/>
            </a:p>
          </p:txBody>
        </p:sp>
        <p:sp>
          <p:nvSpPr>
            <p:cNvPr id="287" name="object 287"/>
            <p:cNvSpPr/>
            <p:nvPr/>
          </p:nvSpPr>
          <p:spPr>
            <a:xfrm>
              <a:off x="8273773" y="3364124"/>
              <a:ext cx="182906" cy="104738"/>
            </a:xfrm>
            <a:custGeom>
              <a:avLst/>
              <a:gdLst/>
              <a:ahLst/>
              <a:cxnLst/>
              <a:rect l="l" t="t" r="r" b="b"/>
              <a:pathLst>
                <a:path w="301625" h="172720">
                  <a:moveTo>
                    <a:pt x="29632" y="0"/>
                  </a:moveTo>
                  <a:lnTo>
                    <a:pt x="0" y="16879"/>
                  </a:lnTo>
                  <a:lnTo>
                    <a:pt x="271646" y="172120"/>
                  </a:lnTo>
                  <a:lnTo>
                    <a:pt x="301540" y="155241"/>
                  </a:lnTo>
                  <a:lnTo>
                    <a:pt x="29632" y="0"/>
                  </a:lnTo>
                  <a:close/>
                </a:path>
              </a:pathLst>
            </a:custGeom>
            <a:solidFill>
              <a:srgbClr val="D4D4D4"/>
            </a:solidFill>
          </p:spPr>
          <p:txBody>
            <a:bodyPr wrap="square" lIns="0" tIns="0" rIns="0" bIns="0" rtlCol="0"/>
            <a:lstStyle/>
            <a:p>
              <a:endParaRPr sz="1092" dirty="0"/>
            </a:p>
          </p:txBody>
        </p:sp>
        <p:sp>
          <p:nvSpPr>
            <p:cNvPr id="288" name="object 288"/>
            <p:cNvSpPr/>
            <p:nvPr/>
          </p:nvSpPr>
          <p:spPr>
            <a:xfrm>
              <a:off x="8210190" y="3396722"/>
              <a:ext cx="182906" cy="104352"/>
            </a:xfrm>
            <a:custGeom>
              <a:avLst/>
              <a:gdLst/>
              <a:ahLst/>
              <a:cxnLst/>
              <a:rect l="l" t="t" r="r" b="b"/>
              <a:pathLst>
                <a:path w="301625" h="172085">
                  <a:moveTo>
                    <a:pt x="29873" y="0"/>
                  </a:moveTo>
                  <a:lnTo>
                    <a:pt x="0" y="16627"/>
                  </a:lnTo>
                  <a:lnTo>
                    <a:pt x="271656" y="171869"/>
                  </a:lnTo>
                  <a:lnTo>
                    <a:pt x="301551" y="155000"/>
                  </a:lnTo>
                  <a:lnTo>
                    <a:pt x="29873" y="0"/>
                  </a:lnTo>
                  <a:close/>
                </a:path>
              </a:pathLst>
            </a:custGeom>
            <a:solidFill>
              <a:srgbClr val="D4D4D4"/>
            </a:solidFill>
          </p:spPr>
          <p:txBody>
            <a:bodyPr wrap="square" lIns="0" tIns="0" rIns="0" bIns="0" rtlCol="0"/>
            <a:lstStyle/>
            <a:p>
              <a:endParaRPr sz="1092" dirty="0"/>
            </a:p>
          </p:txBody>
        </p:sp>
        <p:sp>
          <p:nvSpPr>
            <p:cNvPr id="289" name="object 289"/>
            <p:cNvSpPr/>
            <p:nvPr/>
          </p:nvSpPr>
          <p:spPr>
            <a:xfrm>
              <a:off x="8150980" y="3436190"/>
              <a:ext cx="182906" cy="104738"/>
            </a:xfrm>
            <a:custGeom>
              <a:avLst/>
              <a:gdLst/>
              <a:ahLst/>
              <a:cxnLst/>
              <a:rect l="l" t="t" r="r" b="b"/>
              <a:pathLst>
                <a:path w="301625" h="172720">
                  <a:moveTo>
                    <a:pt x="29894" y="0"/>
                  </a:moveTo>
                  <a:lnTo>
                    <a:pt x="0" y="16868"/>
                  </a:lnTo>
                  <a:lnTo>
                    <a:pt x="271677" y="172099"/>
                  </a:lnTo>
                  <a:lnTo>
                    <a:pt x="301571" y="155230"/>
                  </a:lnTo>
                  <a:lnTo>
                    <a:pt x="29894" y="0"/>
                  </a:lnTo>
                  <a:close/>
                </a:path>
              </a:pathLst>
            </a:custGeom>
            <a:solidFill>
              <a:srgbClr val="D4D4D4"/>
            </a:solidFill>
          </p:spPr>
          <p:txBody>
            <a:bodyPr wrap="square" lIns="0" tIns="0" rIns="0" bIns="0" rtlCol="0"/>
            <a:lstStyle/>
            <a:p>
              <a:endParaRPr sz="1092" dirty="0"/>
            </a:p>
          </p:txBody>
        </p:sp>
        <p:sp>
          <p:nvSpPr>
            <p:cNvPr id="290" name="object 290"/>
            <p:cNvSpPr/>
            <p:nvPr/>
          </p:nvSpPr>
          <p:spPr>
            <a:xfrm>
              <a:off x="8091640" y="3468637"/>
              <a:ext cx="182906" cy="104738"/>
            </a:xfrm>
            <a:custGeom>
              <a:avLst/>
              <a:gdLst/>
              <a:ahLst/>
              <a:cxnLst/>
              <a:rect l="l" t="t" r="r" b="b"/>
              <a:pathLst>
                <a:path w="301625" h="172720">
                  <a:moveTo>
                    <a:pt x="29894" y="0"/>
                  </a:moveTo>
                  <a:lnTo>
                    <a:pt x="0" y="16627"/>
                  </a:lnTo>
                  <a:lnTo>
                    <a:pt x="271646" y="172120"/>
                  </a:lnTo>
                  <a:lnTo>
                    <a:pt x="301551" y="155241"/>
                  </a:lnTo>
                  <a:lnTo>
                    <a:pt x="29894" y="0"/>
                  </a:lnTo>
                  <a:close/>
                </a:path>
              </a:pathLst>
            </a:custGeom>
            <a:solidFill>
              <a:srgbClr val="D4D4D4"/>
            </a:solidFill>
          </p:spPr>
          <p:txBody>
            <a:bodyPr wrap="square" lIns="0" tIns="0" rIns="0" bIns="0" rtlCol="0"/>
            <a:lstStyle/>
            <a:p>
              <a:endParaRPr sz="1092" dirty="0"/>
            </a:p>
          </p:txBody>
        </p:sp>
        <p:sp>
          <p:nvSpPr>
            <p:cNvPr id="291" name="object 291"/>
            <p:cNvSpPr/>
            <p:nvPr/>
          </p:nvSpPr>
          <p:spPr>
            <a:xfrm>
              <a:off x="8025420" y="3503868"/>
              <a:ext cx="182906" cy="104738"/>
            </a:xfrm>
            <a:custGeom>
              <a:avLst/>
              <a:gdLst/>
              <a:ahLst/>
              <a:cxnLst/>
              <a:rect l="l" t="t" r="r" b="b"/>
              <a:pathLst>
                <a:path w="301625" h="172720">
                  <a:moveTo>
                    <a:pt x="29894" y="0"/>
                  </a:moveTo>
                  <a:lnTo>
                    <a:pt x="0" y="16868"/>
                  </a:lnTo>
                  <a:lnTo>
                    <a:pt x="271677" y="172109"/>
                  </a:lnTo>
                  <a:lnTo>
                    <a:pt x="301551" y="155471"/>
                  </a:lnTo>
                  <a:lnTo>
                    <a:pt x="29894" y="0"/>
                  </a:lnTo>
                  <a:close/>
                </a:path>
              </a:pathLst>
            </a:custGeom>
            <a:solidFill>
              <a:srgbClr val="D4D4D4"/>
            </a:solidFill>
          </p:spPr>
          <p:txBody>
            <a:bodyPr wrap="square" lIns="0" tIns="0" rIns="0" bIns="0" rtlCol="0"/>
            <a:lstStyle/>
            <a:p>
              <a:endParaRPr sz="1092" dirty="0"/>
            </a:p>
          </p:txBody>
        </p:sp>
        <p:sp>
          <p:nvSpPr>
            <p:cNvPr id="292" name="object 292"/>
            <p:cNvSpPr/>
            <p:nvPr/>
          </p:nvSpPr>
          <p:spPr>
            <a:xfrm>
              <a:off x="6735432" y="3109491"/>
              <a:ext cx="182906" cy="104738"/>
            </a:xfrm>
            <a:custGeom>
              <a:avLst/>
              <a:gdLst/>
              <a:ahLst/>
              <a:cxnLst/>
              <a:rect l="l" t="t" r="r" b="b"/>
              <a:pathLst>
                <a:path w="301625" h="172720">
                  <a:moveTo>
                    <a:pt x="271667" y="0"/>
                  </a:moveTo>
                  <a:lnTo>
                    <a:pt x="0" y="155230"/>
                  </a:lnTo>
                  <a:lnTo>
                    <a:pt x="29894" y="172109"/>
                  </a:lnTo>
                  <a:lnTo>
                    <a:pt x="301561" y="16868"/>
                  </a:lnTo>
                  <a:lnTo>
                    <a:pt x="271667" y="0"/>
                  </a:lnTo>
                  <a:close/>
                </a:path>
              </a:pathLst>
            </a:custGeom>
            <a:solidFill>
              <a:srgbClr val="D4D4D4"/>
            </a:solidFill>
          </p:spPr>
          <p:txBody>
            <a:bodyPr wrap="square" lIns="0" tIns="0" rIns="0" bIns="0" rtlCol="0"/>
            <a:lstStyle/>
            <a:p>
              <a:endParaRPr sz="1092" dirty="0"/>
            </a:p>
          </p:txBody>
        </p:sp>
        <p:sp>
          <p:nvSpPr>
            <p:cNvPr id="293" name="object 293"/>
            <p:cNvSpPr/>
            <p:nvPr/>
          </p:nvSpPr>
          <p:spPr>
            <a:xfrm>
              <a:off x="6786160" y="3139017"/>
              <a:ext cx="182906" cy="104738"/>
            </a:xfrm>
            <a:custGeom>
              <a:avLst/>
              <a:gdLst/>
              <a:ahLst/>
              <a:cxnLst/>
              <a:rect l="l" t="t" r="r" b="b"/>
              <a:pathLst>
                <a:path w="301625" h="172720">
                  <a:moveTo>
                    <a:pt x="271897" y="0"/>
                  </a:moveTo>
                  <a:lnTo>
                    <a:pt x="0" y="155471"/>
                  </a:lnTo>
                  <a:lnTo>
                    <a:pt x="29883" y="172099"/>
                  </a:lnTo>
                  <a:lnTo>
                    <a:pt x="301551" y="16868"/>
                  </a:lnTo>
                  <a:lnTo>
                    <a:pt x="271897" y="0"/>
                  </a:lnTo>
                  <a:close/>
                </a:path>
              </a:pathLst>
            </a:custGeom>
            <a:solidFill>
              <a:srgbClr val="D4D4D4"/>
            </a:solidFill>
          </p:spPr>
          <p:txBody>
            <a:bodyPr wrap="square" lIns="0" tIns="0" rIns="0" bIns="0" rtlCol="0"/>
            <a:lstStyle/>
            <a:p>
              <a:endParaRPr sz="1092" dirty="0"/>
            </a:p>
          </p:txBody>
        </p:sp>
        <p:sp>
          <p:nvSpPr>
            <p:cNvPr id="294" name="object 294"/>
            <p:cNvSpPr/>
            <p:nvPr/>
          </p:nvSpPr>
          <p:spPr>
            <a:xfrm>
              <a:off x="6845504" y="3172927"/>
              <a:ext cx="182906" cy="104738"/>
            </a:xfrm>
            <a:custGeom>
              <a:avLst/>
              <a:gdLst/>
              <a:ahLst/>
              <a:cxnLst/>
              <a:rect l="l" t="t" r="r" b="b"/>
              <a:pathLst>
                <a:path w="301625" h="172720">
                  <a:moveTo>
                    <a:pt x="271667" y="0"/>
                  </a:moveTo>
                  <a:lnTo>
                    <a:pt x="0" y="155241"/>
                  </a:lnTo>
                  <a:lnTo>
                    <a:pt x="29883" y="172109"/>
                  </a:lnTo>
                  <a:lnTo>
                    <a:pt x="301551" y="16879"/>
                  </a:lnTo>
                  <a:lnTo>
                    <a:pt x="271667" y="0"/>
                  </a:lnTo>
                  <a:close/>
                </a:path>
              </a:pathLst>
            </a:custGeom>
            <a:solidFill>
              <a:srgbClr val="D4D4D4"/>
            </a:solidFill>
          </p:spPr>
          <p:txBody>
            <a:bodyPr wrap="square" lIns="0" tIns="0" rIns="0" bIns="0" rtlCol="0"/>
            <a:lstStyle/>
            <a:p>
              <a:endParaRPr sz="1092" dirty="0"/>
            </a:p>
          </p:txBody>
        </p:sp>
        <p:sp>
          <p:nvSpPr>
            <p:cNvPr id="295" name="object 295"/>
            <p:cNvSpPr/>
            <p:nvPr/>
          </p:nvSpPr>
          <p:spPr>
            <a:xfrm>
              <a:off x="6906166" y="3211077"/>
              <a:ext cx="182906" cy="104738"/>
            </a:xfrm>
            <a:custGeom>
              <a:avLst/>
              <a:gdLst/>
              <a:ahLst/>
              <a:cxnLst/>
              <a:rect l="l" t="t" r="r" b="b"/>
              <a:pathLst>
                <a:path w="301625" h="172720">
                  <a:moveTo>
                    <a:pt x="271667" y="0"/>
                  </a:moveTo>
                  <a:lnTo>
                    <a:pt x="0" y="155241"/>
                  </a:lnTo>
                  <a:lnTo>
                    <a:pt x="29883" y="172109"/>
                  </a:lnTo>
                  <a:lnTo>
                    <a:pt x="301551" y="16879"/>
                  </a:lnTo>
                  <a:lnTo>
                    <a:pt x="271667" y="0"/>
                  </a:lnTo>
                  <a:close/>
                </a:path>
              </a:pathLst>
            </a:custGeom>
            <a:solidFill>
              <a:srgbClr val="D4D4D4"/>
            </a:solidFill>
          </p:spPr>
          <p:txBody>
            <a:bodyPr wrap="square" lIns="0" tIns="0" rIns="0" bIns="0" rtlCol="0"/>
            <a:lstStyle/>
            <a:p>
              <a:endParaRPr sz="1092" dirty="0"/>
            </a:p>
          </p:txBody>
        </p:sp>
        <p:sp>
          <p:nvSpPr>
            <p:cNvPr id="296" name="object 296"/>
            <p:cNvSpPr/>
            <p:nvPr/>
          </p:nvSpPr>
          <p:spPr>
            <a:xfrm>
              <a:off x="6969752" y="3243530"/>
              <a:ext cx="182906" cy="104738"/>
            </a:xfrm>
            <a:custGeom>
              <a:avLst/>
              <a:gdLst/>
              <a:ahLst/>
              <a:cxnLst/>
              <a:rect l="l" t="t" r="r" b="b"/>
              <a:pathLst>
                <a:path w="301625" h="172720">
                  <a:moveTo>
                    <a:pt x="271667" y="0"/>
                  </a:moveTo>
                  <a:lnTo>
                    <a:pt x="0" y="155241"/>
                  </a:lnTo>
                  <a:lnTo>
                    <a:pt x="29883" y="172109"/>
                  </a:lnTo>
                  <a:lnTo>
                    <a:pt x="301551" y="16879"/>
                  </a:lnTo>
                  <a:lnTo>
                    <a:pt x="271667" y="0"/>
                  </a:lnTo>
                  <a:close/>
                </a:path>
              </a:pathLst>
            </a:custGeom>
            <a:solidFill>
              <a:srgbClr val="D4D4D4"/>
            </a:solidFill>
          </p:spPr>
          <p:txBody>
            <a:bodyPr wrap="square" lIns="0" tIns="0" rIns="0" bIns="0" rtlCol="0"/>
            <a:lstStyle/>
            <a:p>
              <a:endParaRPr sz="1092" dirty="0"/>
            </a:p>
          </p:txBody>
        </p:sp>
        <p:sp>
          <p:nvSpPr>
            <p:cNvPr id="297" name="object 297"/>
            <p:cNvSpPr/>
            <p:nvPr/>
          </p:nvSpPr>
          <p:spPr>
            <a:xfrm>
              <a:off x="7028949" y="3283000"/>
              <a:ext cx="182906" cy="104738"/>
            </a:xfrm>
            <a:custGeom>
              <a:avLst/>
              <a:gdLst/>
              <a:ahLst/>
              <a:cxnLst/>
              <a:rect l="l" t="t" r="r" b="b"/>
              <a:pathLst>
                <a:path w="301625" h="172720">
                  <a:moveTo>
                    <a:pt x="271667" y="0"/>
                  </a:moveTo>
                  <a:lnTo>
                    <a:pt x="0" y="155241"/>
                  </a:lnTo>
                  <a:lnTo>
                    <a:pt x="29904" y="172099"/>
                  </a:lnTo>
                  <a:lnTo>
                    <a:pt x="301561" y="16868"/>
                  </a:lnTo>
                  <a:lnTo>
                    <a:pt x="271667" y="0"/>
                  </a:lnTo>
                  <a:close/>
                </a:path>
              </a:pathLst>
            </a:custGeom>
            <a:solidFill>
              <a:srgbClr val="D4D4D4"/>
            </a:solidFill>
          </p:spPr>
          <p:txBody>
            <a:bodyPr wrap="square" lIns="0" tIns="0" rIns="0" bIns="0" rtlCol="0"/>
            <a:lstStyle/>
            <a:p>
              <a:endParaRPr sz="1092" dirty="0"/>
            </a:p>
          </p:txBody>
        </p:sp>
        <p:sp>
          <p:nvSpPr>
            <p:cNvPr id="298" name="object 298"/>
            <p:cNvSpPr/>
            <p:nvPr/>
          </p:nvSpPr>
          <p:spPr>
            <a:xfrm>
              <a:off x="7088298" y="3315446"/>
              <a:ext cx="182906" cy="104738"/>
            </a:xfrm>
            <a:custGeom>
              <a:avLst/>
              <a:gdLst/>
              <a:ahLst/>
              <a:cxnLst/>
              <a:rect l="l" t="t" r="r" b="b"/>
              <a:pathLst>
                <a:path w="301625" h="172720">
                  <a:moveTo>
                    <a:pt x="271667" y="0"/>
                  </a:moveTo>
                  <a:lnTo>
                    <a:pt x="0" y="155241"/>
                  </a:lnTo>
                  <a:lnTo>
                    <a:pt x="29894" y="172120"/>
                  </a:lnTo>
                  <a:lnTo>
                    <a:pt x="301320" y="16879"/>
                  </a:lnTo>
                  <a:lnTo>
                    <a:pt x="271667" y="0"/>
                  </a:lnTo>
                  <a:close/>
                </a:path>
              </a:pathLst>
            </a:custGeom>
            <a:solidFill>
              <a:srgbClr val="D4D4D4"/>
            </a:solidFill>
          </p:spPr>
          <p:txBody>
            <a:bodyPr wrap="square" lIns="0" tIns="0" rIns="0" bIns="0" rtlCol="0"/>
            <a:lstStyle/>
            <a:p>
              <a:endParaRPr sz="1092" dirty="0"/>
            </a:p>
          </p:txBody>
        </p:sp>
        <p:sp>
          <p:nvSpPr>
            <p:cNvPr id="299" name="object 299"/>
            <p:cNvSpPr/>
            <p:nvPr/>
          </p:nvSpPr>
          <p:spPr>
            <a:xfrm>
              <a:off x="7154512" y="3350822"/>
              <a:ext cx="182906" cy="104352"/>
            </a:xfrm>
            <a:custGeom>
              <a:avLst/>
              <a:gdLst/>
              <a:ahLst/>
              <a:cxnLst/>
              <a:rect l="l" t="t" r="r" b="b"/>
              <a:pathLst>
                <a:path w="301625" h="172085">
                  <a:moveTo>
                    <a:pt x="271667" y="0"/>
                  </a:moveTo>
                  <a:lnTo>
                    <a:pt x="0" y="155230"/>
                  </a:lnTo>
                  <a:lnTo>
                    <a:pt x="29894" y="171879"/>
                  </a:lnTo>
                  <a:lnTo>
                    <a:pt x="301561" y="16879"/>
                  </a:lnTo>
                  <a:lnTo>
                    <a:pt x="271667" y="0"/>
                  </a:lnTo>
                  <a:close/>
                </a:path>
              </a:pathLst>
            </a:custGeom>
            <a:solidFill>
              <a:srgbClr val="D4D4D4"/>
            </a:solidFill>
          </p:spPr>
          <p:txBody>
            <a:bodyPr wrap="square" lIns="0" tIns="0" rIns="0" bIns="0" rtlCol="0"/>
            <a:lstStyle/>
            <a:p>
              <a:endParaRPr sz="1092" dirty="0"/>
            </a:p>
          </p:txBody>
        </p:sp>
        <p:sp>
          <p:nvSpPr>
            <p:cNvPr id="300" name="object 300"/>
            <p:cNvSpPr/>
            <p:nvPr/>
          </p:nvSpPr>
          <p:spPr>
            <a:xfrm>
              <a:off x="6888619" y="3021635"/>
              <a:ext cx="182906" cy="104738"/>
            </a:xfrm>
            <a:custGeom>
              <a:avLst/>
              <a:gdLst/>
              <a:ahLst/>
              <a:cxnLst/>
              <a:rect l="l" t="t" r="r" b="b"/>
              <a:pathLst>
                <a:path w="301625" h="172720">
                  <a:moveTo>
                    <a:pt x="271918" y="0"/>
                  </a:moveTo>
                  <a:lnTo>
                    <a:pt x="0" y="155241"/>
                  </a:lnTo>
                  <a:lnTo>
                    <a:pt x="29904" y="172120"/>
                  </a:lnTo>
                  <a:lnTo>
                    <a:pt x="301571" y="16879"/>
                  </a:lnTo>
                  <a:lnTo>
                    <a:pt x="271918" y="0"/>
                  </a:lnTo>
                  <a:close/>
                </a:path>
              </a:pathLst>
            </a:custGeom>
            <a:solidFill>
              <a:srgbClr val="D4D4D4"/>
            </a:solidFill>
          </p:spPr>
          <p:txBody>
            <a:bodyPr wrap="square" lIns="0" tIns="0" rIns="0" bIns="0" rtlCol="0"/>
            <a:lstStyle/>
            <a:p>
              <a:endParaRPr sz="1092" dirty="0"/>
            </a:p>
          </p:txBody>
        </p:sp>
        <p:sp>
          <p:nvSpPr>
            <p:cNvPr id="301" name="object 301"/>
            <p:cNvSpPr/>
            <p:nvPr/>
          </p:nvSpPr>
          <p:spPr>
            <a:xfrm>
              <a:off x="6939490" y="3051313"/>
              <a:ext cx="182906" cy="104738"/>
            </a:xfrm>
            <a:custGeom>
              <a:avLst/>
              <a:gdLst/>
              <a:ahLst/>
              <a:cxnLst/>
              <a:rect l="l" t="t" r="r" b="b"/>
              <a:pathLst>
                <a:path w="301625" h="172720">
                  <a:moveTo>
                    <a:pt x="271667" y="0"/>
                  </a:moveTo>
                  <a:lnTo>
                    <a:pt x="0" y="155241"/>
                  </a:lnTo>
                  <a:lnTo>
                    <a:pt x="29894" y="172099"/>
                  </a:lnTo>
                  <a:lnTo>
                    <a:pt x="301561" y="16868"/>
                  </a:lnTo>
                  <a:lnTo>
                    <a:pt x="271667" y="0"/>
                  </a:lnTo>
                  <a:close/>
                </a:path>
              </a:pathLst>
            </a:custGeom>
            <a:solidFill>
              <a:srgbClr val="D4D4D4"/>
            </a:solidFill>
          </p:spPr>
          <p:txBody>
            <a:bodyPr wrap="square" lIns="0" tIns="0" rIns="0" bIns="0" rtlCol="0"/>
            <a:lstStyle/>
            <a:p>
              <a:endParaRPr sz="1092" dirty="0"/>
            </a:p>
          </p:txBody>
        </p:sp>
        <p:sp>
          <p:nvSpPr>
            <p:cNvPr id="302" name="object 302"/>
            <p:cNvSpPr/>
            <p:nvPr/>
          </p:nvSpPr>
          <p:spPr>
            <a:xfrm>
              <a:off x="6998692" y="3085223"/>
              <a:ext cx="182906" cy="104738"/>
            </a:xfrm>
            <a:custGeom>
              <a:avLst/>
              <a:gdLst/>
              <a:ahLst/>
              <a:cxnLst/>
              <a:rect l="l" t="t" r="r" b="b"/>
              <a:pathLst>
                <a:path w="301625" h="172720">
                  <a:moveTo>
                    <a:pt x="271907" y="0"/>
                  </a:moveTo>
                  <a:lnTo>
                    <a:pt x="0" y="155241"/>
                  </a:lnTo>
                  <a:lnTo>
                    <a:pt x="30135" y="172120"/>
                  </a:lnTo>
                  <a:lnTo>
                    <a:pt x="301561" y="16879"/>
                  </a:lnTo>
                  <a:lnTo>
                    <a:pt x="271907" y="0"/>
                  </a:lnTo>
                  <a:close/>
                </a:path>
              </a:pathLst>
            </a:custGeom>
            <a:solidFill>
              <a:srgbClr val="D4D4D4"/>
            </a:solidFill>
          </p:spPr>
          <p:txBody>
            <a:bodyPr wrap="square" lIns="0" tIns="0" rIns="0" bIns="0" rtlCol="0"/>
            <a:lstStyle/>
            <a:p>
              <a:endParaRPr sz="1092" dirty="0"/>
            </a:p>
          </p:txBody>
        </p:sp>
        <p:sp>
          <p:nvSpPr>
            <p:cNvPr id="303" name="object 303"/>
            <p:cNvSpPr/>
            <p:nvPr/>
          </p:nvSpPr>
          <p:spPr>
            <a:xfrm>
              <a:off x="7059498" y="3123373"/>
              <a:ext cx="182906" cy="104352"/>
            </a:xfrm>
            <a:custGeom>
              <a:avLst/>
              <a:gdLst/>
              <a:ahLst/>
              <a:cxnLst/>
              <a:rect l="l" t="t" r="r" b="b"/>
              <a:pathLst>
                <a:path w="301625" h="172085">
                  <a:moveTo>
                    <a:pt x="271667" y="0"/>
                  </a:moveTo>
                  <a:lnTo>
                    <a:pt x="0" y="155251"/>
                  </a:lnTo>
                  <a:lnTo>
                    <a:pt x="29894" y="171879"/>
                  </a:lnTo>
                  <a:lnTo>
                    <a:pt x="301320" y="16638"/>
                  </a:lnTo>
                  <a:lnTo>
                    <a:pt x="271667" y="0"/>
                  </a:lnTo>
                  <a:close/>
                </a:path>
              </a:pathLst>
            </a:custGeom>
            <a:solidFill>
              <a:srgbClr val="D4D4D4"/>
            </a:solidFill>
          </p:spPr>
          <p:txBody>
            <a:bodyPr wrap="square" lIns="0" tIns="0" rIns="0" bIns="0" rtlCol="0"/>
            <a:lstStyle/>
            <a:p>
              <a:endParaRPr sz="1092" dirty="0"/>
            </a:p>
          </p:txBody>
        </p:sp>
        <p:sp>
          <p:nvSpPr>
            <p:cNvPr id="304" name="object 304"/>
            <p:cNvSpPr/>
            <p:nvPr/>
          </p:nvSpPr>
          <p:spPr>
            <a:xfrm>
              <a:off x="7122943" y="3155827"/>
              <a:ext cx="182906" cy="104352"/>
            </a:xfrm>
            <a:custGeom>
              <a:avLst/>
              <a:gdLst/>
              <a:ahLst/>
              <a:cxnLst/>
              <a:rect l="l" t="t" r="r" b="b"/>
              <a:pathLst>
                <a:path w="301625" h="172085">
                  <a:moveTo>
                    <a:pt x="271667" y="0"/>
                  </a:moveTo>
                  <a:lnTo>
                    <a:pt x="0" y="155241"/>
                  </a:lnTo>
                  <a:lnTo>
                    <a:pt x="29883" y="171869"/>
                  </a:lnTo>
                  <a:lnTo>
                    <a:pt x="301551" y="16627"/>
                  </a:lnTo>
                  <a:lnTo>
                    <a:pt x="271667" y="0"/>
                  </a:lnTo>
                  <a:close/>
                </a:path>
              </a:pathLst>
            </a:custGeom>
            <a:solidFill>
              <a:srgbClr val="D4D4D4"/>
            </a:solidFill>
          </p:spPr>
          <p:txBody>
            <a:bodyPr wrap="square" lIns="0" tIns="0" rIns="0" bIns="0" rtlCol="0"/>
            <a:lstStyle/>
            <a:p>
              <a:endParaRPr sz="1092" dirty="0"/>
            </a:p>
          </p:txBody>
        </p:sp>
        <p:sp>
          <p:nvSpPr>
            <p:cNvPr id="305" name="object 305"/>
            <p:cNvSpPr/>
            <p:nvPr/>
          </p:nvSpPr>
          <p:spPr>
            <a:xfrm>
              <a:off x="7182290" y="3195296"/>
              <a:ext cx="182906" cy="104738"/>
            </a:xfrm>
            <a:custGeom>
              <a:avLst/>
              <a:gdLst/>
              <a:ahLst/>
              <a:cxnLst/>
              <a:rect l="l" t="t" r="r" b="b"/>
              <a:pathLst>
                <a:path w="301625" h="172720">
                  <a:moveTo>
                    <a:pt x="271667" y="0"/>
                  </a:moveTo>
                  <a:lnTo>
                    <a:pt x="0" y="155241"/>
                  </a:lnTo>
                  <a:lnTo>
                    <a:pt x="29883" y="172099"/>
                  </a:lnTo>
                  <a:lnTo>
                    <a:pt x="301320" y="16868"/>
                  </a:lnTo>
                  <a:lnTo>
                    <a:pt x="271667" y="0"/>
                  </a:lnTo>
                  <a:close/>
                </a:path>
              </a:pathLst>
            </a:custGeom>
            <a:solidFill>
              <a:srgbClr val="D4D4D4"/>
            </a:solidFill>
          </p:spPr>
          <p:txBody>
            <a:bodyPr wrap="square" lIns="0" tIns="0" rIns="0" bIns="0" rtlCol="0"/>
            <a:lstStyle/>
            <a:p>
              <a:endParaRPr sz="1092" dirty="0"/>
            </a:p>
          </p:txBody>
        </p:sp>
        <p:sp>
          <p:nvSpPr>
            <p:cNvPr id="306" name="object 306"/>
            <p:cNvSpPr/>
            <p:nvPr/>
          </p:nvSpPr>
          <p:spPr>
            <a:xfrm>
              <a:off x="7241488" y="3227742"/>
              <a:ext cx="182906" cy="104738"/>
            </a:xfrm>
            <a:custGeom>
              <a:avLst/>
              <a:gdLst/>
              <a:ahLst/>
              <a:cxnLst/>
              <a:rect l="l" t="t" r="r" b="b"/>
              <a:pathLst>
                <a:path w="301625" h="172720">
                  <a:moveTo>
                    <a:pt x="271667" y="0"/>
                  </a:moveTo>
                  <a:lnTo>
                    <a:pt x="0" y="155241"/>
                  </a:lnTo>
                  <a:lnTo>
                    <a:pt x="29894" y="172120"/>
                  </a:lnTo>
                  <a:lnTo>
                    <a:pt x="301561" y="16879"/>
                  </a:lnTo>
                  <a:lnTo>
                    <a:pt x="271667" y="0"/>
                  </a:lnTo>
                  <a:close/>
                </a:path>
              </a:pathLst>
            </a:custGeom>
            <a:solidFill>
              <a:srgbClr val="D4D4D4"/>
            </a:solidFill>
          </p:spPr>
          <p:txBody>
            <a:bodyPr wrap="square" lIns="0" tIns="0" rIns="0" bIns="0" rtlCol="0"/>
            <a:lstStyle/>
            <a:p>
              <a:endParaRPr sz="1092" dirty="0"/>
            </a:p>
          </p:txBody>
        </p:sp>
        <p:sp>
          <p:nvSpPr>
            <p:cNvPr id="307" name="object 307"/>
            <p:cNvSpPr/>
            <p:nvPr/>
          </p:nvSpPr>
          <p:spPr>
            <a:xfrm>
              <a:off x="7307850" y="3262973"/>
              <a:ext cx="182906" cy="104738"/>
            </a:xfrm>
            <a:custGeom>
              <a:avLst/>
              <a:gdLst/>
              <a:ahLst/>
              <a:cxnLst/>
              <a:rect l="l" t="t" r="r" b="b"/>
              <a:pathLst>
                <a:path w="301625" h="172720">
                  <a:moveTo>
                    <a:pt x="271667" y="0"/>
                  </a:moveTo>
                  <a:lnTo>
                    <a:pt x="0" y="155230"/>
                  </a:lnTo>
                  <a:lnTo>
                    <a:pt x="29894" y="172109"/>
                  </a:lnTo>
                  <a:lnTo>
                    <a:pt x="301551" y="16868"/>
                  </a:lnTo>
                  <a:lnTo>
                    <a:pt x="271667" y="0"/>
                  </a:lnTo>
                  <a:close/>
                </a:path>
              </a:pathLst>
            </a:custGeom>
            <a:solidFill>
              <a:srgbClr val="D4D4D4"/>
            </a:solidFill>
          </p:spPr>
          <p:txBody>
            <a:bodyPr wrap="square" lIns="0" tIns="0" rIns="0" bIns="0" rtlCol="0"/>
            <a:lstStyle/>
            <a:p>
              <a:endParaRPr sz="1092" dirty="0"/>
            </a:p>
          </p:txBody>
        </p:sp>
        <p:sp>
          <p:nvSpPr>
            <p:cNvPr id="308" name="object 308"/>
            <p:cNvSpPr/>
            <p:nvPr/>
          </p:nvSpPr>
          <p:spPr>
            <a:xfrm>
              <a:off x="7456925" y="4199405"/>
              <a:ext cx="488242" cy="299292"/>
            </a:xfrm>
            <a:prstGeom prst="rect">
              <a:avLst/>
            </a:prstGeom>
            <a:blipFill>
              <a:blip r:embed="rId6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09" name="object 309"/>
            <p:cNvSpPr/>
            <p:nvPr/>
          </p:nvSpPr>
          <p:spPr>
            <a:xfrm>
              <a:off x="7029689" y="4389974"/>
              <a:ext cx="615843" cy="247328"/>
            </a:xfrm>
            <a:prstGeom prst="rect">
              <a:avLst/>
            </a:prstGeom>
            <a:blipFill>
              <a:blip r:embed="rId7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10" name="object 310"/>
            <p:cNvSpPr/>
            <p:nvPr/>
          </p:nvSpPr>
          <p:spPr>
            <a:xfrm>
              <a:off x="7511531" y="4146119"/>
              <a:ext cx="99491" cy="140808"/>
            </a:xfrm>
            <a:prstGeom prst="rect">
              <a:avLst/>
            </a:prstGeom>
            <a:blipFill>
              <a:blip r:embed="rId7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11" name="object 311"/>
            <p:cNvSpPr/>
            <p:nvPr/>
          </p:nvSpPr>
          <p:spPr>
            <a:xfrm>
              <a:off x="7695503" y="4242772"/>
              <a:ext cx="50561" cy="58473"/>
            </a:xfrm>
            <a:prstGeom prst="rect">
              <a:avLst/>
            </a:prstGeom>
            <a:blipFill>
              <a:blip r:embed="rId7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12" name="object 312"/>
            <p:cNvSpPr/>
            <p:nvPr/>
          </p:nvSpPr>
          <p:spPr>
            <a:xfrm>
              <a:off x="7511500" y="4136334"/>
              <a:ext cx="115009" cy="71362"/>
            </a:xfrm>
            <a:prstGeom prst="rect">
              <a:avLst/>
            </a:prstGeom>
            <a:blipFill>
              <a:blip r:embed="rId7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13" name="object 313"/>
            <p:cNvSpPr/>
            <p:nvPr/>
          </p:nvSpPr>
          <p:spPr>
            <a:xfrm>
              <a:off x="6945194" y="2728855"/>
              <a:ext cx="567200" cy="1630363"/>
            </a:xfrm>
            <a:custGeom>
              <a:avLst/>
              <a:gdLst/>
              <a:ahLst/>
              <a:cxnLst/>
              <a:rect l="l" t="t" r="r" b="b"/>
              <a:pathLst>
                <a:path w="935354" h="2688590">
                  <a:moveTo>
                    <a:pt x="0" y="0"/>
                  </a:moveTo>
                  <a:lnTo>
                    <a:pt x="3130" y="2234539"/>
                  </a:lnTo>
                  <a:lnTo>
                    <a:pt x="934809" y="2688211"/>
                  </a:lnTo>
                  <a:lnTo>
                    <a:pt x="929259" y="511984"/>
                  </a:lnTo>
                  <a:lnTo>
                    <a:pt x="0" y="0"/>
                  </a:lnTo>
                  <a:close/>
                </a:path>
              </a:pathLst>
            </a:custGeom>
            <a:solidFill>
              <a:srgbClr val="CCCBCB"/>
            </a:solidFill>
          </p:spPr>
          <p:txBody>
            <a:bodyPr wrap="square" lIns="0" tIns="0" rIns="0" bIns="0" rtlCol="0"/>
            <a:lstStyle/>
            <a:p>
              <a:endParaRPr sz="1092" dirty="0"/>
            </a:p>
          </p:txBody>
        </p:sp>
        <p:sp>
          <p:nvSpPr>
            <p:cNvPr id="314" name="object 314"/>
            <p:cNvSpPr/>
            <p:nvPr/>
          </p:nvSpPr>
          <p:spPr>
            <a:xfrm>
              <a:off x="6462385" y="2943145"/>
              <a:ext cx="567585" cy="1686583"/>
            </a:xfrm>
            <a:custGeom>
              <a:avLst/>
              <a:gdLst/>
              <a:ahLst/>
              <a:cxnLst/>
              <a:rect l="l" t="t" r="r" b="b"/>
              <a:pathLst>
                <a:path w="935990" h="2781300">
                  <a:moveTo>
                    <a:pt x="0" y="0"/>
                  </a:moveTo>
                  <a:lnTo>
                    <a:pt x="5298" y="2245627"/>
                  </a:lnTo>
                  <a:lnTo>
                    <a:pt x="935762" y="2780773"/>
                  </a:lnTo>
                  <a:lnTo>
                    <a:pt x="929249" y="511754"/>
                  </a:lnTo>
                  <a:lnTo>
                    <a:pt x="0" y="0"/>
                  </a:lnTo>
                  <a:close/>
                </a:path>
              </a:pathLst>
            </a:custGeom>
            <a:solidFill>
              <a:srgbClr val="F7F1F1"/>
            </a:solidFill>
          </p:spPr>
          <p:txBody>
            <a:bodyPr wrap="square" lIns="0" tIns="0" rIns="0" bIns="0" rtlCol="0"/>
            <a:lstStyle/>
            <a:p>
              <a:endParaRPr sz="1092" dirty="0"/>
            </a:p>
          </p:txBody>
        </p:sp>
        <p:sp>
          <p:nvSpPr>
            <p:cNvPr id="315" name="object 315"/>
            <p:cNvSpPr/>
            <p:nvPr/>
          </p:nvSpPr>
          <p:spPr>
            <a:xfrm>
              <a:off x="7026325" y="2981730"/>
              <a:ext cx="485951" cy="1647691"/>
            </a:xfrm>
            <a:custGeom>
              <a:avLst/>
              <a:gdLst/>
              <a:ahLst/>
              <a:cxnLst/>
              <a:rect l="l" t="t" r="r" b="b"/>
              <a:pathLst>
                <a:path w="801370" h="2717165">
                  <a:moveTo>
                    <a:pt x="438227" y="0"/>
                  </a:moveTo>
                  <a:lnTo>
                    <a:pt x="0" y="407380"/>
                  </a:lnTo>
                  <a:lnTo>
                    <a:pt x="5779" y="2717142"/>
                  </a:lnTo>
                  <a:lnTo>
                    <a:pt x="801253" y="2271197"/>
                  </a:lnTo>
                  <a:lnTo>
                    <a:pt x="800213" y="1942098"/>
                  </a:lnTo>
                  <a:lnTo>
                    <a:pt x="798178" y="1213071"/>
                  </a:lnTo>
                  <a:lnTo>
                    <a:pt x="796778" y="471525"/>
                  </a:lnTo>
                  <a:lnTo>
                    <a:pt x="797640" y="104865"/>
                  </a:lnTo>
                  <a:lnTo>
                    <a:pt x="737413" y="65903"/>
                  </a:lnTo>
                  <a:lnTo>
                    <a:pt x="614317" y="32364"/>
                  </a:lnTo>
                  <a:lnTo>
                    <a:pt x="493029" y="8859"/>
                  </a:lnTo>
                  <a:lnTo>
                    <a:pt x="438227" y="0"/>
                  </a:lnTo>
                  <a:close/>
                </a:path>
              </a:pathLst>
            </a:custGeom>
            <a:solidFill>
              <a:srgbClr val="CAC4C4"/>
            </a:solidFill>
          </p:spPr>
          <p:txBody>
            <a:bodyPr wrap="square" lIns="0" tIns="0" rIns="0" bIns="0" rtlCol="0"/>
            <a:lstStyle/>
            <a:p>
              <a:endParaRPr sz="1092" dirty="0"/>
            </a:p>
          </p:txBody>
        </p:sp>
        <p:sp>
          <p:nvSpPr>
            <p:cNvPr id="316" name="object 316"/>
            <p:cNvSpPr/>
            <p:nvPr/>
          </p:nvSpPr>
          <p:spPr>
            <a:xfrm>
              <a:off x="6774751" y="2699812"/>
              <a:ext cx="472089" cy="190992"/>
            </a:xfrm>
            <a:custGeom>
              <a:avLst/>
              <a:gdLst/>
              <a:ahLst/>
              <a:cxnLst/>
              <a:rect l="l" t="t" r="r" b="b"/>
              <a:pathLst>
                <a:path w="778509" h="314960">
                  <a:moveTo>
                    <a:pt x="675266" y="257256"/>
                  </a:moveTo>
                  <a:lnTo>
                    <a:pt x="562384" y="257256"/>
                  </a:lnTo>
                  <a:lnTo>
                    <a:pt x="610157" y="260738"/>
                  </a:lnTo>
                  <a:lnTo>
                    <a:pt x="655911" y="269069"/>
                  </a:lnTo>
                  <a:lnTo>
                    <a:pt x="699375" y="281406"/>
                  </a:lnTo>
                  <a:lnTo>
                    <a:pt x="740279" y="296906"/>
                  </a:lnTo>
                  <a:lnTo>
                    <a:pt x="778353" y="314726"/>
                  </a:lnTo>
                  <a:lnTo>
                    <a:pt x="675266" y="257256"/>
                  </a:lnTo>
                  <a:close/>
                </a:path>
                <a:path w="778509" h="314960">
                  <a:moveTo>
                    <a:pt x="107183" y="0"/>
                  </a:moveTo>
                  <a:lnTo>
                    <a:pt x="54338" y="1919"/>
                  </a:lnTo>
                  <a:lnTo>
                    <a:pt x="0" y="11249"/>
                  </a:lnTo>
                  <a:lnTo>
                    <a:pt x="461860" y="268215"/>
                  </a:lnTo>
                  <a:lnTo>
                    <a:pt x="512862" y="259468"/>
                  </a:lnTo>
                  <a:lnTo>
                    <a:pt x="562384" y="257256"/>
                  </a:lnTo>
                  <a:lnTo>
                    <a:pt x="675266" y="257256"/>
                  </a:lnTo>
                  <a:lnTo>
                    <a:pt x="296252" y="45960"/>
                  </a:lnTo>
                  <a:lnTo>
                    <a:pt x="253070" y="28471"/>
                  </a:lnTo>
                  <a:lnTo>
                    <a:pt x="206918" y="14299"/>
                  </a:lnTo>
                  <a:lnTo>
                    <a:pt x="158166" y="4468"/>
                  </a:lnTo>
                  <a:lnTo>
                    <a:pt x="107183" y="0"/>
                  </a:lnTo>
                  <a:close/>
                </a:path>
              </a:pathLst>
            </a:custGeom>
            <a:solidFill>
              <a:srgbClr val="ECECEC"/>
            </a:solidFill>
          </p:spPr>
          <p:txBody>
            <a:bodyPr wrap="square" lIns="0" tIns="0" rIns="0" bIns="0" rtlCol="0"/>
            <a:lstStyle/>
            <a:p>
              <a:endParaRPr sz="1092" dirty="0"/>
            </a:p>
          </p:txBody>
        </p:sp>
        <p:sp>
          <p:nvSpPr>
            <p:cNvPr id="317" name="object 317"/>
            <p:cNvSpPr/>
            <p:nvPr/>
          </p:nvSpPr>
          <p:spPr>
            <a:xfrm>
              <a:off x="7054826" y="2855813"/>
              <a:ext cx="460152" cy="184446"/>
            </a:xfrm>
            <a:custGeom>
              <a:avLst/>
              <a:gdLst/>
              <a:ahLst/>
              <a:cxnLst/>
              <a:rect l="l" t="t" r="r" b="b"/>
              <a:pathLst>
                <a:path w="758825" h="304164">
                  <a:moveTo>
                    <a:pt x="673835" y="256541"/>
                  </a:moveTo>
                  <a:lnTo>
                    <a:pt x="571131" y="256541"/>
                  </a:lnTo>
                  <a:lnTo>
                    <a:pt x="622484" y="261166"/>
                  </a:lnTo>
                  <a:lnTo>
                    <a:pt x="671004" y="271254"/>
                  </a:lnTo>
                  <a:lnTo>
                    <a:pt x="716391" y="285747"/>
                  </a:lnTo>
                  <a:lnTo>
                    <a:pt x="758343" y="303587"/>
                  </a:lnTo>
                  <a:lnTo>
                    <a:pt x="673835" y="256541"/>
                  </a:lnTo>
                  <a:close/>
                </a:path>
                <a:path w="758825" h="304164">
                  <a:moveTo>
                    <a:pt x="100418" y="0"/>
                  </a:moveTo>
                  <a:lnTo>
                    <a:pt x="50928" y="2211"/>
                  </a:lnTo>
                  <a:lnTo>
                    <a:pt x="0" y="10957"/>
                  </a:lnTo>
                  <a:lnTo>
                    <a:pt x="461127" y="267913"/>
                  </a:lnTo>
                  <a:lnTo>
                    <a:pt x="517245" y="258438"/>
                  </a:lnTo>
                  <a:lnTo>
                    <a:pt x="571131" y="256541"/>
                  </a:lnTo>
                  <a:lnTo>
                    <a:pt x="673835" y="256541"/>
                  </a:lnTo>
                  <a:lnTo>
                    <a:pt x="316262" y="57480"/>
                  </a:lnTo>
                  <a:lnTo>
                    <a:pt x="278261" y="39655"/>
                  </a:lnTo>
                  <a:lnTo>
                    <a:pt x="237390" y="24152"/>
                  </a:lnTo>
                  <a:lnTo>
                    <a:pt x="193935" y="11813"/>
                  </a:lnTo>
                  <a:lnTo>
                    <a:pt x="148182" y="3481"/>
                  </a:lnTo>
                  <a:lnTo>
                    <a:pt x="100418" y="0"/>
                  </a:lnTo>
                  <a:close/>
                </a:path>
              </a:pathLst>
            </a:custGeom>
            <a:solidFill>
              <a:srgbClr val="ECECEC"/>
            </a:solidFill>
          </p:spPr>
          <p:txBody>
            <a:bodyPr wrap="square" lIns="0" tIns="0" rIns="0" bIns="0" rtlCol="0"/>
            <a:lstStyle/>
            <a:p>
              <a:endParaRPr sz="1092" dirty="0"/>
            </a:p>
          </p:txBody>
        </p:sp>
        <p:sp>
          <p:nvSpPr>
            <p:cNvPr id="318" name="object 318"/>
            <p:cNvSpPr/>
            <p:nvPr/>
          </p:nvSpPr>
          <p:spPr>
            <a:xfrm>
              <a:off x="6742598" y="2862456"/>
              <a:ext cx="592229" cy="395076"/>
            </a:xfrm>
            <a:custGeom>
              <a:avLst/>
              <a:gdLst/>
              <a:ahLst/>
              <a:cxnLst/>
              <a:rect l="l" t="t" r="r" b="b"/>
              <a:pathLst>
                <a:path w="976629" h="651510">
                  <a:moveTo>
                    <a:pt x="515136" y="0"/>
                  </a:moveTo>
                  <a:lnTo>
                    <a:pt x="508853" y="1926"/>
                  </a:lnTo>
                  <a:lnTo>
                    <a:pt x="502832" y="2649"/>
                  </a:lnTo>
                  <a:lnTo>
                    <a:pt x="496571" y="4334"/>
                  </a:lnTo>
                  <a:lnTo>
                    <a:pt x="442365" y="23211"/>
                  </a:lnTo>
                  <a:lnTo>
                    <a:pt x="389566" y="47675"/>
                  </a:lnTo>
                  <a:lnTo>
                    <a:pt x="338516" y="76710"/>
                  </a:lnTo>
                  <a:lnTo>
                    <a:pt x="289560" y="109296"/>
                  </a:lnTo>
                  <a:lnTo>
                    <a:pt x="243043" y="144415"/>
                  </a:lnTo>
                  <a:lnTo>
                    <a:pt x="199308" y="181049"/>
                  </a:lnTo>
                  <a:lnTo>
                    <a:pt x="158701" y="218180"/>
                  </a:lnTo>
                  <a:lnTo>
                    <a:pt x="121564" y="254789"/>
                  </a:lnTo>
                  <a:lnTo>
                    <a:pt x="88243" y="289858"/>
                  </a:lnTo>
                  <a:lnTo>
                    <a:pt x="59082" y="322368"/>
                  </a:lnTo>
                  <a:lnTo>
                    <a:pt x="14616" y="375640"/>
                  </a:lnTo>
                  <a:lnTo>
                    <a:pt x="0" y="394364"/>
                  </a:lnTo>
                  <a:lnTo>
                    <a:pt x="460163" y="651079"/>
                  </a:lnTo>
                  <a:lnTo>
                    <a:pt x="474883" y="632314"/>
                  </a:lnTo>
                  <a:lnTo>
                    <a:pt x="494777" y="607956"/>
                  </a:lnTo>
                  <a:lnTo>
                    <a:pt x="548715" y="546528"/>
                  </a:lnTo>
                  <a:lnTo>
                    <a:pt x="582070" y="511486"/>
                  </a:lnTo>
                  <a:lnTo>
                    <a:pt x="619224" y="474914"/>
                  </a:lnTo>
                  <a:lnTo>
                    <a:pt x="659832" y="437825"/>
                  </a:lnTo>
                  <a:lnTo>
                    <a:pt x="703549" y="401235"/>
                  </a:lnTo>
                  <a:lnTo>
                    <a:pt x="750032" y="366160"/>
                  </a:lnTo>
                  <a:lnTo>
                    <a:pt x="798936" y="333613"/>
                  </a:lnTo>
                  <a:lnTo>
                    <a:pt x="849918" y="304611"/>
                  </a:lnTo>
                  <a:lnTo>
                    <a:pt x="902632" y="280169"/>
                  </a:lnTo>
                  <a:lnTo>
                    <a:pt x="956735" y="261300"/>
                  </a:lnTo>
                  <a:lnTo>
                    <a:pt x="969750" y="258400"/>
                  </a:lnTo>
                  <a:lnTo>
                    <a:pt x="976263" y="256955"/>
                  </a:lnTo>
                  <a:lnTo>
                    <a:pt x="515136" y="0"/>
                  </a:lnTo>
                  <a:close/>
                </a:path>
              </a:pathLst>
            </a:custGeom>
            <a:solidFill>
              <a:srgbClr val="ECECEC"/>
            </a:solidFill>
          </p:spPr>
          <p:txBody>
            <a:bodyPr wrap="square" lIns="0" tIns="0" rIns="0" bIns="0" rtlCol="0"/>
            <a:lstStyle/>
            <a:p>
              <a:endParaRPr sz="1092" dirty="0"/>
            </a:p>
          </p:txBody>
        </p:sp>
        <p:sp>
          <p:nvSpPr>
            <p:cNvPr id="319" name="object 319"/>
            <p:cNvSpPr/>
            <p:nvPr/>
          </p:nvSpPr>
          <p:spPr>
            <a:xfrm>
              <a:off x="6463989" y="2706636"/>
              <a:ext cx="591074" cy="395076"/>
            </a:xfrm>
            <a:custGeom>
              <a:avLst/>
              <a:gdLst/>
              <a:ahLst/>
              <a:cxnLst/>
              <a:rect l="l" t="t" r="r" b="b"/>
              <a:pathLst>
                <a:path w="974725" h="651510">
                  <a:moveTo>
                    <a:pt x="512476" y="0"/>
                  </a:moveTo>
                  <a:lnTo>
                    <a:pt x="441841" y="23005"/>
                  </a:lnTo>
                  <a:lnTo>
                    <a:pt x="389021" y="47466"/>
                  </a:lnTo>
                  <a:lnTo>
                    <a:pt x="337971" y="76464"/>
                  </a:lnTo>
                  <a:lnTo>
                    <a:pt x="289033" y="108984"/>
                  </a:lnTo>
                  <a:lnTo>
                    <a:pt x="242549" y="144013"/>
                  </a:lnTo>
                  <a:lnTo>
                    <a:pt x="198860" y="180537"/>
                  </a:lnTo>
                  <a:lnTo>
                    <a:pt x="158308" y="217543"/>
                  </a:lnTo>
                  <a:lnTo>
                    <a:pt x="121234" y="254015"/>
                  </a:lnTo>
                  <a:lnTo>
                    <a:pt x="87981" y="288942"/>
                  </a:lnTo>
                  <a:lnTo>
                    <a:pt x="58889" y="321308"/>
                  </a:lnTo>
                  <a:lnTo>
                    <a:pt x="14557" y="374306"/>
                  </a:lnTo>
                  <a:lnTo>
                    <a:pt x="0" y="392909"/>
                  </a:lnTo>
                  <a:lnTo>
                    <a:pt x="458970" y="651320"/>
                  </a:lnTo>
                  <a:lnTo>
                    <a:pt x="473635" y="632645"/>
                  </a:lnTo>
                  <a:lnTo>
                    <a:pt x="493486" y="608341"/>
                  </a:lnTo>
                  <a:lnTo>
                    <a:pt x="547368" y="546927"/>
                  </a:lnTo>
                  <a:lnTo>
                    <a:pt x="580711" y="511857"/>
                  </a:lnTo>
                  <a:lnTo>
                    <a:pt x="617865" y="475240"/>
                  </a:lnTo>
                  <a:lnTo>
                    <a:pt x="658486" y="438096"/>
                  </a:lnTo>
                  <a:lnTo>
                    <a:pt x="702231" y="401444"/>
                  </a:lnTo>
                  <a:lnTo>
                    <a:pt x="748754" y="366305"/>
                  </a:lnTo>
                  <a:lnTo>
                    <a:pt x="797714" y="333700"/>
                  </a:lnTo>
                  <a:lnTo>
                    <a:pt x="848766" y="304649"/>
                  </a:lnTo>
                  <a:lnTo>
                    <a:pt x="901566" y="280172"/>
                  </a:lnTo>
                  <a:lnTo>
                    <a:pt x="955771" y="261290"/>
                  </a:lnTo>
                  <a:lnTo>
                    <a:pt x="968305" y="258641"/>
                  </a:lnTo>
                  <a:lnTo>
                    <a:pt x="974326" y="256965"/>
                  </a:lnTo>
                  <a:lnTo>
                    <a:pt x="512476" y="0"/>
                  </a:lnTo>
                  <a:close/>
                </a:path>
              </a:pathLst>
            </a:custGeom>
            <a:solidFill>
              <a:srgbClr val="ECECEC"/>
            </a:solidFill>
          </p:spPr>
          <p:txBody>
            <a:bodyPr wrap="square" lIns="0" tIns="0" rIns="0" bIns="0" rtlCol="0"/>
            <a:lstStyle/>
            <a:p>
              <a:endParaRPr sz="1092" dirty="0"/>
            </a:p>
          </p:txBody>
        </p:sp>
        <p:sp>
          <p:nvSpPr>
            <p:cNvPr id="320" name="object 320"/>
            <p:cNvSpPr/>
            <p:nvPr/>
          </p:nvSpPr>
          <p:spPr>
            <a:xfrm>
              <a:off x="6779282" y="2883064"/>
              <a:ext cx="502124" cy="349639"/>
            </a:xfrm>
            <a:custGeom>
              <a:avLst/>
              <a:gdLst/>
              <a:ahLst/>
              <a:cxnLst/>
              <a:rect l="l" t="t" r="r" b="b"/>
              <a:pathLst>
                <a:path w="828040" h="576579">
                  <a:moveTo>
                    <a:pt x="440405" y="0"/>
                  </a:moveTo>
                  <a:lnTo>
                    <a:pt x="391260" y="18835"/>
                  </a:lnTo>
                  <a:lnTo>
                    <a:pt x="342536" y="43685"/>
                  </a:lnTo>
                  <a:lnTo>
                    <a:pt x="294786" y="73342"/>
                  </a:lnTo>
                  <a:lnTo>
                    <a:pt x="248562" y="106596"/>
                  </a:lnTo>
                  <a:lnTo>
                    <a:pt x="204416" y="142242"/>
                  </a:lnTo>
                  <a:lnTo>
                    <a:pt x="162902" y="179070"/>
                  </a:lnTo>
                  <a:lnTo>
                    <a:pt x="124570" y="215873"/>
                  </a:lnTo>
                  <a:lnTo>
                    <a:pt x="89975" y="251444"/>
                  </a:lnTo>
                  <a:lnTo>
                    <a:pt x="59667" y="284575"/>
                  </a:lnTo>
                  <a:lnTo>
                    <a:pt x="34201" y="314057"/>
                  </a:lnTo>
                  <a:lnTo>
                    <a:pt x="0" y="357245"/>
                  </a:lnTo>
                  <a:lnTo>
                    <a:pt x="388344" y="576359"/>
                  </a:lnTo>
                  <a:lnTo>
                    <a:pt x="402604" y="557678"/>
                  </a:lnTo>
                  <a:lnTo>
                    <a:pt x="422732" y="533045"/>
                  </a:lnTo>
                  <a:lnTo>
                    <a:pt x="448188" y="503649"/>
                  </a:lnTo>
                  <a:lnTo>
                    <a:pt x="478430" y="470677"/>
                  </a:lnTo>
                  <a:lnTo>
                    <a:pt x="512917" y="435318"/>
                  </a:lnTo>
                  <a:lnTo>
                    <a:pt x="551110" y="398761"/>
                  </a:lnTo>
                  <a:lnTo>
                    <a:pt x="592466" y="362194"/>
                  </a:lnTo>
                  <a:lnTo>
                    <a:pt x="636446" y="326806"/>
                  </a:lnTo>
                  <a:lnTo>
                    <a:pt x="682509" y="293785"/>
                  </a:lnTo>
                  <a:lnTo>
                    <a:pt x="730114" y="264320"/>
                  </a:lnTo>
                  <a:lnTo>
                    <a:pt x="778719" y="239598"/>
                  </a:lnTo>
                  <a:lnTo>
                    <a:pt x="827786" y="220810"/>
                  </a:lnTo>
                  <a:lnTo>
                    <a:pt x="816420" y="212656"/>
                  </a:lnTo>
                  <a:lnTo>
                    <a:pt x="782243" y="191912"/>
                  </a:lnTo>
                  <a:lnTo>
                    <a:pt x="670985" y="127219"/>
                  </a:lnTo>
                  <a:lnTo>
                    <a:pt x="545070" y="55853"/>
                  </a:lnTo>
                  <a:lnTo>
                    <a:pt x="492571" y="26768"/>
                  </a:lnTo>
                  <a:lnTo>
                    <a:pt x="455556" y="6937"/>
                  </a:lnTo>
                  <a:lnTo>
                    <a:pt x="440405" y="0"/>
                  </a:lnTo>
                  <a:close/>
                </a:path>
              </a:pathLst>
            </a:custGeom>
            <a:solidFill>
              <a:srgbClr val="FFFFFF"/>
            </a:solidFill>
          </p:spPr>
          <p:txBody>
            <a:bodyPr wrap="square" lIns="0" tIns="0" rIns="0" bIns="0" rtlCol="0"/>
            <a:lstStyle/>
            <a:p>
              <a:endParaRPr sz="1092" dirty="0"/>
            </a:p>
          </p:txBody>
        </p:sp>
        <p:sp>
          <p:nvSpPr>
            <p:cNvPr id="321" name="object 321"/>
            <p:cNvSpPr/>
            <p:nvPr/>
          </p:nvSpPr>
          <p:spPr>
            <a:xfrm>
              <a:off x="6504776" y="2728411"/>
              <a:ext cx="495193" cy="345018"/>
            </a:xfrm>
            <a:custGeom>
              <a:avLst/>
              <a:gdLst/>
              <a:ahLst/>
              <a:cxnLst/>
              <a:rect l="l" t="t" r="r" b="b"/>
              <a:pathLst>
                <a:path w="816609" h="568960">
                  <a:moveTo>
                    <a:pt x="434122" y="0"/>
                  </a:moveTo>
                  <a:lnTo>
                    <a:pt x="381247" y="20614"/>
                  </a:lnTo>
                  <a:lnTo>
                    <a:pt x="328934" y="48157"/>
                  </a:lnTo>
                  <a:lnTo>
                    <a:pt x="277891" y="81085"/>
                  </a:lnTo>
                  <a:lnTo>
                    <a:pt x="228823" y="117852"/>
                  </a:lnTo>
                  <a:lnTo>
                    <a:pt x="182437" y="156912"/>
                  </a:lnTo>
                  <a:lnTo>
                    <a:pt x="139440" y="196720"/>
                  </a:lnTo>
                  <a:lnTo>
                    <a:pt x="100537" y="235731"/>
                  </a:lnTo>
                  <a:lnTo>
                    <a:pt x="66436" y="272400"/>
                  </a:lnTo>
                  <a:lnTo>
                    <a:pt x="37841" y="305181"/>
                  </a:lnTo>
                  <a:lnTo>
                    <a:pt x="0" y="352900"/>
                  </a:lnTo>
                  <a:lnTo>
                    <a:pt x="383024" y="568883"/>
                  </a:lnTo>
                  <a:lnTo>
                    <a:pt x="398583" y="548452"/>
                  </a:lnTo>
                  <a:lnTo>
                    <a:pt x="421000" y="521173"/>
                  </a:lnTo>
                  <a:lnTo>
                    <a:pt x="449578" y="488566"/>
                  </a:lnTo>
                  <a:lnTo>
                    <a:pt x="483622" y="452148"/>
                  </a:lnTo>
                  <a:lnTo>
                    <a:pt x="522434" y="413440"/>
                  </a:lnTo>
                  <a:lnTo>
                    <a:pt x="565319" y="373961"/>
                  </a:lnTo>
                  <a:lnTo>
                    <a:pt x="611578" y="335229"/>
                  </a:lnTo>
                  <a:lnTo>
                    <a:pt x="660516" y="298764"/>
                  </a:lnTo>
                  <a:lnTo>
                    <a:pt x="711436" y="266085"/>
                  </a:lnTo>
                  <a:lnTo>
                    <a:pt x="763641" y="238710"/>
                  </a:lnTo>
                  <a:lnTo>
                    <a:pt x="816435" y="218160"/>
                  </a:lnTo>
                  <a:lnTo>
                    <a:pt x="805180" y="210106"/>
                  </a:lnTo>
                  <a:lnTo>
                    <a:pt x="771435" y="189626"/>
                  </a:lnTo>
                  <a:lnTo>
                    <a:pt x="661649" y="125757"/>
                  </a:lnTo>
                  <a:lnTo>
                    <a:pt x="537420" y="55278"/>
                  </a:lnTo>
                  <a:lnTo>
                    <a:pt x="485621" y="26535"/>
                  </a:lnTo>
                  <a:lnTo>
                    <a:pt x="449091" y="6913"/>
                  </a:lnTo>
                  <a:lnTo>
                    <a:pt x="434122" y="0"/>
                  </a:lnTo>
                  <a:close/>
                </a:path>
              </a:pathLst>
            </a:custGeom>
            <a:solidFill>
              <a:srgbClr val="FFFFFF"/>
            </a:solidFill>
          </p:spPr>
          <p:txBody>
            <a:bodyPr wrap="square" lIns="0" tIns="0" rIns="0" bIns="0" rtlCol="0"/>
            <a:lstStyle/>
            <a:p>
              <a:endParaRPr sz="1092" dirty="0"/>
            </a:p>
          </p:txBody>
        </p:sp>
        <p:sp>
          <p:nvSpPr>
            <p:cNvPr id="322" name="object 322"/>
            <p:cNvSpPr/>
            <p:nvPr/>
          </p:nvSpPr>
          <p:spPr>
            <a:xfrm>
              <a:off x="7119429" y="2878238"/>
              <a:ext cx="345403" cy="138623"/>
            </a:xfrm>
            <a:custGeom>
              <a:avLst/>
              <a:gdLst/>
              <a:ahLst/>
              <a:cxnLst/>
              <a:rect l="l" t="t" r="r" b="b"/>
              <a:pathLst>
                <a:path w="569595" h="228600">
                  <a:moveTo>
                    <a:pt x="488760" y="182757"/>
                  </a:moveTo>
                  <a:lnTo>
                    <a:pt x="396293" y="182757"/>
                  </a:lnTo>
                  <a:lnTo>
                    <a:pt x="445555" y="187392"/>
                  </a:lnTo>
                  <a:lnTo>
                    <a:pt x="489566" y="197628"/>
                  </a:lnTo>
                  <a:lnTo>
                    <a:pt x="530211" y="211811"/>
                  </a:lnTo>
                  <a:lnTo>
                    <a:pt x="569375" y="228286"/>
                  </a:lnTo>
                  <a:lnTo>
                    <a:pt x="488760" y="182757"/>
                  </a:lnTo>
                  <a:close/>
                </a:path>
                <a:path w="569595" h="228600">
                  <a:moveTo>
                    <a:pt x="0" y="0"/>
                  </a:moveTo>
                  <a:lnTo>
                    <a:pt x="339895" y="185376"/>
                  </a:lnTo>
                  <a:lnTo>
                    <a:pt x="396293" y="182757"/>
                  </a:lnTo>
                  <a:lnTo>
                    <a:pt x="488760" y="182757"/>
                  </a:lnTo>
                  <a:lnTo>
                    <a:pt x="260348" y="53757"/>
                  </a:lnTo>
                  <a:lnTo>
                    <a:pt x="218878" y="36182"/>
                  </a:lnTo>
                  <a:lnTo>
                    <a:pt x="172734" y="20399"/>
                  </a:lnTo>
                  <a:lnTo>
                    <a:pt x="121290" y="8027"/>
                  </a:lnTo>
                  <a:lnTo>
                    <a:pt x="63920" y="687"/>
                  </a:lnTo>
                  <a:lnTo>
                    <a:pt x="0" y="0"/>
                  </a:lnTo>
                  <a:close/>
                </a:path>
              </a:pathLst>
            </a:custGeom>
            <a:solidFill>
              <a:srgbClr val="FFFFFF"/>
            </a:solidFill>
          </p:spPr>
          <p:txBody>
            <a:bodyPr wrap="square" lIns="0" tIns="0" rIns="0" bIns="0" rtlCol="0"/>
            <a:lstStyle/>
            <a:p>
              <a:endParaRPr sz="1092" dirty="0"/>
            </a:p>
          </p:txBody>
        </p:sp>
        <p:sp>
          <p:nvSpPr>
            <p:cNvPr id="323" name="object 323"/>
            <p:cNvSpPr/>
            <p:nvPr/>
          </p:nvSpPr>
          <p:spPr>
            <a:xfrm>
              <a:off x="6853401" y="2723739"/>
              <a:ext cx="346173" cy="139008"/>
            </a:xfrm>
            <a:custGeom>
              <a:avLst/>
              <a:gdLst/>
              <a:ahLst/>
              <a:cxnLst/>
              <a:rect l="l" t="t" r="r" b="b"/>
              <a:pathLst>
                <a:path w="570865" h="229235">
                  <a:moveTo>
                    <a:pt x="484904" y="183298"/>
                  </a:moveTo>
                  <a:lnTo>
                    <a:pt x="397630" y="183298"/>
                  </a:lnTo>
                  <a:lnTo>
                    <a:pt x="446883" y="187898"/>
                  </a:lnTo>
                  <a:lnTo>
                    <a:pt x="490928" y="198065"/>
                  </a:lnTo>
                  <a:lnTo>
                    <a:pt x="531617" y="212213"/>
                  </a:lnTo>
                  <a:lnTo>
                    <a:pt x="570799" y="228757"/>
                  </a:lnTo>
                  <a:lnTo>
                    <a:pt x="484904" y="183298"/>
                  </a:lnTo>
                  <a:close/>
                </a:path>
                <a:path w="570865" h="229235">
                  <a:moveTo>
                    <a:pt x="0" y="0"/>
                  </a:moveTo>
                  <a:lnTo>
                    <a:pt x="341319" y="185847"/>
                  </a:lnTo>
                  <a:lnTo>
                    <a:pt x="397630" y="183298"/>
                  </a:lnTo>
                  <a:lnTo>
                    <a:pt x="484904" y="183298"/>
                  </a:lnTo>
                  <a:lnTo>
                    <a:pt x="282022" y="75924"/>
                  </a:lnTo>
                  <a:lnTo>
                    <a:pt x="246169" y="59556"/>
                  </a:lnTo>
                  <a:lnTo>
                    <a:pt x="204729" y="41781"/>
                  </a:lnTo>
                  <a:lnTo>
                    <a:pt x="158547" y="24768"/>
                  </a:lnTo>
                  <a:lnTo>
                    <a:pt x="108469" y="10688"/>
                  </a:lnTo>
                  <a:lnTo>
                    <a:pt x="55338" y="1709"/>
                  </a:lnTo>
                  <a:lnTo>
                    <a:pt x="0" y="0"/>
                  </a:lnTo>
                  <a:close/>
                </a:path>
              </a:pathLst>
            </a:custGeom>
            <a:solidFill>
              <a:srgbClr val="FFFFFF"/>
            </a:solidFill>
          </p:spPr>
          <p:txBody>
            <a:bodyPr wrap="square" lIns="0" tIns="0" rIns="0" bIns="0" rtlCol="0"/>
            <a:lstStyle/>
            <a:p>
              <a:endParaRPr sz="1092" dirty="0"/>
            </a:p>
          </p:txBody>
        </p:sp>
        <p:sp>
          <p:nvSpPr>
            <p:cNvPr id="324" name="object 324"/>
            <p:cNvSpPr/>
            <p:nvPr/>
          </p:nvSpPr>
          <p:spPr>
            <a:xfrm>
              <a:off x="6526551" y="3072212"/>
              <a:ext cx="55546" cy="115625"/>
            </a:xfrm>
            <a:prstGeom prst="rect">
              <a:avLst/>
            </a:prstGeom>
            <a:blipFill>
              <a:blip r:embed="rId7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25" name="object 325"/>
            <p:cNvSpPr/>
            <p:nvPr/>
          </p:nvSpPr>
          <p:spPr>
            <a:xfrm>
              <a:off x="6622009" y="3126444"/>
              <a:ext cx="55394" cy="115771"/>
            </a:xfrm>
            <a:prstGeom prst="rect">
              <a:avLst/>
            </a:prstGeom>
            <a:blipFill>
              <a:blip r:embed="rId7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26" name="object 326"/>
            <p:cNvSpPr/>
            <p:nvPr/>
          </p:nvSpPr>
          <p:spPr>
            <a:xfrm>
              <a:off x="6717310" y="3180676"/>
              <a:ext cx="55400" cy="115771"/>
            </a:xfrm>
            <a:prstGeom prst="rect">
              <a:avLst/>
            </a:prstGeom>
            <a:blipFill>
              <a:blip r:embed="rId7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27" name="object 327"/>
            <p:cNvSpPr/>
            <p:nvPr/>
          </p:nvSpPr>
          <p:spPr>
            <a:xfrm>
              <a:off x="6812763" y="3234907"/>
              <a:ext cx="55394" cy="115771"/>
            </a:xfrm>
            <a:prstGeom prst="rect">
              <a:avLst/>
            </a:prstGeom>
            <a:blipFill>
              <a:blip r:embed="rId7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28" name="object 328"/>
            <p:cNvSpPr/>
            <p:nvPr/>
          </p:nvSpPr>
          <p:spPr>
            <a:xfrm>
              <a:off x="6908063" y="3289138"/>
              <a:ext cx="55552" cy="115619"/>
            </a:xfrm>
            <a:prstGeom prst="rect">
              <a:avLst/>
            </a:prstGeom>
            <a:blipFill>
              <a:blip r:embed="rId7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29" name="object 329"/>
            <p:cNvSpPr/>
            <p:nvPr/>
          </p:nvSpPr>
          <p:spPr>
            <a:xfrm>
              <a:off x="6526551" y="3203184"/>
              <a:ext cx="55546" cy="115625"/>
            </a:xfrm>
            <a:prstGeom prst="rect">
              <a:avLst/>
            </a:prstGeom>
            <a:blipFill>
              <a:blip r:embed="rId7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30" name="object 330"/>
            <p:cNvSpPr/>
            <p:nvPr/>
          </p:nvSpPr>
          <p:spPr>
            <a:xfrm>
              <a:off x="6622009" y="3257417"/>
              <a:ext cx="55394" cy="115771"/>
            </a:xfrm>
            <a:prstGeom prst="rect">
              <a:avLst/>
            </a:prstGeom>
            <a:blipFill>
              <a:blip r:embed="rId8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31" name="object 331"/>
            <p:cNvSpPr/>
            <p:nvPr/>
          </p:nvSpPr>
          <p:spPr>
            <a:xfrm>
              <a:off x="6717309" y="3311502"/>
              <a:ext cx="55400" cy="115917"/>
            </a:xfrm>
            <a:prstGeom prst="rect">
              <a:avLst/>
            </a:prstGeom>
            <a:blipFill>
              <a:blip r:embed="rId8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32" name="object 332"/>
            <p:cNvSpPr/>
            <p:nvPr/>
          </p:nvSpPr>
          <p:spPr>
            <a:xfrm>
              <a:off x="6812763" y="3365880"/>
              <a:ext cx="55394" cy="115771"/>
            </a:xfrm>
            <a:prstGeom prst="rect">
              <a:avLst/>
            </a:prstGeom>
            <a:blipFill>
              <a:blip r:embed="rId8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33" name="object 333"/>
            <p:cNvSpPr/>
            <p:nvPr/>
          </p:nvSpPr>
          <p:spPr>
            <a:xfrm>
              <a:off x="6908063" y="3419959"/>
              <a:ext cx="55552" cy="115771"/>
            </a:xfrm>
            <a:prstGeom prst="rect">
              <a:avLst/>
            </a:prstGeom>
            <a:blipFill>
              <a:blip r:embed="rId8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34" name="object 334"/>
            <p:cNvSpPr/>
            <p:nvPr/>
          </p:nvSpPr>
          <p:spPr>
            <a:xfrm>
              <a:off x="6526551" y="3341472"/>
              <a:ext cx="55546" cy="115473"/>
            </a:xfrm>
            <a:prstGeom prst="rect">
              <a:avLst/>
            </a:prstGeom>
            <a:blipFill>
              <a:blip r:embed="rId8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35" name="object 335"/>
            <p:cNvSpPr/>
            <p:nvPr/>
          </p:nvSpPr>
          <p:spPr>
            <a:xfrm>
              <a:off x="6622009" y="3395412"/>
              <a:ext cx="55394" cy="115904"/>
            </a:xfrm>
            <a:prstGeom prst="rect">
              <a:avLst/>
            </a:prstGeom>
            <a:blipFill>
              <a:blip r:embed="rId8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36" name="object 336"/>
            <p:cNvSpPr/>
            <p:nvPr/>
          </p:nvSpPr>
          <p:spPr>
            <a:xfrm>
              <a:off x="6717310" y="3449783"/>
              <a:ext cx="55400" cy="115765"/>
            </a:xfrm>
            <a:prstGeom prst="rect">
              <a:avLst/>
            </a:prstGeom>
            <a:blipFill>
              <a:blip r:embed="rId8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37" name="object 337"/>
            <p:cNvSpPr/>
            <p:nvPr/>
          </p:nvSpPr>
          <p:spPr>
            <a:xfrm>
              <a:off x="6812762" y="3504008"/>
              <a:ext cx="55394" cy="115771"/>
            </a:xfrm>
            <a:prstGeom prst="rect">
              <a:avLst/>
            </a:prstGeom>
            <a:blipFill>
              <a:blip r:embed="rId8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38" name="object 338"/>
            <p:cNvSpPr/>
            <p:nvPr/>
          </p:nvSpPr>
          <p:spPr>
            <a:xfrm>
              <a:off x="6908063" y="3558239"/>
              <a:ext cx="55552" cy="115632"/>
            </a:xfrm>
            <a:prstGeom prst="rect">
              <a:avLst/>
            </a:prstGeom>
            <a:blipFill>
              <a:blip r:embed="rId8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39" name="object 339"/>
            <p:cNvSpPr/>
            <p:nvPr/>
          </p:nvSpPr>
          <p:spPr>
            <a:xfrm>
              <a:off x="6526551" y="3472292"/>
              <a:ext cx="55546" cy="115625"/>
            </a:xfrm>
            <a:prstGeom prst="rect">
              <a:avLst/>
            </a:prstGeom>
            <a:blipFill>
              <a:blip r:embed="rId8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40" name="object 340"/>
            <p:cNvSpPr/>
            <p:nvPr/>
          </p:nvSpPr>
          <p:spPr>
            <a:xfrm>
              <a:off x="6622009" y="3526523"/>
              <a:ext cx="55394" cy="115765"/>
            </a:xfrm>
            <a:prstGeom prst="rect">
              <a:avLst/>
            </a:prstGeom>
            <a:blipFill>
              <a:blip r:embed="rId9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41" name="object 341"/>
            <p:cNvSpPr/>
            <p:nvPr/>
          </p:nvSpPr>
          <p:spPr>
            <a:xfrm>
              <a:off x="6717310" y="3580609"/>
              <a:ext cx="25881" cy="29538"/>
            </a:xfrm>
            <a:prstGeom prst="rect">
              <a:avLst/>
            </a:prstGeom>
            <a:blipFill>
              <a:blip r:embed="rId9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42" name="object 342"/>
            <p:cNvSpPr/>
            <p:nvPr/>
          </p:nvSpPr>
          <p:spPr>
            <a:xfrm>
              <a:off x="6812763" y="3634980"/>
              <a:ext cx="55394" cy="115625"/>
            </a:xfrm>
            <a:prstGeom prst="rect">
              <a:avLst/>
            </a:prstGeom>
            <a:blipFill>
              <a:blip r:embed="rId9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43" name="object 343"/>
            <p:cNvSpPr/>
            <p:nvPr/>
          </p:nvSpPr>
          <p:spPr>
            <a:xfrm>
              <a:off x="6908064" y="3689072"/>
              <a:ext cx="55552" cy="115625"/>
            </a:xfrm>
            <a:prstGeom prst="rect">
              <a:avLst/>
            </a:prstGeom>
            <a:blipFill>
              <a:blip r:embed="rId9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44" name="object 344"/>
            <p:cNvSpPr/>
            <p:nvPr/>
          </p:nvSpPr>
          <p:spPr>
            <a:xfrm>
              <a:off x="7376558" y="3077039"/>
              <a:ext cx="55394" cy="115765"/>
            </a:xfrm>
            <a:prstGeom prst="rect">
              <a:avLst/>
            </a:prstGeom>
            <a:blipFill>
              <a:blip r:embed="rId9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45" name="object 345"/>
            <p:cNvSpPr/>
            <p:nvPr/>
          </p:nvSpPr>
          <p:spPr>
            <a:xfrm>
              <a:off x="7281100" y="3131270"/>
              <a:ext cx="55406" cy="115765"/>
            </a:xfrm>
            <a:prstGeom prst="rect">
              <a:avLst/>
            </a:prstGeom>
            <a:blipFill>
              <a:blip r:embed="rId9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46" name="object 346"/>
            <p:cNvSpPr/>
            <p:nvPr/>
          </p:nvSpPr>
          <p:spPr>
            <a:xfrm>
              <a:off x="7185793" y="3185495"/>
              <a:ext cx="55406" cy="115625"/>
            </a:xfrm>
            <a:prstGeom prst="rect">
              <a:avLst/>
            </a:prstGeom>
            <a:blipFill>
              <a:blip r:embed="rId9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47" name="object 347"/>
            <p:cNvSpPr/>
            <p:nvPr/>
          </p:nvSpPr>
          <p:spPr>
            <a:xfrm>
              <a:off x="6648170" y="2341925"/>
              <a:ext cx="668741" cy="1013434"/>
            </a:xfrm>
            <a:prstGeom prst="rect">
              <a:avLst/>
            </a:prstGeom>
            <a:blipFill>
              <a:blip r:embed="rId9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48" name="object 348"/>
            <p:cNvSpPr/>
            <p:nvPr/>
          </p:nvSpPr>
          <p:spPr>
            <a:xfrm>
              <a:off x="7376558" y="3233739"/>
              <a:ext cx="55394" cy="115771"/>
            </a:xfrm>
            <a:prstGeom prst="rect">
              <a:avLst/>
            </a:prstGeom>
            <a:blipFill>
              <a:blip r:embed="rId9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49" name="object 349"/>
            <p:cNvSpPr/>
            <p:nvPr/>
          </p:nvSpPr>
          <p:spPr>
            <a:xfrm>
              <a:off x="7281099" y="3287971"/>
              <a:ext cx="55406" cy="115765"/>
            </a:xfrm>
            <a:prstGeom prst="rect">
              <a:avLst/>
            </a:prstGeom>
            <a:blipFill>
              <a:blip r:embed="rId9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50" name="object 350"/>
            <p:cNvSpPr/>
            <p:nvPr/>
          </p:nvSpPr>
          <p:spPr>
            <a:xfrm>
              <a:off x="7185793" y="3342202"/>
              <a:ext cx="55406" cy="115619"/>
            </a:xfrm>
            <a:prstGeom prst="rect">
              <a:avLst/>
            </a:prstGeom>
            <a:blipFill>
              <a:blip r:embed="rId10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51" name="object 351"/>
            <p:cNvSpPr/>
            <p:nvPr/>
          </p:nvSpPr>
          <p:spPr>
            <a:xfrm>
              <a:off x="7090492" y="3396427"/>
              <a:ext cx="55394" cy="115479"/>
            </a:xfrm>
            <a:prstGeom prst="rect">
              <a:avLst/>
            </a:prstGeom>
            <a:blipFill>
              <a:blip r:embed="rId10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52" name="object 352"/>
            <p:cNvSpPr/>
            <p:nvPr/>
          </p:nvSpPr>
          <p:spPr>
            <a:xfrm>
              <a:off x="7376558" y="3390288"/>
              <a:ext cx="55394" cy="115771"/>
            </a:xfrm>
            <a:prstGeom prst="rect">
              <a:avLst/>
            </a:prstGeom>
            <a:blipFill>
              <a:blip r:embed="rId10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53" name="object 353"/>
            <p:cNvSpPr/>
            <p:nvPr/>
          </p:nvSpPr>
          <p:spPr>
            <a:xfrm>
              <a:off x="7281099" y="3444664"/>
              <a:ext cx="55406" cy="115778"/>
            </a:xfrm>
            <a:prstGeom prst="rect">
              <a:avLst/>
            </a:prstGeom>
            <a:blipFill>
              <a:blip r:embed="rId10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54" name="object 354"/>
            <p:cNvSpPr/>
            <p:nvPr/>
          </p:nvSpPr>
          <p:spPr>
            <a:xfrm>
              <a:off x="7185793" y="3498750"/>
              <a:ext cx="55406" cy="115625"/>
            </a:xfrm>
            <a:prstGeom prst="rect">
              <a:avLst/>
            </a:prstGeom>
            <a:blipFill>
              <a:blip r:embed="rId10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55" name="object 355"/>
            <p:cNvSpPr/>
            <p:nvPr/>
          </p:nvSpPr>
          <p:spPr>
            <a:xfrm>
              <a:off x="7090492" y="3552976"/>
              <a:ext cx="55394" cy="115632"/>
            </a:xfrm>
            <a:prstGeom prst="rect">
              <a:avLst/>
            </a:prstGeom>
            <a:blipFill>
              <a:blip r:embed="rId10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56" name="object 356"/>
            <p:cNvSpPr/>
            <p:nvPr/>
          </p:nvSpPr>
          <p:spPr>
            <a:xfrm>
              <a:off x="7376558" y="3543623"/>
              <a:ext cx="55394" cy="115632"/>
            </a:xfrm>
            <a:prstGeom prst="rect">
              <a:avLst/>
            </a:prstGeom>
            <a:blipFill>
              <a:blip r:embed="rId10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57" name="object 357"/>
            <p:cNvSpPr/>
            <p:nvPr/>
          </p:nvSpPr>
          <p:spPr>
            <a:xfrm>
              <a:off x="7281099" y="3598000"/>
              <a:ext cx="55406" cy="115632"/>
            </a:xfrm>
            <a:prstGeom prst="rect">
              <a:avLst/>
            </a:prstGeom>
            <a:blipFill>
              <a:blip r:embed="rId10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58" name="object 358"/>
            <p:cNvSpPr/>
            <p:nvPr/>
          </p:nvSpPr>
          <p:spPr>
            <a:xfrm>
              <a:off x="7185793" y="3652092"/>
              <a:ext cx="55406" cy="115619"/>
            </a:xfrm>
            <a:prstGeom prst="rect">
              <a:avLst/>
            </a:prstGeom>
            <a:blipFill>
              <a:blip r:embed="rId10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59" name="object 359"/>
            <p:cNvSpPr/>
            <p:nvPr/>
          </p:nvSpPr>
          <p:spPr>
            <a:xfrm>
              <a:off x="7090492" y="3706324"/>
              <a:ext cx="55393" cy="115473"/>
            </a:xfrm>
            <a:prstGeom prst="rect">
              <a:avLst/>
            </a:prstGeom>
            <a:blipFill>
              <a:blip r:embed="rId10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60" name="object 360"/>
            <p:cNvSpPr/>
            <p:nvPr/>
          </p:nvSpPr>
          <p:spPr>
            <a:xfrm>
              <a:off x="6526551" y="3695497"/>
              <a:ext cx="55546" cy="115619"/>
            </a:xfrm>
            <a:prstGeom prst="rect">
              <a:avLst/>
            </a:prstGeom>
            <a:blipFill>
              <a:blip r:embed="rId11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61" name="object 361"/>
            <p:cNvSpPr/>
            <p:nvPr/>
          </p:nvSpPr>
          <p:spPr>
            <a:xfrm>
              <a:off x="6622003" y="3749590"/>
              <a:ext cx="55400" cy="115911"/>
            </a:xfrm>
            <a:prstGeom prst="rect">
              <a:avLst/>
            </a:prstGeom>
            <a:blipFill>
              <a:blip r:embed="rId11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62" name="object 362"/>
            <p:cNvSpPr/>
            <p:nvPr/>
          </p:nvSpPr>
          <p:spPr>
            <a:xfrm>
              <a:off x="6717310" y="3803809"/>
              <a:ext cx="55400" cy="115923"/>
            </a:xfrm>
            <a:prstGeom prst="rect">
              <a:avLst/>
            </a:prstGeom>
            <a:blipFill>
              <a:blip r:embed="rId11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63" name="object 363"/>
            <p:cNvSpPr/>
            <p:nvPr/>
          </p:nvSpPr>
          <p:spPr>
            <a:xfrm>
              <a:off x="6812763" y="3858192"/>
              <a:ext cx="55393" cy="115771"/>
            </a:xfrm>
            <a:prstGeom prst="rect">
              <a:avLst/>
            </a:prstGeom>
            <a:blipFill>
              <a:blip r:embed="rId11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64" name="object 364"/>
            <p:cNvSpPr/>
            <p:nvPr/>
          </p:nvSpPr>
          <p:spPr>
            <a:xfrm>
              <a:off x="6908064" y="3912271"/>
              <a:ext cx="55552" cy="115784"/>
            </a:xfrm>
            <a:prstGeom prst="rect">
              <a:avLst/>
            </a:prstGeom>
            <a:blipFill>
              <a:blip r:embed="rId11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65" name="object 365"/>
            <p:cNvSpPr/>
            <p:nvPr/>
          </p:nvSpPr>
          <p:spPr>
            <a:xfrm>
              <a:off x="6526551" y="3826476"/>
              <a:ext cx="55546" cy="115612"/>
            </a:xfrm>
            <a:prstGeom prst="rect">
              <a:avLst/>
            </a:prstGeom>
            <a:blipFill>
              <a:blip r:embed="rId11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66" name="object 366"/>
            <p:cNvSpPr/>
            <p:nvPr/>
          </p:nvSpPr>
          <p:spPr>
            <a:xfrm>
              <a:off x="6622003" y="3880549"/>
              <a:ext cx="55400" cy="115923"/>
            </a:xfrm>
            <a:prstGeom prst="rect">
              <a:avLst/>
            </a:prstGeom>
            <a:blipFill>
              <a:blip r:embed="rId11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67" name="object 367"/>
            <p:cNvSpPr/>
            <p:nvPr/>
          </p:nvSpPr>
          <p:spPr>
            <a:xfrm>
              <a:off x="6717310" y="3934780"/>
              <a:ext cx="55400" cy="115784"/>
            </a:xfrm>
            <a:prstGeom prst="rect">
              <a:avLst/>
            </a:prstGeom>
            <a:blipFill>
              <a:blip r:embed="rId11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68" name="object 368"/>
            <p:cNvSpPr/>
            <p:nvPr/>
          </p:nvSpPr>
          <p:spPr>
            <a:xfrm>
              <a:off x="6812763" y="3989164"/>
              <a:ext cx="55394" cy="115632"/>
            </a:xfrm>
            <a:prstGeom prst="rect">
              <a:avLst/>
            </a:prstGeom>
            <a:blipFill>
              <a:blip r:embed="rId11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69" name="object 369"/>
            <p:cNvSpPr/>
            <p:nvPr/>
          </p:nvSpPr>
          <p:spPr>
            <a:xfrm>
              <a:off x="6908063" y="4043257"/>
              <a:ext cx="55552" cy="115612"/>
            </a:xfrm>
            <a:prstGeom prst="rect">
              <a:avLst/>
            </a:prstGeom>
            <a:blipFill>
              <a:blip r:embed="rId11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70" name="object 370"/>
            <p:cNvSpPr/>
            <p:nvPr/>
          </p:nvSpPr>
          <p:spPr>
            <a:xfrm>
              <a:off x="6526551" y="3964757"/>
              <a:ext cx="55546" cy="115473"/>
            </a:xfrm>
            <a:prstGeom prst="rect">
              <a:avLst/>
            </a:prstGeom>
            <a:blipFill>
              <a:blip r:embed="rId12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71" name="object 371"/>
            <p:cNvSpPr/>
            <p:nvPr/>
          </p:nvSpPr>
          <p:spPr>
            <a:xfrm>
              <a:off x="6622009" y="4018830"/>
              <a:ext cx="55394" cy="115784"/>
            </a:xfrm>
            <a:prstGeom prst="rect">
              <a:avLst/>
            </a:prstGeom>
            <a:blipFill>
              <a:blip r:embed="rId12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72" name="object 372"/>
            <p:cNvSpPr/>
            <p:nvPr/>
          </p:nvSpPr>
          <p:spPr>
            <a:xfrm>
              <a:off x="6717310" y="4073061"/>
              <a:ext cx="55400" cy="115784"/>
            </a:xfrm>
            <a:prstGeom prst="rect">
              <a:avLst/>
            </a:prstGeom>
            <a:blipFill>
              <a:blip r:embed="rId12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73" name="object 373"/>
            <p:cNvSpPr/>
            <p:nvPr/>
          </p:nvSpPr>
          <p:spPr>
            <a:xfrm>
              <a:off x="6812763" y="4127306"/>
              <a:ext cx="55394" cy="115612"/>
            </a:xfrm>
            <a:prstGeom prst="rect">
              <a:avLst/>
            </a:prstGeom>
            <a:blipFill>
              <a:blip r:embed="rId12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74" name="object 374"/>
            <p:cNvSpPr/>
            <p:nvPr/>
          </p:nvSpPr>
          <p:spPr>
            <a:xfrm>
              <a:off x="6908063" y="4181537"/>
              <a:ext cx="55552" cy="115606"/>
            </a:xfrm>
            <a:prstGeom prst="rect">
              <a:avLst/>
            </a:prstGeom>
            <a:blipFill>
              <a:blip r:embed="rId12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75" name="object 375"/>
            <p:cNvSpPr/>
            <p:nvPr/>
          </p:nvSpPr>
          <p:spPr>
            <a:xfrm>
              <a:off x="6526550" y="4095570"/>
              <a:ext cx="55546" cy="115485"/>
            </a:xfrm>
            <a:prstGeom prst="rect">
              <a:avLst/>
            </a:prstGeom>
            <a:blipFill>
              <a:blip r:embed="rId12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76" name="object 376"/>
            <p:cNvSpPr/>
            <p:nvPr/>
          </p:nvSpPr>
          <p:spPr>
            <a:xfrm>
              <a:off x="6622009" y="4149662"/>
              <a:ext cx="55394" cy="115917"/>
            </a:xfrm>
            <a:prstGeom prst="rect">
              <a:avLst/>
            </a:prstGeom>
            <a:blipFill>
              <a:blip r:embed="rId12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77" name="object 377"/>
            <p:cNvSpPr/>
            <p:nvPr/>
          </p:nvSpPr>
          <p:spPr>
            <a:xfrm>
              <a:off x="6717310" y="4203887"/>
              <a:ext cx="55400" cy="115771"/>
            </a:xfrm>
            <a:prstGeom prst="rect">
              <a:avLst/>
            </a:prstGeom>
            <a:blipFill>
              <a:blip r:embed="rId12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78" name="object 378"/>
            <p:cNvSpPr/>
            <p:nvPr/>
          </p:nvSpPr>
          <p:spPr>
            <a:xfrm>
              <a:off x="6812763" y="4258278"/>
              <a:ext cx="55394" cy="115606"/>
            </a:xfrm>
            <a:prstGeom prst="rect">
              <a:avLst/>
            </a:prstGeom>
            <a:blipFill>
              <a:blip r:embed="rId12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79" name="object 379"/>
            <p:cNvSpPr/>
            <p:nvPr/>
          </p:nvSpPr>
          <p:spPr>
            <a:xfrm>
              <a:off x="6908064" y="4312351"/>
              <a:ext cx="55552" cy="115765"/>
            </a:xfrm>
            <a:prstGeom prst="rect">
              <a:avLst/>
            </a:prstGeom>
            <a:blipFill>
              <a:blip r:embed="rId12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80" name="object 380"/>
            <p:cNvSpPr/>
            <p:nvPr/>
          </p:nvSpPr>
          <p:spPr>
            <a:xfrm>
              <a:off x="7376559" y="3700178"/>
              <a:ext cx="55394" cy="115923"/>
            </a:xfrm>
            <a:prstGeom prst="rect">
              <a:avLst/>
            </a:prstGeom>
            <a:blipFill>
              <a:blip r:embed="rId13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81" name="object 381"/>
            <p:cNvSpPr/>
            <p:nvPr/>
          </p:nvSpPr>
          <p:spPr>
            <a:xfrm>
              <a:off x="7281099" y="3754701"/>
              <a:ext cx="55406" cy="115632"/>
            </a:xfrm>
            <a:prstGeom prst="rect">
              <a:avLst/>
            </a:prstGeom>
            <a:blipFill>
              <a:blip r:embed="rId13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82" name="object 382"/>
            <p:cNvSpPr/>
            <p:nvPr/>
          </p:nvSpPr>
          <p:spPr>
            <a:xfrm>
              <a:off x="7215616" y="3808640"/>
              <a:ext cx="25582" cy="29278"/>
            </a:xfrm>
            <a:prstGeom prst="rect">
              <a:avLst/>
            </a:prstGeom>
            <a:blipFill>
              <a:blip r:embed="rId13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83" name="object 383"/>
            <p:cNvSpPr/>
            <p:nvPr/>
          </p:nvSpPr>
          <p:spPr>
            <a:xfrm>
              <a:off x="7090492" y="3863164"/>
              <a:ext cx="55400" cy="115327"/>
            </a:xfrm>
            <a:prstGeom prst="rect">
              <a:avLst/>
            </a:prstGeom>
            <a:blipFill>
              <a:blip r:embed="rId13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84" name="object 384"/>
            <p:cNvSpPr/>
            <p:nvPr/>
          </p:nvSpPr>
          <p:spPr>
            <a:xfrm>
              <a:off x="7376559" y="3857031"/>
              <a:ext cx="55394" cy="115765"/>
            </a:xfrm>
            <a:prstGeom prst="rect">
              <a:avLst/>
            </a:prstGeom>
            <a:blipFill>
              <a:blip r:embed="rId13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85" name="object 385"/>
            <p:cNvSpPr/>
            <p:nvPr/>
          </p:nvSpPr>
          <p:spPr>
            <a:xfrm>
              <a:off x="7281099" y="3911395"/>
              <a:ext cx="55406" cy="115632"/>
            </a:xfrm>
            <a:prstGeom prst="rect">
              <a:avLst/>
            </a:prstGeom>
            <a:blipFill>
              <a:blip r:embed="rId13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86" name="object 386"/>
            <p:cNvSpPr/>
            <p:nvPr/>
          </p:nvSpPr>
          <p:spPr>
            <a:xfrm>
              <a:off x="7185793" y="3965487"/>
              <a:ext cx="55406" cy="115625"/>
            </a:xfrm>
            <a:prstGeom prst="rect">
              <a:avLst/>
            </a:prstGeom>
            <a:blipFill>
              <a:blip r:embed="rId13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87" name="object 387"/>
            <p:cNvSpPr/>
            <p:nvPr/>
          </p:nvSpPr>
          <p:spPr>
            <a:xfrm>
              <a:off x="7090493" y="4019718"/>
              <a:ext cx="55393" cy="115467"/>
            </a:xfrm>
            <a:prstGeom prst="rect">
              <a:avLst/>
            </a:prstGeom>
            <a:blipFill>
              <a:blip r:embed="rId13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88" name="object 388"/>
            <p:cNvSpPr/>
            <p:nvPr/>
          </p:nvSpPr>
          <p:spPr>
            <a:xfrm>
              <a:off x="7376558" y="4013579"/>
              <a:ext cx="55394" cy="115765"/>
            </a:xfrm>
            <a:prstGeom prst="rect">
              <a:avLst/>
            </a:prstGeom>
            <a:blipFill>
              <a:blip r:embed="rId13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89" name="object 389"/>
            <p:cNvSpPr/>
            <p:nvPr/>
          </p:nvSpPr>
          <p:spPr>
            <a:xfrm>
              <a:off x="7281099" y="4067949"/>
              <a:ext cx="55406" cy="115625"/>
            </a:xfrm>
            <a:prstGeom prst="rect">
              <a:avLst/>
            </a:prstGeom>
            <a:blipFill>
              <a:blip r:embed="rId13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90" name="object 390"/>
            <p:cNvSpPr/>
            <p:nvPr/>
          </p:nvSpPr>
          <p:spPr>
            <a:xfrm>
              <a:off x="7185793" y="4122035"/>
              <a:ext cx="55406" cy="115771"/>
            </a:xfrm>
            <a:prstGeom prst="rect">
              <a:avLst/>
            </a:prstGeom>
            <a:blipFill>
              <a:blip r:embed="rId14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91" name="object 391"/>
            <p:cNvSpPr/>
            <p:nvPr/>
          </p:nvSpPr>
          <p:spPr>
            <a:xfrm>
              <a:off x="7090492" y="4176413"/>
              <a:ext cx="55394" cy="115479"/>
            </a:xfrm>
            <a:prstGeom prst="rect">
              <a:avLst/>
            </a:prstGeom>
            <a:blipFill>
              <a:blip r:embed="rId14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92" name="object 392"/>
            <p:cNvSpPr/>
            <p:nvPr/>
          </p:nvSpPr>
          <p:spPr>
            <a:xfrm>
              <a:off x="7376558" y="4166920"/>
              <a:ext cx="55394" cy="115765"/>
            </a:xfrm>
            <a:prstGeom prst="rect">
              <a:avLst/>
            </a:prstGeom>
            <a:blipFill>
              <a:blip r:embed="rId14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93" name="object 393"/>
            <p:cNvSpPr/>
            <p:nvPr/>
          </p:nvSpPr>
          <p:spPr>
            <a:xfrm>
              <a:off x="7281099" y="4221146"/>
              <a:ext cx="55406" cy="115771"/>
            </a:xfrm>
            <a:prstGeom prst="rect">
              <a:avLst/>
            </a:prstGeom>
            <a:blipFill>
              <a:blip r:embed="rId14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94" name="object 394"/>
            <p:cNvSpPr/>
            <p:nvPr/>
          </p:nvSpPr>
          <p:spPr>
            <a:xfrm>
              <a:off x="7185793" y="4275377"/>
              <a:ext cx="55406" cy="115612"/>
            </a:xfrm>
            <a:prstGeom prst="rect">
              <a:avLst/>
            </a:prstGeom>
            <a:blipFill>
              <a:blip r:embed="rId14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95" name="object 395"/>
            <p:cNvSpPr/>
            <p:nvPr/>
          </p:nvSpPr>
          <p:spPr>
            <a:xfrm>
              <a:off x="7090492" y="4329608"/>
              <a:ext cx="55394" cy="115625"/>
            </a:xfrm>
            <a:prstGeom prst="rect">
              <a:avLst/>
            </a:prstGeom>
            <a:blipFill>
              <a:blip r:embed="rId14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396" name="object 396"/>
            <p:cNvSpPr/>
            <p:nvPr/>
          </p:nvSpPr>
          <p:spPr>
            <a:xfrm>
              <a:off x="5625093" y="4057574"/>
              <a:ext cx="941868" cy="534470"/>
            </a:xfrm>
            <a:custGeom>
              <a:avLst/>
              <a:gdLst/>
              <a:ahLst/>
              <a:cxnLst/>
              <a:rect l="l" t="t" r="r" b="b"/>
              <a:pathLst>
                <a:path w="1553209" h="881379">
                  <a:moveTo>
                    <a:pt x="835723" y="0"/>
                  </a:moveTo>
                  <a:lnTo>
                    <a:pt x="0" y="466184"/>
                  </a:lnTo>
                  <a:lnTo>
                    <a:pt x="717862" y="881271"/>
                  </a:lnTo>
                  <a:lnTo>
                    <a:pt x="1552853" y="401359"/>
                  </a:lnTo>
                  <a:lnTo>
                    <a:pt x="835723" y="0"/>
                  </a:lnTo>
                  <a:close/>
                </a:path>
              </a:pathLst>
            </a:custGeom>
            <a:solidFill>
              <a:srgbClr val="BEBEBE"/>
            </a:solidFill>
          </p:spPr>
          <p:txBody>
            <a:bodyPr wrap="square" lIns="0" tIns="0" rIns="0" bIns="0" rtlCol="0"/>
            <a:lstStyle/>
            <a:p>
              <a:endParaRPr sz="1092" dirty="0"/>
            </a:p>
          </p:txBody>
        </p:sp>
        <p:sp>
          <p:nvSpPr>
            <p:cNvPr id="397" name="object 397"/>
            <p:cNvSpPr/>
            <p:nvPr/>
          </p:nvSpPr>
          <p:spPr>
            <a:xfrm>
              <a:off x="5679909" y="4095284"/>
              <a:ext cx="810561" cy="455916"/>
            </a:xfrm>
            <a:custGeom>
              <a:avLst/>
              <a:gdLst/>
              <a:ahLst/>
              <a:cxnLst/>
              <a:rect l="l" t="t" r="r" b="b"/>
              <a:pathLst>
                <a:path w="1336675" h="751840">
                  <a:moveTo>
                    <a:pt x="726051" y="0"/>
                  </a:moveTo>
                  <a:lnTo>
                    <a:pt x="0" y="398207"/>
                  </a:lnTo>
                  <a:lnTo>
                    <a:pt x="610588" y="751359"/>
                  </a:lnTo>
                  <a:lnTo>
                    <a:pt x="1336158" y="337476"/>
                  </a:lnTo>
                  <a:lnTo>
                    <a:pt x="726051" y="0"/>
                  </a:lnTo>
                  <a:close/>
                </a:path>
              </a:pathLst>
            </a:custGeom>
            <a:solidFill>
              <a:srgbClr val="999999"/>
            </a:solidFill>
          </p:spPr>
          <p:txBody>
            <a:bodyPr wrap="square" lIns="0" tIns="0" rIns="0" bIns="0" rtlCol="0"/>
            <a:lstStyle/>
            <a:p>
              <a:endParaRPr sz="1092" dirty="0"/>
            </a:p>
          </p:txBody>
        </p:sp>
        <p:sp>
          <p:nvSpPr>
            <p:cNvPr id="398" name="object 398"/>
            <p:cNvSpPr/>
            <p:nvPr/>
          </p:nvSpPr>
          <p:spPr>
            <a:xfrm>
              <a:off x="5626124" y="4338672"/>
              <a:ext cx="435508" cy="695812"/>
            </a:xfrm>
            <a:custGeom>
              <a:avLst/>
              <a:gdLst/>
              <a:ahLst/>
              <a:cxnLst/>
              <a:rect l="l" t="t" r="r" b="b"/>
              <a:pathLst>
                <a:path w="718184" h="1147445">
                  <a:moveTo>
                    <a:pt x="0" y="0"/>
                  </a:moveTo>
                  <a:lnTo>
                    <a:pt x="2167" y="747966"/>
                  </a:lnTo>
                  <a:lnTo>
                    <a:pt x="713988" y="1147158"/>
                  </a:lnTo>
                  <a:lnTo>
                    <a:pt x="717611" y="414846"/>
                  </a:lnTo>
                  <a:lnTo>
                    <a:pt x="0" y="0"/>
                  </a:lnTo>
                  <a:close/>
                </a:path>
              </a:pathLst>
            </a:custGeom>
            <a:solidFill>
              <a:srgbClr val="F2F5FF"/>
            </a:solidFill>
          </p:spPr>
          <p:txBody>
            <a:bodyPr wrap="square" lIns="0" tIns="0" rIns="0" bIns="0" rtlCol="0"/>
            <a:lstStyle/>
            <a:p>
              <a:endParaRPr sz="1092" dirty="0"/>
            </a:p>
          </p:txBody>
        </p:sp>
        <p:sp>
          <p:nvSpPr>
            <p:cNvPr id="399" name="object 399"/>
            <p:cNvSpPr/>
            <p:nvPr/>
          </p:nvSpPr>
          <p:spPr>
            <a:xfrm>
              <a:off x="6058208" y="4300962"/>
              <a:ext cx="508670" cy="735473"/>
            </a:xfrm>
            <a:custGeom>
              <a:avLst/>
              <a:gdLst/>
              <a:ahLst/>
              <a:cxnLst/>
              <a:rect l="l" t="t" r="r" b="b"/>
              <a:pathLst>
                <a:path w="838834" h="1212850">
                  <a:moveTo>
                    <a:pt x="838623" y="0"/>
                  </a:moveTo>
                  <a:lnTo>
                    <a:pt x="0" y="481367"/>
                  </a:lnTo>
                  <a:lnTo>
                    <a:pt x="0" y="1212245"/>
                  </a:lnTo>
                  <a:lnTo>
                    <a:pt x="835000" y="732543"/>
                  </a:lnTo>
                  <a:lnTo>
                    <a:pt x="838623" y="0"/>
                  </a:lnTo>
                  <a:close/>
                </a:path>
              </a:pathLst>
            </a:custGeom>
            <a:solidFill>
              <a:srgbClr val="BCC5DC"/>
            </a:solidFill>
          </p:spPr>
          <p:txBody>
            <a:bodyPr wrap="square" lIns="0" tIns="0" rIns="0" bIns="0" rtlCol="0"/>
            <a:lstStyle/>
            <a:p>
              <a:endParaRPr sz="1092" dirty="0"/>
            </a:p>
          </p:txBody>
        </p:sp>
        <p:sp>
          <p:nvSpPr>
            <p:cNvPr id="400" name="object 400"/>
            <p:cNvSpPr/>
            <p:nvPr/>
          </p:nvSpPr>
          <p:spPr>
            <a:xfrm>
              <a:off x="5852250" y="4557491"/>
              <a:ext cx="66616" cy="93186"/>
            </a:xfrm>
            <a:custGeom>
              <a:avLst/>
              <a:gdLst/>
              <a:ahLst/>
              <a:cxnLst/>
              <a:rect l="l" t="t" r="r" b="b"/>
              <a:pathLst>
                <a:path w="109854" h="153670">
                  <a:moveTo>
                    <a:pt x="1214" y="0"/>
                  </a:moveTo>
                  <a:lnTo>
                    <a:pt x="0" y="92792"/>
                  </a:lnTo>
                  <a:lnTo>
                    <a:pt x="108237" y="153293"/>
                  </a:lnTo>
                  <a:lnTo>
                    <a:pt x="109441" y="60259"/>
                  </a:lnTo>
                  <a:lnTo>
                    <a:pt x="1214" y="0"/>
                  </a:lnTo>
                  <a:close/>
                </a:path>
              </a:pathLst>
            </a:custGeom>
            <a:solidFill>
              <a:srgbClr val="8FBBD8"/>
            </a:solidFill>
          </p:spPr>
          <p:txBody>
            <a:bodyPr wrap="square" lIns="0" tIns="0" rIns="0" bIns="0" rtlCol="0"/>
            <a:lstStyle/>
            <a:p>
              <a:endParaRPr sz="1092" dirty="0"/>
            </a:p>
          </p:txBody>
        </p:sp>
        <p:sp>
          <p:nvSpPr>
            <p:cNvPr id="401" name="object 401"/>
            <p:cNvSpPr/>
            <p:nvPr/>
          </p:nvSpPr>
          <p:spPr>
            <a:xfrm>
              <a:off x="5945510" y="4614204"/>
              <a:ext cx="66616" cy="93186"/>
            </a:xfrm>
            <a:custGeom>
              <a:avLst/>
              <a:gdLst/>
              <a:ahLst/>
              <a:cxnLst/>
              <a:rect l="l" t="t" r="r" b="b"/>
              <a:pathLst>
                <a:path w="109854" h="153670">
                  <a:moveTo>
                    <a:pt x="1444" y="0"/>
                  </a:moveTo>
                  <a:lnTo>
                    <a:pt x="0" y="92562"/>
                  </a:lnTo>
                  <a:lnTo>
                    <a:pt x="108467" y="153314"/>
                  </a:lnTo>
                  <a:lnTo>
                    <a:pt x="109682" y="60259"/>
                  </a:lnTo>
                  <a:lnTo>
                    <a:pt x="1444" y="0"/>
                  </a:lnTo>
                  <a:close/>
                </a:path>
              </a:pathLst>
            </a:custGeom>
            <a:solidFill>
              <a:srgbClr val="8FBBD8"/>
            </a:solidFill>
          </p:spPr>
          <p:txBody>
            <a:bodyPr wrap="square" lIns="0" tIns="0" rIns="0" bIns="0" rtlCol="0"/>
            <a:lstStyle/>
            <a:p>
              <a:endParaRPr sz="1092" dirty="0"/>
            </a:p>
          </p:txBody>
        </p:sp>
        <p:sp>
          <p:nvSpPr>
            <p:cNvPr id="402" name="object 402"/>
            <p:cNvSpPr/>
            <p:nvPr/>
          </p:nvSpPr>
          <p:spPr>
            <a:xfrm>
              <a:off x="5755048" y="4501063"/>
              <a:ext cx="68541" cy="93186"/>
            </a:xfrm>
            <a:custGeom>
              <a:avLst/>
              <a:gdLst/>
              <a:ahLst/>
              <a:cxnLst/>
              <a:rect l="l" t="t" r="r" b="b"/>
              <a:pathLst>
                <a:path w="113029" h="153670">
                  <a:moveTo>
                    <a:pt x="1444" y="0"/>
                  </a:moveTo>
                  <a:lnTo>
                    <a:pt x="0" y="92562"/>
                  </a:lnTo>
                  <a:lnTo>
                    <a:pt x="111117" y="153084"/>
                  </a:lnTo>
                  <a:lnTo>
                    <a:pt x="112562" y="60029"/>
                  </a:lnTo>
                  <a:lnTo>
                    <a:pt x="1444" y="0"/>
                  </a:lnTo>
                  <a:close/>
                </a:path>
              </a:pathLst>
            </a:custGeom>
            <a:solidFill>
              <a:srgbClr val="8FBBD8"/>
            </a:solidFill>
          </p:spPr>
          <p:txBody>
            <a:bodyPr wrap="square" lIns="0" tIns="0" rIns="0" bIns="0" rtlCol="0"/>
            <a:lstStyle/>
            <a:p>
              <a:endParaRPr sz="1092" dirty="0"/>
            </a:p>
          </p:txBody>
        </p:sp>
        <p:sp>
          <p:nvSpPr>
            <p:cNvPr id="403" name="object 403"/>
            <p:cNvSpPr/>
            <p:nvPr/>
          </p:nvSpPr>
          <p:spPr>
            <a:xfrm>
              <a:off x="5667193" y="4446690"/>
              <a:ext cx="68926" cy="95496"/>
            </a:xfrm>
            <a:custGeom>
              <a:avLst/>
              <a:gdLst/>
              <a:ahLst/>
              <a:cxnLst/>
              <a:rect l="l" t="t" r="r" b="b"/>
              <a:pathLst>
                <a:path w="113665" h="157479">
                  <a:moveTo>
                    <a:pt x="1444" y="0"/>
                  </a:moveTo>
                  <a:lnTo>
                    <a:pt x="0" y="92562"/>
                  </a:lnTo>
                  <a:lnTo>
                    <a:pt x="111849" y="157408"/>
                  </a:lnTo>
                  <a:lnTo>
                    <a:pt x="113064" y="64354"/>
                  </a:lnTo>
                  <a:lnTo>
                    <a:pt x="1444" y="0"/>
                  </a:lnTo>
                  <a:close/>
                </a:path>
              </a:pathLst>
            </a:custGeom>
            <a:solidFill>
              <a:srgbClr val="8FBBD8"/>
            </a:solidFill>
          </p:spPr>
          <p:txBody>
            <a:bodyPr wrap="square" lIns="0" tIns="0" rIns="0" bIns="0" rtlCol="0"/>
            <a:lstStyle/>
            <a:p>
              <a:endParaRPr sz="1092" dirty="0"/>
            </a:p>
          </p:txBody>
        </p:sp>
        <p:sp>
          <p:nvSpPr>
            <p:cNvPr id="404" name="object 404"/>
            <p:cNvSpPr/>
            <p:nvPr/>
          </p:nvSpPr>
          <p:spPr>
            <a:xfrm>
              <a:off x="5852250" y="4661411"/>
              <a:ext cx="66616" cy="93186"/>
            </a:xfrm>
            <a:custGeom>
              <a:avLst/>
              <a:gdLst/>
              <a:ahLst/>
              <a:cxnLst/>
              <a:rect l="l" t="t" r="r" b="b"/>
              <a:pathLst>
                <a:path w="109854" h="153670">
                  <a:moveTo>
                    <a:pt x="1214" y="0"/>
                  </a:moveTo>
                  <a:lnTo>
                    <a:pt x="0" y="92321"/>
                  </a:lnTo>
                  <a:lnTo>
                    <a:pt x="108237" y="153084"/>
                  </a:lnTo>
                  <a:lnTo>
                    <a:pt x="109441" y="60029"/>
                  </a:lnTo>
                  <a:lnTo>
                    <a:pt x="1214" y="0"/>
                  </a:lnTo>
                  <a:close/>
                </a:path>
              </a:pathLst>
            </a:custGeom>
            <a:solidFill>
              <a:srgbClr val="8FBBD8"/>
            </a:solidFill>
          </p:spPr>
          <p:txBody>
            <a:bodyPr wrap="square" lIns="0" tIns="0" rIns="0" bIns="0" rtlCol="0"/>
            <a:lstStyle/>
            <a:p>
              <a:endParaRPr sz="1092" dirty="0"/>
            </a:p>
          </p:txBody>
        </p:sp>
        <p:sp>
          <p:nvSpPr>
            <p:cNvPr id="405" name="object 405"/>
            <p:cNvSpPr/>
            <p:nvPr/>
          </p:nvSpPr>
          <p:spPr>
            <a:xfrm>
              <a:off x="5945510" y="4717983"/>
              <a:ext cx="66616" cy="93186"/>
            </a:xfrm>
            <a:custGeom>
              <a:avLst/>
              <a:gdLst/>
              <a:ahLst/>
              <a:cxnLst/>
              <a:rect l="l" t="t" r="r" b="b"/>
              <a:pathLst>
                <a:path w="109854" h="153670">
                  <a:moveTo>
                    <a:pt x="1444" y="0"/>
                  </a:moveTo>
                  <a:lnTo>
                    <a:pt x="0" y="92813"/>
                  </a:lnTo>
                  <a:lnTo>
                    <a:pt x="108467" y="153314"/>
                  </a:lnTo>
                  <a:lnTo>
                    <a:pt x="109682" y="60259"/>
                  </a:lnTo>
                  <a:lnTo>
                    <a:pt x="1444" y="0"/>
                  </a:lnTo>
                  <a:close/>
                </a:path>
              </a:pathLst>
            </a:custGeom>
            <a:solidFill>
              <a:srgbClr val="8FBBD8"/>
            </a:solidFill>
          </p:spPr>
          <p:txBody>
            <a:bodyPr wrap="square" lIns="0" tIns="0" rIns="0" bIns="0" rtlCol="0"/>
            <a:lstStyle/>
            <a:p>
              <a:endParaRPr sz="1092" dirty="0"/>
            </a:p>
          </p:txBody>
        </p:sp>
        <p:sp>
          <p:nvSpPr>
            <p:cNvPr id="406" name="object 406"/>
            <p:cNvSpPr/>
            <p:nvPr/>
          </p:nvSpPr>
          <p:spPr>
            <a:xfrm>
              <a:off x="5755048" y="4604854"/>
              <a:ext cx="68541" cy="93186"/>
            </a:xfrm>
            <a:custGeom>
              <a:avLst/>
              <a:gdLst/>
              <a:ahLst/>
              <a:cxnLst/>
              <a:rect l="l" t="t" r="r" b="b"/>
              <a:pathLst>
                <a:path w="113029" h="153670">
                  <a:moveTo>
                    <a:pt x="1444" y="0"/>
                  </a:moveTo>
                  <a:lnTo>
                    <a:pt x="0" y="92562"/>
                  </a:lnTo>
                  <a:lnTo>
                    <a:pt x="111117" y="153293"/>
                  </a:lnTo>
                  <a:lnTo>
                    <a:pt x="112562" y="60259"/>
                  </a:lnTo>
                  <a:lnTo>
                    <a:pt x="1444" y="0"/>
                  </a:lnTo>
                  <a:close/>
                </a:path>
              </a:pathLst>
            </a:custGeom>
            <a:solidFill>
              <a:srgbClr val="8FBBD8"/>
            </a:solidFill>
          </p:spPr>
          <p:txBody>
            <a:bodyPr wrap="square" lIns="0" tIns="0" rIns="0" bIns="0" rtlCol="0"/>
            <a:lstStyle/>
            <a:p>
              <a:endParaRPr sz="1092" dirty="0"/>
            </a:p>
          </p:txBody>
        </p:sp>
        <p:sp>
          <p:nvSpPr>
            <p:cNvPr id="407" name="object 407"/>
            <p:cNvSpPr/>
            <p:nvPr/>
          </p:nvSpPr>
          <p:spPr>
            <a:xfrm>
              <a:off x="5667193" y="4550625"/>
              <a:ext cx="68926" cy="95496"/>
            </a:xfrm>
            <a:custGeom>
              <a:avLst/>
              <a:gdLst/>
              <a:ahLst/>
              <a:cxnLst/>
              <a:rect l="l" t="t" r="r" b="b"/>
              <a:pathLst>
                <a:path w="113665" h="157479">
                  <a:moveTo>
                    <a:pt x="1444" y="0"/>
                  </a:moveTo>
                  <a:lnTo>
                    <a:pt x="0" y="92300"/>
                  </a:lnTo>
                  <a:lnTo>
                    <a:pt x="111849" y="156916"/>
                  </a:lnTo>
                  <a:lnTo>
                    <a:pt x="113064" y="64102"/>
                  </a:lnTo>
                  <a:lnTo>
                    <a:pt x="1444" y="0"/>
                  </a:lnTo>
                  <a:close/>
                </a:path>
              </a:pathLst>
            </a:custGeom>
            <a:solidFill>
              <a:srgbClr val="8FBBD8"/>
            </a:solidFill>
          </p:spPr>
          <p:txBody>
            <a:bodyPr wrap="square" lIns="0" tIns="0" rIns="0" bIns="0" rtlCol="0"/>
            <a:lstStyle/>
            <a:p>
              <a:endParaRPr sz="1092" dirty="0"/>
            </a:p>
          </p:txBody>
        </p:sp>
        <p:sp>
          <p:nvSpPr>
            <p:cNvPr id="408" name="object 408"/>
            <p:cNvSpPr/>
            <p:nvPr/>
          </p:nvSpPr>
          <p:spPr>
            <a:xfrm>
              <a:off x="5852250" y="4770313"/>
              <a:ext cx="66616" cy="93186"/>
            </a:xfrm>
            <a:custGeom>
              <a:avLst/>
              <a:gdLst/>
              <a:ahLst/>
              <a:cxnLst/>
              <a:rect l="l" t="t" r="r" b="b"/>
              <a:pathLst>
                <a:path w="109854" h="153670">
                  <a:moveTo>
                    <a:pt x="1214" y="0"/>
                  </a:moveTo>
                  <a:lnTo>
                    <a:pt x="0" y="92321"/>
                  </a:lnTo>
                  <a:lnTo>
                    <a:pt x="108237" y="153084"/>
                  </a:lnTo>
                  <a:lnTo>
                    <a:pt x="109441" y="60029"/>
                  </a:lnTo>
                  <a:lnTo>
                    <a:pt x="1214" y="0"/>
                  </a:lnTo>
                  <a:close/>
                </a:path>
              </a:pathLst>
            </a:custGeom>
            <a:solidFill>
              <a:srgbClr val="8FBBD8"/>
            </a:solidFill>
          </p:spPr>
          <p:txBody>
            <a:bodyPr wrap="square" lIns="0" tIns="0" rIns="0" bIns="0" rtlCol="0"/>
            <a:lstStyle/>
            <a:p>
              <a:endParaRPr sz="1092" dirty="0"/>
            </a:p>
          </p:txBody>
        </p:sp>
        <p:sp>
          <p:nvSpPr>
            <p:cNvPr id="409" name="object 409"/>
            <p:cNvSpPr/>
            <p:nvPr/>
          </p:nvSpPr>
          <p:spPr>
            <a:xfrm>
              <a:off x="5945510" y="4826884"/>
              <a:ext cx="66616" cy="93186"/>
            </a:xfrm>
            <a:custGeom>
              <a:avLst/>
              <a:gdLst/>
              <a:ahLst/>
              <a:cxnLst/>
              <a:rect l="l" t="t" r="r" b="b"/>
              <a:pathLst>
                <a:path w="109854" h="153670">
                  <a:moveTo>
                    <a:pt x="1444" y="0"/>
                  </a:moveTo>
                  <a:lnTo>
                    <a:pt x="0" y="92562"/>
                  </a:lnTo>
                  <a:lnTo>
                    <a:pt x="108467" y="153314"/>
                  </a:lnTo>
                  <a:lnTo>
                    <a:pt x="109682" y="60259"/>
                  </a:lnTo>
                  <a:lnTo>
                    <a:pt x="1444" y="0"/>
                  </a:lnTo>
                  <a:close/>
                </a:path>
              </a:pathLst>
            </a:custGeom>
            <a:solidFill>
              <a:srgbClr val="8FBBD8"/>
            </a:solidFill>
          </p:spPr>
          <p:txBody>
            <a:bodyPr wrap="square" lIns="0" tIns="0" rIns="0" bIns="0" rtlCol="0"/>
            <a:lstStyle/>
            <a:p>
              <a:endParaRPr sz="1092" dirty="0"/>
            </a:p>
          </p:txBody>
        </p:sp>
        <p:sp>
          <p:nvSpPr>
            <p:cNvPr id="410" name="object 410"/>
            <p:cNvSpPr/>
            <p:nvPr/>
          </p:nvSpPr>
          <p:spPr>
            <a:xfrm>
              <a:off x="5755048" y="4713742"/>
              <a:ext cx="68541" cy="93186"/>
            </a:xfrm>
            <a:custGeom>
              <a:avLst/>
              <a:gdLst/>
              <a:ahLst/>
              <a:cxnLst/>
              <a:rect l="l" t="t" r="r" b="b"/>
              <a:pathLst>
                <a:path w="113029" h="153670">
                  <a:moveTo>
                    <a:pt x="1444" y="0"/>
                  </a:moveTo>
                  <a:lnTo>
                    <a:pt x="0" y="92583"/>
                  </a:lnTo>
                  <a:lnTo>
                    <a:pt x="111117" y="153084"/>
                  </a:lnTo>
                  <a:lnTo>
                    <a:pt x="112562" y="60029"/>
                  </a:lnTo>
                  <a:lnTo>
                    <a:pt x="1444" y="0"/>
                  </a:lnTo>
                  <a:close/>
                </a:path>
              </a:pathLst>
            </a:custGeom>
            <a:solidFill>
              <a:srgbClr val="8FBBD8"/>
            </a:solidFill>
          </p:spPr>
          <p:txBody>
            <a:bodyPr wrap="square" lIns="0" tIns="0" rIns="0" bIns="0" rtlCol="0"/>
            <a:lstStyle/>
            <a:p>
              <a:endParaRPr sz="1092" dirty="0"/>
            </a:p>
          </p:txBody>
        </p:sp>
        <p:sp>
          <p:nvSpPr>
            <p:cNvPr id="411" name="object 411"/>
            <p:cNvSpPr/>
            <p:nvPr/>
          </p:nvSpPr>
          <p:spPr>
            <a:xfrm>
              <a:off x="5667193" y="4659369"/>
              <a:ext cx="68926" cy="95496"/>
            </a:xfrm>
            <a:custGeom>
              <a:avLst/>
              <a:gdLst/>
              <a:ahLst/>
              <a:cxnLst/>
              <a:rect l="l" t="t" r="r" b="b"/>
              <a:pathLst>
                <a:path w="113665" h="157479">
                  <a:moveTo>
                    <a:pt x="1444" y="0"/>
                  </a:moveTo>
                  <a:lnTo>
                    <a:pt x="0" y="92321"/>
                  </a:lnTo>
                  <a:lnTo>
                    <a:pt x="111849" y="157178"/>
                  </a:lnTo>
                  <a:lnTo>
                    <a:pt x="113064" y="64123"/>
                  </a:lnTo>
                  <a:lnTo>
                    <a:pt x="1444" y="0"/>
                  </a:lnTo>
                  <a:close/>
                </a:path>
              </a:pathLst>
            </a:custGeom>
            <a:solidFill>
              <a:srgbClr val="8FBBD8"/>
            </a:solidFill>
          </p:spPr>
          <p:txBody>
            <a:bodyPr wrap="square" lIns="0" tIns="0" rIns="0" bIns="0" rtlCol="0"/>
            <a:lstStyle/>
            <a:p>
              <a:endParaRPr sz="1092" dirty="0"/>
            </a:p>
          </p:txBody>
        </p:sp>
        <p:sp>
          <p:nvSpPr>
            <p:cNvPr id="412" name="object 412"/>
            <p:cNvSpPr/>
            <p:nvPr/>
          </p:nvSpPr>
          <p:spPr>
            <a:xfrm>
              <a:off x="6134805" y="4579860"/>
              <a:ext cx="71622" cy="105123"/>
            </a:xfrm>
            <a:custGeom>
              <a:avLst/>
              <a:gdLst/>
              <a:ahLst/>
              <a:cxnLst/>
              <a:rect l="l" t="t" r="r" b="b"/>
              <a:pathLst>
                <a:path w="118109" h="173354">
                  <a:moveTo>
                    <a:pt x="117629" y="0"/>
                  </a:moveTo>
                  <a:lnTo>
                    <a:pt x="0" y="63631"/>
                  </a:lnTo>
                  <a:lnTo>
                    <a:pt x="0" y="172832"/>
                  </a:lnTo>
                  <a:lnTo>
                    <a:pt x="117629" y="109441"/>
                  </a:lnTo>
                  <a:lnTo>
                    <a:pt x="117629" y="0"/>
                  </a:lnTo>
                  <a:close/>
                </a:path>
              </a:pathLst>
            </a:custGeom>
            <a:solidFill>
              <a:srgbClr val="6F94A5"/>
            </a:solidFill>
          </p:spPr>
          <p:txBody>
            <a:bodyPr wrap="square" lIns="0" tIns="0" rIns="0" bIns="0" rtlCol="0"/>
            <a:lstStyle/>
            <a:p>
              <a:endParaRPr sz="1092" dirty="0"/>
            </a:p>
          </p:txBody>
        </p:sp>
        <p:sp>
          <p:nvSpPr>
            <p:cNvPr id="413" name="object 413"/>
            <p:cNvSpPr/>
            <p:nvPr/>
          </p:nvSpPr>
          <p:spPr>
            <a:xfrm>
              <a:off x="6234936" y="4526639"/>
              <a:ext cx="71622" cy="104738"/>
            </a:xfrm>
            <a:custGeom>
              <a:avLst/>
              <a:gdLst/>
              <a:ahLst/>
              <a:cxnLst/>
              <a:rect l="l" t="t" r="r" b="b"/>
              <a:pathLst>
                <a:path w="118109" h="172720">
                  <a:moveTo>
                    <a:pt x="117629" y="0"/>
                  </a:moveTo>
                  <a:lnTo>
                    <a:pt x="0" y="63401"/>
                  </a:lnTo>
                  <a:lnTo>
                    <a:pt x="0" y="172602"/>
                  </a:lnTo>
                  <a:lnTo>
                    <a:pt x="117399" y="109211"/>
                  </a:lnTo>
                  <a:lnTo>
                    <a:pt x="117629" y="0"/>
                  </a:lnTo>
                  <a:close/>
                </a:path>
              </a:pathLst>
            </a:custGeom>
            <a:solidFill>
              <a:srgbClr val="6F94A5"/>
            </a:solidFill>
          </p:spPr>
          <p:txBody>
            <a:bodyPr wrap="square" lIns="0" tIns="0" rIns="0" bIns="0" rtlCol="0"/>
            <a:lstStyle/>
            <a:p>
              <a:endParaRPr sz="1092" dirty="0"/>
            </a:p>
          </p:txBody>
        </p:sp>
        <p:sp>
          <p:nvSpPr>
            <p:cNvPr id="414" name="object 414"/>
            <p:cNvSpPr/>
            <p:nvPr/>
          </p:nvSpPr>
          <p:spPr>
            <a:xfrm>
              <a:off x="6334482" y="4466135"/>
              <a:ext cx="71622" cy="104738"/>
            </a:xfrm>
            <a:custGeom>
              <a:avLst/>
              <a:gdLst/>
              <a:ahLst/>
              <a:cxnLst/>
              <a:rect l="l" t="t" r="r" b="b"/>
              <a:pathLst>
                <a:path w="118109" h="172720">
                  <a:moveTo>
                    <a:pt x="117860" y="0"/>
                  </a:moveTo>
                  <a:lnTo>
                    <a:pt x="0" y="63149"/>
                  </a:lnTo>
                  <a:lnTo>
                    <a:pt x="0" y="172591"/>
                  </a:lnTo>
                  <a:lnTo>
                    <a:pt x="117860" y="108939"/>
                  </a:lnTo>
                  <a:lnTo>
                    <a:pt x="117860" y="0"/>
                  </a:lnTo>
                  <a:close/>
                </a:path>
              </a:pathLst>
            </a:custGeom>
            <a:solidFill>
              <a:srgbClr val="6F94A5"/>
            </a:solidFill>
          </p:spPr>
          <p:txBody>
            <a:bodyPr wrap="square" lIns="0" tIns="0" rIns="0" bIns="0" rtlCol="0"/>
            <a:lstStyle/>
            <a:p>
              <a:endParaRPr sz="1092" dirty="0"/>
            </a:p>
          </p:txBody>
        </p:sp>
        <p:sp>
          <p:nvSpPr>
            <p:cNvPr id="415" name="object 415"/>
            <p:cNvSpPr/>
            <p:nvPr/>
          </p:nvSpPr>
          <p:spPr>
            <a:xfrm>
              <a:off x="6435925" y="4408393"/>
              <a:ext cx="71622" cy="104738"/>
            </a:xfrm>
            <a:custGeom>
              <a:avLst/>
              <a:gdLst/>
              <a:ahLst/>
              <a:cxnLst/>
              <a:rect l="l" t="t" r="r" b="b"/>
              <a:pathLst>
                <a:path w="118109" h="172720">
                  <a:moveTo>
                    <a:pt x="117881" y="0"/>
                  </a:moveTo>
                  <a:lnTo>
                    <a:pt x="0" y="63621"/>
                  </a:lnTo>
                  <a:lnTo>
                    <a:pt x="0" y="172591"/>
                  </a:lnTo>
                  <a:lnTo>
                    <a:pt x="117629" y="109200"/>
                  </a:lnTo>
                  <a:lnTo>
                    <a:pt x="117881" y="0"/>
                  </a:lnTo>
                  <a:close/>
                </a:path>
              </a:pathLst>
            </a:custGeom>
            <a:solidFill>
              <a:srgbClr val="6F94A5"/>
            </a:solidFill>
          </p:spPr>
          <p:txBody>
            <a:bodyPr wrap="square" lIns="0" tIns="0" rIns="0" bIns="0" rtlCol="0"/>
            <a:lstStyle/>
            <a:p>
              <a:endParaRPr sz="1092" dirty="0"/>
            </a:p>
          </p:txBody>
        </p:sp>
        <p:sp>
          <p:nvSpPr>
            <p:cNvPr id="416" name="object 416"/>
            <p:cNvSpPr/>
            <p:nvPr/>
          </p:nvSpPr>
          <p:spPr>
            <a:xfrm>
              <a:off x="6134805" y="4688750"/>
              <a:ext cx="71622" cy="104738"/>
            </a:xfrm>
            <a:custGeom>
              <a:avLst/>
              <a:gdLst/>
              <a:ahLst/>
              <a:cxnLst/>
              <a:rect l="l" t="t" r="r" b="b"/>
              <a:pathLst>
                <a:path w="118109" h="172720">
                  <a:moveTo>
                    <a:pt x="117629" y="0"/>
                  </a:moveTo>
                  <a:lnTo>
                    <a:pt x="0" y="63390"/>
                  </a:lnTo>
                  <a:lnTo>
                    <a:pt x="0" y="172591"/>
                  </a:lnTo>
                  <a:lnTo>
                    <a:pt x="117629" y="109200"/>
                  </a:lnTo>
                  <a:lnTo>
                    <a:pt x="117629" y="0"/>
                  </a:lnTo>
                  <a:close/>
                </a:path>
              </a:pathLst>
            </a:custGeom>
            <a:solidFill>
              <a:srgbClr val="6F94A5"/>
            </a:solidFill>
          </p:spPr>
          <p:txBody>
            <a:bodyPr wrap="square" lIns="0" tIns="0" rIns="0" bIns="0" rtlCol="0"/>
            <a:lstStyle/>
            <a:p>
              <a:endParaRPr sz="1092" dirty="0"/>
            </a:p>
          </p:txBody>
        </p:sp>
        <p:sp>
          <p:nvSpPr>
            <p:cNvPr id="417" name="object 417"/>
            <p:cNvSpPr/>
            <p:nvPr/>
          </p:nvSpPr>
          <p:spPr>
            <a:xfrm>
              <a:off x="6234936" y="4635542"/>
              <a:ext cx="71622" cy="104738"/>
            </a:xfrm>
            <a:custGeom>
              <a:avLst/>
              <a:gdLst/>
              <a:ahLst/>
              <a:cxnLst/>
              <a:rect l="l" t="t" r="r" b="b"/>
              <a:pathLst>
                <a:path w="118109" h="172720">
                  <a:moveTo>
                    <a:pt x="117629" y="0"/>
                  </a:moveTo>
                  <a:lnTo>
                    <a:pt x="0" y="63401"/>
                  </a:lnTo>
                  <a:lnTo>
                    <a:pt x="0" y="172602"/>
                  </a:lnTo>
                  <a:lnTo>
                    <a:pt x="117399" y="109211"/>
                  </a:lnTo>
                  <a:lnTo>
                    <a:pt x="117629" y="0"/>
                  </a:lnTo>
                  <a:close/>
                </a:path>
              </a:pathLst>
            </a:custGeom>
            <a:solidFill>
              <a:srgbClr val="6F94A5"/>
            </a:solidFill>
          </p:spPr>
          <p:txBody>
            <a:bodyPr wrap="square" lIns="0" tIns="0" rIns="0" bIns="0" rtlCol="0"/>
            <a:lstStyle/>
            <a:p>
              <a:endParaRPr sz="1092" dirty="0"/>
            </a:p>
          </p:txBody>
        </p:sp>
        <p:sp>
          <p:nvSpPr>
            <p:cNvPr id="418" name="object 418"/>
            <p:cNvSpPr/>
            <p:nvPr/>
          </p:nvSpPr>
          <p:spPr>
            <a:xfrm>
              <a:off x="6334482" y="4574874"/>
              <a:ext cx="71622" cy="104738"/>
            </a:xfrm>
            <a:custGeom>
              <a:avLst/>
              <a:gdLst/>
              <a:ahLst/>
              <a:cxnLst/>
              <a:rect l="l" t="t" r="r" b="b"/>
              <a:pathLst>
                <a:path w="118109" h="172720">
                  <a:moveTo>
                    <a:pt x="117860" y="0"/>
                  </a:moveTo>
                  <a:lnTo>
                    <a:pt x="0" y="63422"/>
                  </a:lnTo>
                  <a:lnTo>
                    <a:pt x="0" y="172602"/>
                  </a:lnTo>
                  <a:lnTo>
                    <a:pt x="117860" y="109211"/>
                  </a:lnTo>
                  <a:lnTo>
                    <a:pt x="117860" y="0"/>
                  </a:lnTo>
                  <a:close/>
                </a:path>
              </a:pathLst>
            </a:custGeom>
            <a:solidFill>
              <a:srgbClr val="6F94A5"/>
            </a:solidFill>
          </p:spPr>
          <p:txBody>
            <a:bodyPr wrap="square" lIns="0" tIns="0" rIns="0" bIns="0" rtlCol="0"/>
            <a:lstStyle/>
            <a:p>
              <a:endParaRPr sz="1092" dirty="0"/>
            </a:p>
          </p:txBody>
        </p:sp>
        <p:sp>
          <p:nvSpPr>
            <p:cNvPr id="419" name="object 419"/>
            <p:cNvSpPr/>
            <p:nvPr/>
          </p:nvSpPr>
          <p:spPr>
            <a:xfrm>
              <a:off x="6435925" y="4517292"/>
              <a:ext cx="71622" cy="104738"/>
            </a:xfrm>
            <a:custGeom>
              <a:avLst/>
              <a:gdLst/>
              <a:ahLst/>
              <a:cxnLst/>
              <a:rect l="l" t="t" r="r" b="b"/>
              <a:pathLst>
                <a:path w="118109" h="172720">
                  <a:moveTo>
                    <a:pt x="117881" y="0"/>
                  </a:moveTo>
                  <a:lnTo>
                    <a:pt x="0" y="63390"/>
                  </a:lnTo>
                  <a:lnTo>
                    <a:pt x="0" y="172340"/>
                  </a:lnTo>
                  <a:lnTo>
                    <a:pt x="117629" y="109200"/>
                  </a:lnTo>
                  <a:lnTo>
                    <a:pt x="117881" y="0"/>
                  </a:lnTo>
                  <a:close/>
                </a:path>
              </a:pathLst>
            </a:custGeom>
            <a:solidFill>
              <a:srgbClr val="6F94A5"/>
            </a:solidFill>
          </p:spPr>
          <p:txBody>
            <a:bodyPr wrap="square" lIns="0" tIns="0" rIns="0" bIns="0" rtlCol="0"/>
            <a:lstStyle/>
            <a:p>
              <a:endParaRPr sz="1092" dirty="0"/>
            </a:p>
          </p:txBody>
        </p:sp>
        <p:sp>
          <p:nvSpPr>
            <p:cNvPr id="420" name="object 420"/>
            <p:cNvSpPr/>
            <p:nvPr/>
          </p:nvSpPr>
          <p:spPr>
            <a:xfrm>
              <a:off x="6134805" y="4800136"/>
              <a:ext cx="71622" cy="104738"/>
            </a:xfrm>
            <a:custGeom>
              <a:avLst/>
              <a:gdLst/>
              <a:ahLst/>
              <a:cxnLst/>
              <a:rect l="l" t="t" r="r" b="b"/>
              <a:pathLst>
                <a:path w="118109" h="172720">
                  <a:moveTo>
                    <a:pt x="117629" y="0"/>
                  </a:moveTo>
                  <a:lnTo>
                    <a:pt x="0" y="63390"/>
                  </a:lnTo>
                  <a:lnTo>
                    <a:pt x="0" y="172591"/>
                  </a:lnTo>
                  <a:lnTo>
                    <a:pt x="117629" y="109200"/>
                  </a:lnTo>
                  <a:lnTo>
                    <a:pt x="117629" y="0"/>
                  </a:lnTo>
                  <a:close/>
                </a:path>
              </a:pathLst>
            </a:custGeom>
            <a:solidFill>
              <a:srgbClr val="6F94A5"/>
            </a:solidFill>
          </p:spPr>
          <p:txBody>
            <a:bodyPr wrap="square" lIns="0" tIns="0" rIns="0" bIns="0" rtlCol="0"/>
            <a:lstStyle/>
            <a:p>
              <a:endParaRPr sz="1092" dirty="0"/>
            </a:p>
          </p:txBody>
        </p:sp>
        <p:sp>
          <p:nvSpPr>
            <p:cNvPr id="421" name="object 421"/>
            <p:cNvSpPr/>
            <p:nvPr/>
          </p:nvSpPr>
          <p:spPr>
            <a:xfrm>
              <a:off x="6234936" y="4746928"/>
              <a:ext cx="71622" cy="104738"/>
            </a:xfrm>
            <a:custGeom>
              <a:avLst/>
              <a:gdLst/>
              <a:ahLst/>
              <a:cxnLst/>
              <a:rect l="l" t="t" r="r" b="b"/>
              <a:pathLst>
                <a:path w="118109" h="172720">
                  <a:moveTo>
                    <a:pt x="117629" y="0"/>
                  </a:moveTo>
                  <a:lnTo>
                    <a:pt x="0" y="63401"/>
                  </a:lnTo>
                  <a:lnTo>
                    <a:pt x="0" y="172602"/>
                  </a:lnTo>
                  <a:lnTo>
                    <a:pt x="117399" y="109211"/>
                  </a:lnTo>
                  <a:lnTo>
                    <a:pt x="117629" y="0"/>
                  </a:lnTo>
                  <a:close/>
                </a:path>
              </a:pathLst>
            </a:custGeom>
            <a:solidFill>
              <a:srgbClr val="6F94A5"/>
            </a:solidFill>
          </p:spPr>
          <p:txBody>
            <a:bodyPr wrap="square" lIns="0" tIns="0" rIns="0" bIns="0" rtlCol="0"/>
            <a:lstStyle/>
            <a:p>
              <a:endParaRPr sz="1092" dirty="0"/>
            </a:p>
          </p:txBody>
        </p:sp>
        <p:sp>
          <p:nvSpPr>
            <p:cNvPr id="422" name="object 422"/>
            <p:cNvSpPr/>
            <p:nvPr/>
          </p:nvSpPr>
          <p:spPr>
            <a:xfrm>
              <a:off x="6334482" y="4686260"/>
              <a:ext cx="71622" cy="104738"/>
            </a:xfrm>
            <a:custGeom>
              <a:avLst/>
              <a:gdLst/>
              <a:ahLst/>
              <a:cxnLst/>
              <a:rect l="l" t="t" r="r" b="b"/>
              <a:pathLst>
                <a:path w="118109" h="172720">
                  <a:moveTo>
                    <a:pt x="117860" y="0"/>
                  </a:moveTo>
                  <a:lnTo>
                    <a:pt x="0" y="63401"/>
                  </a:lnTo>
                  <a:lnTo>
                    <a:pt x="0" y="172602"/>
                  </a:lnTo>
                  <a:lnTo>
                    <a:pt x="117860" y="109441"/>
                  </a:lnTo>
                  <a:lnTo>
                    <a:pt x="117860" y="0"/>
                  </a:lnTo>
                  <a:close/>
                </a:path>
              </a:pathLst>
            </a:custGeom>
            <a:solidFill>
              <a:srgbClr val="6F94A5"/>
            </a:solidFill>
          </p:spPr>
          <p:txBody>
            <a:bodyPr wrap="square" lIns="0" tIns="0" rIns="0" bIns="0" rtlCol="0"/>
            <a:lstStyle/>
            <a:p>
              <a:endParaRPr sz="1092" dirty="0"/>
            </a:p>
          </p:txBody>
        </p:sp>
        <p:sp>
          <p:nvSpPr>
            <p:cNvPr id="423" name="object 423"/>
            <p:cNvSpPr/>
            <p:nvPr/>
          </p:nvSpPr>
          <p:spPr>
            <a:xfrm>
              <a:off x="6435925" y="4628681"/>
              <a:ext cx="71622" cy="104738"/>
            </a:xfrm>
            <a:custGeom>
              <a:avLst/>
              <a:gdLst/>
              <a:ahLst/>
              <a:cxnLst/>
              <a:rect l="l" t="t" r="r" b="b"/>
              <a:pathLst>
                <a:path w="118109" h="172720">
                  <a:moveTo>
                    <a:pt x="117881" y="0"/>
                  </a:moveTo>
                  <a:lnTo>
                    <a:pt x="0" y="63390"/>
                  </a:lnTo>
                  <a:lnTo>
                    <a:pt x="0" y="172591"/>
                  </a:lnTo>
                  <a:lnTo>
                    <a:pt x="117629" y="109179"/>
                  </a:lnTo>
                  <a:lnTo>
                    <a:pt x="117881" y="0"/>
                  </a:lnTo>
                  <a:close/>
                </a:path>
              </a:pathLst>
            </a:custGeom>
            <a:solidFill>
              <a:srgbClr val="6F94A5"/>
            </a:solidFill>
          </p:spPr>
          <p:txBody>
            <a:bodyPr wrap="square" lIns="0" tIns="0" rIns="0" bIns="0" rtlCol="0"/>
            <a:lstStyle/>
            <a:p>
              <a:endParaRPr sz="1092" dirty="0"/>
            </a:p>
          </p:txBody>
        </p:sp>
        <p:sp>
          <p:nvSpPr>
            <p:cNvPr id="424" name="object 424"/>
            <p:cNvSpPr/>
            <p:nvPr/>
          </p:nvSpPr>
          <p:spPr>
            <a:xfrm>
              <a:off x="5625093" y="3641851"/>
              <a:ext cx="941868" cy="534470"/>
            </a:xfrm>
            <a:custGeom>
              <a:avLst/>
              <a:gdLst/>
              <a:ahLst/>
              <a:cxnLst/>
              <a:rect l="l" t="t" r="r" b="b"/>
              <a:pathLst>
                <a:path w="1553209" h="881379">
                  <a:moveTo>
                    <a:pt x="835723" y="0"/>
                  </a:moveTo>
                  <a:lnTo>
                    <a:pt x="0" y="466205"/>
                  </a:lnTo>
                  <a:lnTo>
                    <a:pt x="717862" y="881292"/>
                  </a:lnTo>
                  <a:lnTo>
                    <a:pt x="1552853" y="401589"/>
                  </a:lnTo>
                  <a:lnTo>
                    <a:pt x="835723" y="0"/>
                  </a:lnTo>
                  <a:close/>
                </a:path>
              </a:pathLst>
            </a:custGeom>
            <a:solidFill>
              <a:srgbClr val="BEBEBE"/>
            </a:solidFill>
          </p:spPr>
          <p:txBody>
            <a:bodyPr wrap="square" lIns="0" tIns="0" rIns="0" bIns="0" rtlCol="0"/>
            <a:lstStyle/>
            <a:p>
              <a:endParaRPr sz="1092" dirty="0"/>
            </a:p>
          </p:txBody>
        </p:sp>
        <p:sp>
          <p:nvSpPr>
            <p:cNvPr id="425" name="object 425"/>
            <p:cNvSpPr/>
            <p:nvPr/>
          </p:nvSpPr>
          <p:spPr>
            <a:xfrm>
              <a:off x="5679909" y="3679571"/>
              <a:ext cx="810561" cy="455531"/>
            </a:xfrm>
            <a:custGeom>
              <a:avLst/>
              <a:gdLst/>
              <a:ahLst/>
              <a:cxnLst/>
              <a:rect l="l" t="t" r="r" b="b"/>
              <a:pathLst>
                <a:path w="1336675" h="751204">
                  <a:moveTo>
                    <a:pt x="726051" y="0"/>
                  </a:moveTo>
                  <a:lnTo>
                    <a:pt x="0" y="398218"/>
                  </a:lnTo>
                  <a:lnTo>
                    <a:pt x="610588" y="751108"/>
                  </a:lnTo>
                  <a:lnTo>
                    <a:pt x="1336158" y="337717"/>
                  </a:lnTo>
                  <a:lnTo>
                    <a:pt x="726051" y="0"/>
                  </a:lnTo>
                  <a:close/>
                </a:path>
              </a:pathLst>
            </a:custGeom>
            <a:solidFill>
              <a:srgbClr val="999999"/>
            </a:solidFill>
          </p:spPr>
          <p:txBody>
            <a:bodyPr wrap="square" lIns="0" tIns="0" rIns="0" bIns="0" rtlCol="0"/>
            <a:lstStyle/>
            <a:p>
              <a:endParaRPr sz="1092" dirty="0"/>
            </a:p>
          </p:txBody>
        </p:sp>
        <p:sp>
          <p:nvSpPr>
            <p:cNvPr id="426" name="object 426"/>
            <p:cNvSpPr/>
            <p:nvPr/>
          </p:nvSpPr>
          <p:spPr>
            <a:xfrm>
              <a:off x="5626124" y="3922948"/>
              <a:ext cx="435508" cy="695812"/>
            </a:xfrm>
            <a:custGeom>
              <a:avLst/>
              <a:gdLst/>
              <a:ahLst/>
              <a:cxnLst/>
              <a:rect l="l" t="t" r="r" b="b"/>
              <a:pathLst>
                <a:path w="718184" h="1147445">
                  <a:moveTo>
                    <a:pt x="0" y="0"/>
                  </a:moveTo>
                  <a:lnTo>
                    <a:pt x="2167" y="747987"/>
                  </a:lnTo>
                  <a:lnTo>
                    <a:pt x="713988" y="1147399"/>
                  </a:lnTo>
                  <a:lnTo>
                    <a:pt x="717611" y="415086"/>
                  </a:lnTo>
                  <a:lnTo>
                    <a:pt x="0" y="0"/>
                  </a:lnTo>
                  <a:close/>
                </a:path>
              </a:pathLst>
            </a:custGeom>
            <a:solidFill>
              <a:srgbClr val="F2F5FF"/>
            </a:solidFill>
          </p:spPr>
          <p:txBody>
            <a:bodyPr wrap="square" lIns="0" tIns="0" rIns="0" bIns="0" rtlCol="0"/>
            <a:lstStyle/>
            <a:p>
              <a:endParaRPr sz="1092" dirty="0"/>
            </a:p>
          </p:txBody>
        </p:sp>
        <p:sp>
          <p:nvSpPr>
            <p:cNvPr id="427" name="object 427"/>
            <p:cNvSpPr/>
            <p:nvPr/>
          </p:nvSpPr>
          <p:spPr>
            <a:xfrm>
              <a:off x="6058208" y="3885376"/>
              <a:ext cx="508670" cy="735088"/>
            </a:xfrm>
            <a:custGeom>
              <a:avLst/>
              <a:gdLst/>
              <a:ahLst/>
              <a:cxnLst/>
              <a:rect l="l" t="t" r="r" b="b"/>
              <a:pathLst>
                <a:path w="838834" h="1212215">
                  <a:moveTo>
                    <a:pt x="838623" y="0"/>
                  </a:moveTo>
                  <a:lnTo>
                    <a:pt x="3622" y="479702"/>
                  </a:lnTo>
                  <a:lnTo>
                    <a:pt x="0" y="1212015"/>
                  </a:lnTo>
                  <a:lnTo>
                    <a:pt x="835000" y="732574"/>
                  </a:lnTo>
                  <a:lnTo>
                    <a:pt x="838623" y="0"/>
                  </a:lnTo>
                  <a:close/>
                </a:path>
              </a:pathLst>
            </a:custGeom>
            <a:solidFill>
              <a:srgbClr val="BCC5DC"/>
            </a:solidFill>
          </p:spPr>
          <p:txBody>
            <a:bodyPr wrap="square" lIns="0" tIns="0" rIns="0" bIns="0" rtlCol="0"/>
            <a:lstStyle/>
            <a:p>
              <a:endParaRPr sz="1092" dirty="0"/>
            </a:p>
          </p:txBody>
        </p:sp>
        <p:sp>
          <p:nvSpPr>
            <p:cNvPr id="428" name="object 428"/>
            <p:cNvSpPr/>
            <p:nvPr/>
          </p:nvSpPr>
          <p:spPr>
            <a:xfrm>
              <a:off x="5852250" y="4141765"/>
              <a:ext cx="66616" cy="93186"/>
            </a:xfrm>
            <a:custGeom>
              <a:avLst/>
              <a:gdLst/>
              <a:ahLst/>
              <a:cxnLst/>
              <a:rect l="l" t="t" r="r" b="b"/>
              <a:pathLst>
                <a:path w="109854" h="153670">
                  <a:moveTo>
                    <a:pt x="1214" y="0"/>
                  </a:moveTo>
                  <a:lnTo>
                    <a:pt x="0" y="92824"/>
                  </a:lnTo>
                  <a:lnTo>
                    <a:pt x="108237" y="153555"/>
                  </a:lnTo>
                  <a:lnTo>
                    <a:pt x="109441" y="60521"/>
                  </a:lnTo>
                  <a:lnTo>
                    <a:pt x="1214" y="0"/>
                  </a:lnTo>
                  <a:close/>
                </a:path>
              </a:pathLst>
            </a:custGeom>
            <a:solidFill>
              <a:srgbClr val="8FBBD8"/>
            </a:solidFill>
          </p:spPr>
          <p:txBody>
            <a:bodyPr wrap="square" lIns="0" tIns="0" rIns="0" bIns="0" rtlCol="0"/>
            <a:lstStyle/>
            <a:p>
              <a:endParaRPr sz="1092" dirty="0"/>
            </a:p>
          </p:txBody>
        </p:sp>
        <p:sp>
          <p:nvSpPr>
            <p:cNvPr id="429" name="object 429"/>
            <p:cNvSpPr/>
            <p:nvPr/>
          </p:nvSpPr>
          <p:spPr>
            <a:xfrm>
              <a:off x="5945510" y="4198478"/>
              <a:ext cx="66616" cy="93186"/>
            </a:xfrm>
            <a:custGeom>
              <a:avLst/>
              <a:gdLst/>
              <a:ahLst/>
              <a:cxnLst/>
              <a:rect l="l" t="t" r="r" b="b"/>
              <a:pathLst>
                <a:path w="109854" h="153670">
                  <a:moveTo>
                    <a:pt x="1444" y="0"/>
                  </a:moveTo>
                  <a:lnTo>
                    <a:pt x="0" y="92583"/>
                  </a:lnTo>
                  <a:lnTo>
                    <a:pt x="108467" y="153314"/>
                  </a:lnTo>
                  <a:lnTo>
                    <a:pt x="109682" y="60259"/>
                  </a:lnTo>
                  <a:lnTo>
                    <a:pt x="1444" y="0"/>
                  </a:lnTo>
                  <a:close/>
                </a:path>
              </a:pathLst>
            </a:custGeom>
            <a:solidFill>
              <a:srgbClr val="8FBBD8"/>
            </a:solidFill>
          </p:spPr>
          <p:txBody>
            <a:bodyPr wrap="square" lIns="0" tIns="0" rIns="0" bIns="0" rtlCol="0"/>
            <a:lstStyle/>
            <a:p>
              <a:endParaRPr sz="1092" dirty="0"/>
            </a:p>
          </p:txBody>
        </p:sp>
        <p:sp>
          <p:nvSpPr>
            <p:cNvPr id="430" name="object 430"/>
            <p:cNvSpPr/>
            <p:nvPr/>
          </p:nvSpPr>
          <p:spPr>
            <a:xfrm>
              <a:off x="5755048" y="4085494"/>
              <a:ext cx="68541" cy="92801"/>
            </a:xfrm>
            <a:custGeom>
              <a:avLst/>
              <a:gdLst/>
              <a:ahLst/>
              <a:cxnLst/>
              <a:rect l="l" t="t" r="r" b="b"/>
              <a:pathLst>
                <a:path w="113029" h="153034">
                  <a:moveTo>
                    <a:pt x="1444" y="0"/>
                  </a:moveTo>
                  <a:lnTo>
                    <a:pt x="0" y="92321"/>
                  </a:lnTo>
                  <a:lnTo>
                    <a:pt x="111117" y="152822"/>
                  </a:lnTo>
                  <a:lnTo>
                    <a:pt x="112562" y="59767"/>
                  </a:lnTo>
                  <a:lnTo>
                    <a:pt x="1444" y="0"/>
                  </a:lnTo>
                  <a:close/>
                </a:path>
              </a:pathLst>
            </a:custGeom>
            <a:solidFill>
              <a:srgbClr val="8FBBD8"/>
            </a:solidFill>
          </p:spPr>
          <p:txBody>
            <a:bodyPr wrap="square" lIns="0" tIns="0" rIns="0" bIns="0" rtlCol="0"/>
            <a:lstStyle/>
            <a:p>
              <a:endParaRPr sz="1092" dirty="0"/>
            </a:p>
          </p:txBody>
        </p:sp>
        <p:sp>
          <p:nvSpPr>
            <p:cNvPr id="431" name="object 431"/>
            <p:cNvSpPr/>
            <p:nvPr/>
          </p:nvSpPr>
          <p:spPr>
            <a:xfrm>
              <a:off x="5667193" y="4030965"/>
              <a:ext cx="68926" cy="95496"/>
            </a:xfrm>
            <a:custGeom>
              <a:avLst/>
              <a:gdLst/>
              <a:ahLst/>
              <a:cxnLst/>
              <a:rect l="l" t="t" r="r" b="b"/>
              <a:pathLst>
                <a:path w="113665" h="157479">
                  <a:moveTo>
                    <a:pt x="1444" y="0"/>
                  </a:moveTo>
                  <a:lnTo>
                    <a:pt x="0" y="92583"/>
                  </a:lnTo>
                  <a:lnTo>
                    <a:pt x="111849" y="157408"/>
                  </a:lnTo>
                  <a:lnTo>
                    <a:pt x="113064" y="64354"/>
                  </a:lnTo>
                  <a:lnTo>
                    <a:pt x="1444" y="0"/>
                  </a:lnTo>
                  <a:close/>
                </a:path>
              </a:pathLst>
            </a:custGeom>
            <a:solidFill>
              <a:srgbClr val="8FBBD8"/>
            </a:solidFill>
          </p:spPr>
          <p:txBody>
            <a:bodyPr wrap="square" lIns="0" tIns="0" rIns="0" bIns="0" rtlCol="0"/>
            <a:lstStyle/>
            <a:p>
              <a:endParaRPr sz="1092" dirty="0"/>
            </a:p>
          </p:txBody>
        </p:sp>
        <p:sp>
          <p:nvSpPr>
            <p:cNvPr id="432" name="object 432"/>
            <p:cNvSpPr/>
            <p:nvPr/>
          </p:nvSpPr>
          <p:spPr>
            <a:xfrm>
              <a:off x="5852250" y="4245701"/>
              <a:ext cx="66616" cy="93186"/>
            </a:xfrm>
            <a:custGeom>
              <a:avLst/>
              <a:gdLst/>
              <a:ahLst/>
              <a:cxnLst/>
              <a:rect l="l" t="t" r="r" b="b"/>
              <a:pathLst>
                <a:path w="109854" h="153670">
                  <a:moveTo>
                    <a:pt x="1214" y="0"/>
                  </a:moveTo>
                  <a:lnTo>
                    <a:pt x="0" y="92562"/>
                  </a:lnTo>
                  <a:lnTo>
                    <a:pt x="108237" y="153052"/>
                  </a:lnTo>
                  <a:lnTo>
                    <a:pt x="109441" y="60259"/>
                  </a:lnTo>
                  <a:lnTo>
                    <a:pt x="1214" y="0"/>
                  </a:lnTo>
                  <a:close/>
                </a:path>
              </a:pathLst>
            </a:custGeom>
            <a:solidFill>
              <a:srgbClr val="8FBBD8"/>
            </a:solidFill>
          </p:spPr>
          <p:txBody>
            <a:bodyPr wrap="square" lIns="0" tIns="0" rIns="0" bIns="0" rtlCol="0"/>
            <a:lstStyle/>
            <a:p>
              <a:endParaRPr sz="1092" dirty="0"/>
            </a:p>
          </p:txBody>
        </p:sp>
        <p:sp>
          <p:nvSpPr>
            <p:cNvPr id="433" name="object 433"/>
            <p:cNvSpPr/>
            <p:nvPr/>
          </p:nvSpPr>
          <p:spPr>
            <a:xfrm>
              <a:off x="5945510" y="4302272"/>
              <a:ext cx="66616" cy="93186"/>
            </a:xfrm>
            <a:custGeom>
              <a:avLst/>
              <a:gdLst/>
              <a:ahLst/>
              <a:cxnLst/>
              <a:rect l="l" t="t" r="r" b="b"/>
              <a:pathLst>
                <a:path w="109854" h="153670">
                  <a:moveTo>
                    <a:pt x="1444" y="0"/>
                  </a:moveTo>
                  <a:lnTo>
                    <a:pt x="0" y="92792"/>
                  </a:lnTo>
                  <a:lnTo>
                    <a:pt x="108467" y="153293"/>
                  </a:lnTo>
                  <a:lnTo>
                    <a:pt x="109682" y="60259"/>
                  </a:lnTo>
                  <a:lnTo>
                    <a:pt x="1444" y="0"/>
                  </a:lnTo>
                  <a:close/>
                </a:path>
              </a:pathLst>
            </a:custGeom>
            <a:solidFill>
              <a:srgbClr val="8FBBD8"/>
            </a:solidFill>
          </p:spPr>
          <p:txBody>
            <a:bodyPr wrap="square" lIns="0" tIns="0" rIns="0" bIns="0" rtlCol="0"/>
            <a:lstStyle/>
            <a:p>
              <a:endParaRPr sz="1092" dirty="0"/>
            </a:p>
          </p:txBody>
        </p:sp>
        <p:sp>
          <p:nvSpPr>
            <p:cNvPr id="434" name="object 434"/>
            <p:cNvSpPr/>
            <p:nvPr/>
          </p:nvSpPr>
          <p:spPr>
            <a:xfrm>
              <a:off x="5755048" y="4189272"/>
              <a:ext cx="68541" cy="93186"/>
            </a:xfrm>
            <a:custGeom>
              <a:avLst/>
              <a:gdLst/>
              <a:ahLst/>
              <a:cxnLst/>
              <a:rect l="l" t="t" r="r" b="b"/>
              <a:pathLst>
                <a:path w="113029" h="153670">
                  <a:moveTo>
                    <a:pt x="1444" y="0"/>
                  </a:moveTo>
                  <a:lnTo>
                    <a:pt x="0" y="92321"/>
                  </a:lnTo>
                  <a:lnTo>
                    <a:pt x="111117" y="153084"/>
                  </a:lnTo>
                  <a:lnTo>
                    <a:pt x="112562" y="60029"/>
                  </a:lnTo>
                  <a:lnTo>
                    <a:pt x="1444" y="0"/>
                  </a:lnTo>
                  <a:close/>
                </a:path>
              </a:pathLst>
            </a:custGeom>
            <a:solidFill>
              <a:srgbClr val="8FBBD8"/>
            </a:solidFill>
          </p:spPr>
          <p:txBody>
            <a:bodyPr wrap="square" lIns="0" tIns="0" rIns="0" bIns="0" rtlCol="0"/>
            <a:lstStyle/>
            <a:p>
              <a:endParaRPr sz="1092" dirty="0"/>
            </a:p>
          </p:txBody>
        </p:sp>
        <p:sp>
          <p:nvSpPr>
            <p:cNvPr id="435" name="object 435"/>
            <p:cNvSpPr/>
            <p:nvPr/>
          </p:nvSpPr>
          <p:spPr>
            <a:xfrm>
              <a:off x="5667193" y="4134757"/>
              <a:ext cx="68926" cy="95496"/>
            </a:xfrm>
            <a:custGeom>
              <a:avLst/>
              <a:gdLst/>
              <a:ahLst/>
              <a:cxnLst/>
              <a:rect l="l" t="t" r="r" b="b"/>
              <a:pathLst>
                <a:path w="113665" h="157479">
                  <a:moveTo>
                    <a:pt x="1444" y="0"/>
                  </a:moveTo>
                  <a:lnTo>
                    <a:pt x="0" y="92562"/>
                  </a:lnTo>
                  <a:lnTo>
                    <a:pt x="111849" y="157157"/>
                  </a:lnTo>
                  <a:lnTo>
                    <a:pt x="113064" y="64364"/>
                  </a:lnTo>
                  <a:lnTo>
                    <a:pt x="1444" y="0"/>
                  </a:lnTo>
                  <a:close/>
                </a:path>
              </a:pathLst>
            </a:custGeom>
            <a:solidFill>
              <a:srgbClr val="8FBBD8"/>
            </a:solidFill>
          </p:spPr>
          <p:txBody>
            <a:bodyPr wrap="square" lIns="0" tIns="0" rIns="0" bIns="0" rtlCol="0"/>
            <a:lstStyle/>
            <a:p>
              <a:endParaRPr sz="1092" dirty="0"/>
            </a:p>
          </p:txBody>
        </p:sp>
        <p:sp>
          <p:nvSpPr>
            <p:cNvPr id="436" name="object 436"/>
            <p:cNvSpPr/>
            <p:nvPr/>
          </p:nvSpPr>
          <p:spPr>
            <a:xfrm>
              <a:off x="5852250" y="4354603"/>
              <a:ext cx="66616" cy="93186"/>
            </a:xfrm>
            <a:custGeom>
              <a:avLst/>
              <a:gdLst/>
              <a:ahLst/>
              <a:cxnLst/>
              <a:rect l="l" t="t" r="r" b="b"/>
              <a:pathLst>
                <a:path w="109854" h="153670">
                  <a:moveTo>
                    <a:pt x="1214" y="0"/>
                  </a:moveTo>
                  <a:lnTo>
                    <a:pt x="0" y="92321"/>
                  </a:lnTo>
                  <a:lnTo>
                    <a:pt x="108237" y="153063"/>
                  </a:lnTo>
                  <a:lnTo>
                    <a:pt x="109441" y="59998"/>
                  </a:lnTo>
                  <a:lnTo>
                    <a:pt x="1214" y="0"/>
                  </a:lnTo>
                  <a:close/>
                </a:path>
              </a:pathLst>
            </a:custGeom>
            <a:solidFill>
              <a:srgbClr val="8FBBD8"/>
            </a:solidFill>
          </p:spPr>
          <p:txBody>
            <a:bodyPr wrap="square" lIns="0" tIns="0" rIns="0" bIns="0" rtlCol="0"/>
            <a:lstStyle/>
            <a:p>
              <a:endParaRPr sz="1092" dirty="0"/>
            </a:p>
          </p:txBody>
        </p:sp>
        <p:sp>
          <p:nvSpPr>
            <p:cNvPr id="437" name="object 437"/>
            <p:cNvSpPr/>
            <p:nvPr/>
          </p:nvSpPr>
          <p:spPr>
            <a:xfrm>
              <a:off x="5945510" y="4411174"/>
              <a:ext cx="66616" cy="93186"/>
            </a:xfrm>
            <a:custGeom>
              <a:avLst/>
              <a:gdLst/>
              <a:ahLst/>
              <a:cxnLst/>
              <a:rect l="l" t="t" r="r" b="b"/>
              <a:pathLst>
                <a:path w="109854" h="153670">
                  <a:moveTo>
                    <a:pt x="1444" y="0"/>
                  </a:moveTo>
                  <a:lnTo>
                    <a:pt x="0" y="92792"/>
                  </a:lnTo>
                  <a:lnTo>
                    <a:pt x="108467" y="153293"/>
                  </a:lnTo>
                  <a:lnTo>
                    <a:pt x="109682" y="60259"/>
                  </a:lnTo>
                  <a:lnTo>
                    <a:pt x="1444" y="0"/>
                  </a:lnTo>
                  <a:close/>
                </a:path>
              </a:pathLst>
            </a:custGeom>
            <a:solidFill>
              <a:srgbClr val="8FBBD8"/>
            </a:solidFill>
          </p:spPr>
          <p:txBody>
            <a:bodyPr wrap="square" lIns="0" tIns="0" rIns="0" bIns="0" rtlCol="0"/>
            <a:lstStyle/>
            <a:p>
              <a:endParaRPr sz="1092" dirty="0"/>
            </a:p>
          </p:txBody>
        </p:sp>
        <p:sp>
          <p:nvSpPr>
            <p:cNvPr id="438" name="object 438"/>
            <p:cNvSpPr/>
            <p:nvPr/>
          </p:nvSpPr>
          <p:spPr>
            <a:xfrm>
              <a:off x="5755048" y="4298033"/>
              <a:ext cx="68541" cy="93186"/>
            </a:xfrm>
            <a:custGeom>
              <a:avLst/>
              <a:gdLst/>
              <a:ahLst/>
              <a:cxnLst/>
              <a:rect l="l" t="t" r="r" b="b"/>
              <a:pathLst>
                <a:path w="113029" h="153670">
                  <a:moveTo>
                    <a:pt x="1444" y="0"/>
                  </a:moveTo>
                  <a:lnTo>
                    <a:pt x="0" y="92562"/>
                  </a:lnTo>
                  <a:lnTo>
                    <a:pt x="111117" y="153293"/>
                  </a:lnTo>
                  <a:lnTo>
                    <a:pt x="112562" y="60259"/>
                  </a:lnTo>
                  <a:lnTo>
                    <a:pt x="1444" y="0"/>
                  </a:lnTo>
                  <a:close/>
                </a:path>
              </a:pathLst>
            </a:custGeom>
            <a:solidFill>
              <a:srgbClr val="8FBBD8"/>
            </a:solidFill>
          </p:spPr>
          <p:txBody>
            <a:bodyPr wrap="square" lIns="0" tIns="0" rIns="0" bIns="0" rtlCol="0"/>
            <a:lstStyle/>
            <a:p>
              <a:endParaRPr sz="1092" dirty="0"/>
            </a:p>
          </p:txBody>
        </p:sp>
        <p:sp>
          <p:nvSpPr>
            <p:cNvPr id="439" name="object 439"/>
            <p:cNvSpPr/>
            <p:nvPr/>
          </p:nvSpPr>
          <p:spPr>
            <a:xfrm>
              <a:off x="5667193" y="4243659"/>
              <a:ext cx="68926" cy="95496"/>
            </a:xfrm>
            <a:custGeom>
              <a:avLst/>
              <a:gdLst/>
              <a:ahLst/>
              <a:cxnLst/>
              <a:rect l="l" t="t" r="r" b="b"/>
              <a:pathLst>
                <a:path w="113665" h="157479">
                  <a:moveTo>
                    <a:pt x="1444" y="0"/>
                  </a:moveTo>
                  <a:lnTo>
                    <a:pt x="0" y="92300"/>
                  </a:lnTo>
                  <a:lnTo>
                    <a:pt x="111849" y="157157"/>
                  </a:lnTo>
                  <a:lnTo>
                    <a:pt x="113064" y="64364"/>
                  </a:lnTo>
                  <a:lnTo>
                    <a:pt x="1444" y="0"/>
                  </a:lnTo>
                  <a:close/>
                </a:path>
              </a:pathLst>
            </a:custGeom>
            <a:solidFill>
              <a:srgbClr val="8FBBD8"/>
            </a:solidFill>
          </p:spPr>
          <p:txBody>
            <a:bodyPr wrap="square" lIns="0" tIns="0" rIns="0" bIns="0" rtlCol="0"/>
            <a:lstStyle/>
            <a:p>
              <a:endParaRPr sz="1092" dirty="0"/>
            </a:p>
          </p:txBody>
        </p:sp>
        <p:sp>
          <p:nvSpPr>
            <p:cNvPr id="440" name="object 440"/>
            <p:cNvSpPr/>
            <p:nvPr/>
          </p:nvSpPr>
          <p:spPr>
            <a:xfrm>
              <a:off x="6134805" y="4164131"/>
              <a:ext cx="71622" cy="104738"/>
            </a:xfrm>
            <a:custGeom>
              <a:avLst/>
              <a:gdLst/>
              <a:ahLst/>
              <a:cxnLst/>
              <a:rect l="l" t="t" r="r" b="b"/>
              <a:pathLst>
                <a:path w="118109" h="172720">
                  <a:moveTo>
                    <a:pt x="117629" y="0"/>
                  </a:moveTo>
                  <a:lnTo>
                    <a:pt x="0" y="63401"/>
                  </a:lnTo>
                  <a:lnTo>
                    <a:pt x="0" y="172602"/>
                  </a:lnTo>
                  <a:lnTo>
                    <a:pt x="117629" y="109441"/>
                  </a:lnTo>
                  <a:lnTo>
                    <a:pt x="117629" y="0"/>
                  </a:lnTo>
                  <a:close/>
                </a:path>
              </a:pathLst>
            </a:custGeom>
            <a:solidFill>
              <a:srgbClr val="6F94A5"/>
            </a:solidFill>
          </p:spPr>
          <p:txBody>
            <a:bodyPr wrap="square" lIns="0" tIns="0" rIns="0" bIns="0" rtlCol="0"/>
            <a:lstStyle/>
            <a:p>
              <a:endParaRPr sz="1092" dirty="0"/>
            </a:p>
          </p:txBody>
        </p:sp>
        <p:sp>
          <p:nvSpPr>
            <p:cNvPr id="441" name="object 441"/>
            <p:cNvSpPr/>
            <p:nvPr/>
          </p:nvSpPr>
          <p:spPr>
            <a:xfrm>
              <a:off x="6234936" y="4111073"/>
              <a:ext cx="71622" cy="104738"/>
            </a:xfrm>
            <a:custGeom>
              <a:avLst/>
              <a:gdLst/>
              <a:ahLst/>
              <a:cxnLst/>
              <a:rect l="l" t="t" r="r" b="b"/>
              <a:pathLst>
                <a:path w="118109" h="172720">
                  <a:moveTo>
                    <a:pt x="117629" y="0"/>
                  </a:moveTo>
                  <a:lnTo>
                    <a:pt x="0" y="63401"/>
                  </a:lnTo>
                  <a:lnTo>
                    <a:pt x="0" y="172340"/>
                  </a:lnTo>
                  <a:lnTo>
                    <a:pt x="117399" y="109200"/>
                  </a:lnTo>
                  <a:lnTo>
                    <a:pt x="117629" y="0"/>
                  </a:lnTo>
                  <a:close/>
                </a:path>
              </a:pathLst>
            </a:custGeom>
            <a:solidFill>
              <a:srgbClr val="6F94A5"/>
            </a:solidFill>
          </p:spPr>
          <p:txBody>
            <a:bodyPr wrap="square" lIns="0" tIns="0" rIns="0" bIns="0" rtlCol="0"/>
            <a:lstStyle/>
            <a:p>
              <a:endParaRPr sz="1092" dirty="0"/>
            </a:p>
          </p:txBody>
        </p:sp>
        <p:sp>
          <p:nvSpPr>
            <p:cNvPr id="442" name="object 442"/>
            <p:cNvSpPr/>
            <p:nvPr/>
          </p:nvSpPr>
          <p:spPr>
            <a:xfrm>
              <a:off x="6334482" y="4050404"/>
              <a:ext cx="71622" cy="104738"/>
            </a:xfrm>
            <a:custGeom>
              <a:avLst/>
              <a:gdLst/>
              <a:ahLst/>
              <a:cxnLst/>
              <a:rect l="l" t="t" r="r" b="b"/>
              <a:pathLst>
                <a:path w="118109" h="172720">
                  <a:moveTo>
                    <a:pt x="117860" y="0"/>
                  </a:moveTo>
                  <a:lnTo>
                    <a:pt x="0" y="63401"/>
                  </a:lnTo>
                  <a:lnTo>
                    <a:pt x="0" y="172602"/>
                  </a:lnTo>
                  <a:lnTo>
                    <a:pt x="117860" y="109211"/>
                  </a:lnTo>
                  <a:lnTo>
                    <a:pt x="117860" y="0"/>
                  </a:lnTo>
                  <a:close/>
                </a:path>
              </a:pathLst>
            </a:custGeom>
            <a:solidFill>
              <a:srgbClr val="6F94A5"/>
            </a:solidFill>
          </p:spPr>
          <p:txBody>
            <a:bodyPr wrap="square" lIns="0" tIns="0" rIns="0" bIns="0" rtlCol="0"/>
            <a:lstStyle/>
            <a:p>
              <a:endParaRPr sz="1092" dirty="0"/>
            </a:p>
          </p:txBody>
        </p:sp>
        <p:sp>
          <p:nvSpPr>
            <p:cNvPr id="443" name="object 443"/>
            <p:cNvSpPr/>
            <p:nvPr/>
          </p:nvSpPr>
          <p:spPr>
            <a:xfrm>
              <a:off x="6435925" y="3992666"/>
              <a:ext cx="71622" cy="105123"/>
            </a:xfrm>
            <a:custGeom>
              <a:avLst/>
              <a:gdLst/>
              <a:ahLst/>
              <a:cxnLst/>
              <a:rect l="l" t="t" r="r" b="b"/>
              <a:pathLst>
                <a:path w="118109" h="173354">
                  <a:moveTo>
                    <a:pt x="117881" y="0"/>
                  </a:moveTo>
                  <a:lnTo>
                    <a:pt x="0" y="63652"/>
                  </a:lnTo>
                  <a:lnTo>
                    <a:pt x="0" y="172853"/>
                  </a:lnTo>
                  <a:lnTo>
                    <a:pt x="117629" y="109200"/>
                  </a:lnTo>
                  <a:lnTo>
                    <a:pt x="117881" y="0"/>
                  </a:lnTo>
                  <a:close/>
                </a:path>
              </a:pathLst>
            </a:custGeom>
            <a:solidFill>
              <a:srgbClr val="6F94A5"/>
            </a:solidFill>
          </p:spPr>
          <p:txBody>
            <a:bodyPr wrap="square" lIns="0" tIns="0" rIns="0" bIns="0" rtlCol="0"/>
            <a:lstStyle/>
            <a:p>
              <a:endParaRPr sz="1092" dirty="0"/>
            </a:p>
          </p:txBody>
        </p:sp>
        <p:sp>
          <p:nvSpPr>
            <p:cNvPr id="444" name="object 444"/>
            <p:cNvSpPr/>
            <p:nvPr/>
          </p:nvSpPr>
          <p:spPr>
            <a:xfrm>
              <a:off x="6134805" y="4273033"/>
              <a:ext cx="71622" cy="104738"/>
            </a:xfrm>
            <a:custGeom>
              <a:avLst/>
              <a:gdLst/>
              <a:ahLst/>
              <a:cxnLst/>
              <a:rect l="l" t="t" r="r" b="b"/>
              <a:pathLst>
                <a:path w="118109" h="172720">
                  <a:moveTo>
                    <a:pt x="117629" y="0"/>
                  </a:moveTo>
                  <a:lnTo>
                    <a:pt x="0" y="63401"/>
                  </a:lnTo>
                  <a:lnTo>
                    <a:pt x="0" y="172602"/>
                  </a:lnTo>
                  <a:lnTo>
                    <a:pt x="117629" y="109441"/>
                  </a:lnTo>
                  <a:lnTo>
                    <a:pt x="117629" y="0"/>
                  </a:lnTo>
                  <a:close/>
                </a:path>
              </a:pathLst>
            </a:custGeom>
            <a:solidFill>
              <a:srgbClr val="6F94A5"/>
            </a:solidFill>
          </p:spPr>
          <p:txBody>
            <a:bodyPr wrap="square" lIns="0" tIns="0" rIns="0" bIns="0" rtlCol="0"/>
            <a:lstStyle/>
            <a:p>
              <a:endParaRPr sz="1092" dirty="0"/>
            </a:p>
          </p:txBody>
        </p:sp>
        <p:sp>
          <p:nvSpPr>
            <p:cNvPr id="445" name="object 445"/>
            <p:cNvSpPr/>
            <p:nvPr/>
          </p:nvSpPr>
          <p:spPr>
            <a:xfrm>
              <a:off x="6234936" y="4219823"/>
              <a:ext cx="71622" cy="104738"/>
            </a:xfrm>
            <a:custGeom>
              <a:avLst/>
              <a:gdLst/>
              <a:ahLst/>
              <a:cxnLst/>
              <a:rect l="l" t="t" r="r" b="b"/>
              <a:pathLst>
                <a:path w="118109" h="172720">
                  <a:moveTo>
                    <a:pt x="117629" y="0"/>
                  </a:moveTo>
                  <a:lnTo>
                    <a:pt x="0" y="63411"/>
                  </a:lnTo>
                  <a:lnTo>
                    <a:pt x="0" y="172591"/>
                  </a:lnTo>
                  <a:lnTo>
                    <a:pt x="117399" y="109200"/>
                  </a:lnTo>
                  <a:lnTo>
                    <a:pt x="117629" y="0"/>
                  </a:lnTo>
                  <a:close/>
                </a:path>
              </a:pathLst>
            </a:custGeom>
            <a:solidFill>
              <a:srgbClr val="6F94A5"/>
            </a:solidFill>
          </p:spPr>
          <p:txBody>
            <a:bodyPr wrap="square" lIns="0" tIns="0" rIns="0" bIns="0" rtlCol="0"/>
            <a:lstStyle/>
            <a:p>
              <a:endParaRPr sz="1092" dirty="0"/>
            </a:p>
          </p:txBody>
        </p:sp>
        <p:sp>
          <p:nvSpPr>
            <p:cNvPr id="446" name="object 446"/>
            <p:cNvSpPr/>
            <p:nvPr/>
          </p:nvSpPr>
          <p:spPr>
            <a:xfrm>
              <a:off x="6334482" y="4159306"/>
              <a:ext cx="71622" cy="104738"/>
            </a:xfrm>
            <a:custGeom>
              <a:avLst/>
              <a:gdLst/>
              <a:ahLst/>
              <a:cxnLst/>
              <a:rect l="l" t="t" r="r" b="b"/>
              <a:pathLst>
                <a:path w="118109" h="172720">
                  <a:moveTo>
                    <a:pt x="117860" y="0"/>
                  </a:moveTo>
                  <a:lnTo>
                    <a:pt x="0" y="63401"/>
                  </a:lnTo>
                  <a:lnTo>
                    <a:pt x="0" y="172602"/>
                  </a:lnTo>
                  <a:lnTo>
                    <a:pt x="117860" y="108970"/>
                  </a:lnTo>
                  <a:lnTo>
                    <a:pt x="117860" y="0"/>
                  </a:lnTo>
                  <a:close/>
                </a:path>
              </a:pathLst>
            </a:custGeom>
            <a:solidFill>
              <a:srgbClr val="6F94A5"/>
            </a:solidFill>
          </p:spPr>
          <p:txBody>
            <a:bodyPr wrap="square" lIns="0" tIns="0" rIns="0" bIns="0" rtlCol="0"/>
            <a:lstStyle/>
            <a:p>
              <a:endParaRPr sz="1092" dirty="0"/>
            </a:p>
          </p:txBody>
        </p:sp>
        <p:sp>
          <p:nvSpPr>
            <p:cNvPr id="447" name="object 447"/>
            <p:cNvSpPr/>
            <p:nvPr/>
          </p:nvSpPr>
          <p:spPr>
            <a:xfrm>
              <a:off x="6435925" y="4101564"/>
              <a:ext cx="71622" cy="104738"/>
            </a:xfrm>
            <a:custGeom>
              <a:avLst/>
              <a:gdLst/>
              <a:ahLst/>
              <a:cxnLst/>
              <a:rect l="l" t="t" r="r" b="b"/>
              <a:pathLst>
                <a:path w="118109" h="172720">
                  <a:moveTo>
                    <a:pt x="117881" y="0"/>
                  </a:moveTo>
                  <a:lnTo>
                    <a:pt x="0" y="63662"/>
                  </a:lnTo>
                  <a:lnTo>
                    <a:pt x="0" y="172602"/>
                  </a:lnTo>
                  <a:lnTo>
                    <a:pt x="117629" y="109211"/>
                  </a:lnTo>
                  <a:lnTo>
                    <a:pt x="117881" y="0"/>
                  </a:lnTo>
                  <a:close/>
                </a:path>
              </a:pathLst>
            </a:custGeom>
            <a:solidFill>
              <a:srgbClr val="6F94A5"/>
            </a:solidFill>
          </p:spPr>
          <p:txBody>
            <a:bodyPr wrap="square" lIns="0" tIns="0" rIns="0" bIns="0" rtlCol="0"/>
            <a:lstStyle/>
            <a:p>
              <a:endParaRPr sz="1092" dirty="0"/>
            </a:p>
          </p:txBody>
        </p:sp>
        <p:sp>
          <p:nvSpPr>
            <p:cNvPr id="448" name="object 448"/>
            <p:cNvSpPr/>
            <p:nvPr/>
          </p:nvSpPr>
          <p:spPr>
            <a:xfrm>
              <a:off x="6134805" y="4384422"/>
              <a:ext cx="71622" cy="105123"/>
            </a:xfrm>
            <a:custGeom>
              <a:avLst/>
              <a:gdLst/>
              <a:ahLst/>
              <a:cxnLst/>
              <a:rect l="l" t="t" r="r" b="b"/>
              <a:pathLst>
                <a:path w="118109" h="173354">
                  <a:moveTo>
                    <a:pt x="117629" y="0"/>
                  </a:moveTo>
                  <a:lnTo>
                    <a:pt x="0" y="63631"/>
                  </a:lnTo>
                  <a:lnTo>
                    <a:pt x="0" y="172832"/>
                  </a:lnTo>
                  <a:lnTo>
                    <a:pt x="117629" y="109441"/>
                  </a:lnTo>
                  <a:lnTo>
                    <a:pt x="117629" y="0"/>
                  </a:lnTo>
                  <a:close/>
                </a:path>
              </a:pathLst>
            </a:custGeom>
            <a:solidFill>
              <a:srgbClr val="6F94A5"/>
            </a:solidFill>
          </p:spPr>
          <p:txBody>
            <a:bodyPr wrap="square" lIns="0" tIns="0" rIns="0" bIns="0" rtlCol="0"/>
            <a:lstStyle/>
            <a:p>
              <a:endParaRPr sz="1092" dirty="0"/>
            </a:p>
          </p:txBody>
        </p:sp>
        <p:sp>
          <p:nvSpPr>
            <p:cNvPr id="449" name="object 449"/>
            <p:cNvSpPr/>
            <p:nvPr/>
          </p:nvSpPr>
          <p:spPr>
            <a:xfrm>
              <a:off x="6234936" y="4331208"/>
              <a:ext cx="71622" cy="104738"/>
            </a:xfrm>
            <a:custGeom>
              <a:avLst/>
              <a:gdLst/>
              <a:ahLst/>
              <a:cxnLst/>
              <a:rect l="l" t="t" r="r" b="b"/>
              <a:pathLst>
                <a:path w="118109" h="172720">
                  <a:moveTo>
                    <a:pt x="117629" y="0"/>
                  </a:moveTo>
                  <a:lnTo>
                    <a:pt x="0" y="63390"/>
                  </a:lnTo>
                  <a:lnTo>
                    <a:pt x="0" y="172591"/>
                  </a:lnTo>
                  <a:lnTo>
                    <a:pt x="117399" y="109200"/>
                  </a:lnTo>
                  <a:lnTo>
                    <a:pt x="117629" y="0"/>
                  </a:lnTo>
                  <a:close/>
                </a:path>
              </a:pathLst>
            </a:custGeom>
            <a:solidFill>
              <a:srgbClr val="6F94A5"/>
            </a:solidFill>
          </p:spPr>
          <p:txBody>
            <a:bodyPr wrap="square" lIns="0" tIns="0" rIns="0" bIns="0" rtlCol="0"/>
            <a:lstStyle/>
            <a:p>
              <a:endParaRPr sz="1092" dirty="0"/>
            </a:p>
          </p:txBody>
        </p:sp>
        <p:sp>
          <p:nvSpPr>
            <p:cNvPr id="450" name="object 450"/>
            <p:cNvSpPr/>
            <p:nvPr/>
          </p:nvSpPr>
          <p:spPr>
            <a:xfrm>
              <a:off x="6334482" y="4270692"/>
              <a:ext cx="71622" cy="104738"/>
            </a:xfrm>
            <a:custGeom>
              <a:avLst/>
              <a:gdLst/>
              <a:ahLst/>
              <a:cxnLst/>
              <a:rect l="l" t="t" r="r" b="b"/>
              <a:pathLst>
                <a:path w="118109" h="172720">
                  <a:moveTo>
                    <a:pt x="117860" y="0"/>
                  </a:moveTo>
                  <a:lnTo>
                    <a:pt x="0" y="63401"/>
                  </a:lnTo>
                  <a:lnTo>
                    <a:pt x="0" y="172602"/>
                  </a:lnTo>
                  <a:lnTo>
                    <a:pt x="117860" y="109211"/>
                  </a:lnTo>
                  <a:lnTo>
                    <a:pt x="117860" y="0"/>
                  </a:lnTo>
                  <a:close/>
                </a:path>
              </a:pathLst>
            </a:custGeom>
            <a:solidFill>
              <a:srgbClr val="6F94A5"/>
            </a:solidFill>
          </p:spPr>
          <p:txBody>
            <a:bodyPr wrap="square" lIns="0" tIns="0" rIns="0" bIns="0" rtlCol="0"/>
            <a:lstStyle/>
            <a:p>
              <a:endParaRPr sz="1092" dirty="0"/>
            </a:p>
          </p:txBody>
        </p:sp>
        <p:sp>
          <p:nvSpPr>
            <p:cNvPr id="451" name="object 451"/>
            <p:cNvSpPr/>
            <p:nvPr/>
          </p:nvSpPr>
          <p:spPr>
            <a:xfrm>
              <a:off x="6435925" y="4213097"/>
              <a:ext cx="71622" cy="104738"/>
            </a:xfrm>
            <a:custGeom>
              <a:avLst/>
              <a:gdLst/>
              <a:ahLst/>
              <a:cxnLst/>
              <a:rect l="l" t="t" r="r" b="b"/>
              <a:pathLst>
                <a:path w="118109" h="172720">
                  <a:moveTo>
                    <a:pt x="117881" y="0"/>
                  </a:moveTo>
                  <a:lnTo>
                    <a:pt x="0" y="63160"/>
                  </a:lnTo>
                  <a:lnTo>
                    <a:pt x="0" y="172361"/>
                  </a:lnTo>
                  <a:lnTo>
                    <a:pt x="117629" y="108970"/>
                  </a:lnTo>
                  <a:lnTo>
                    <a:pt x="117881" y="0"/>
                  </a:lnTo>
                  <a:close/>
                </a:path>
              </a:pathLst>
            </a:custGeom>
            <a:solidFill>
              <a:srgbClr val="6F94A5"/>
            </a:solidFill>
          </p:spPr>
          <p:txBody>
            <a:bodyPr wrap="square" lIns="0" tIns="0" rIns="0" bIns="0" rtlCol="0"/>
            <a:lstStyle/>
            <a:p>
              <a:endParaRPr sz="1092" dirty="0"/>
            </a:p>
          </p:txBody>
        </p:sp>
        <p:sp>
          <p:nvSpPr>
            <p:cNvPr id="452" name="object 452"/>
            <p:cNvSpPr/>
            <p:nvPr/>
          </p:nvSpPr>
          <p:spPr>
            <a:xfrm>
              <a:off x="5625093" y="3221022"/>
              <a:ext cx="941868" cy="534470"/>
            </a:xfrm>
            <a:custGeom>
              <a:avLst/>
              <a:gdLst/>
              <a:ahLst/>
              <a:cxnLst/>
              <a:rect l="l" t="t" r="r" b="b"/>
              <a:pathLst>
                <a:path w="1553209" h="881379">
                  <a:moveTo>
                    <a:pt x="835723" y="0"/>
                  </a:moveTo>
                  <a:lnTo>
                    <a:pt x="0" y="466184"/>
                  </a:lnTo>
                  <a:lnTo>
                    <a:pt x="717862" y="881282"/>
                  </a:lnTo>
                  <a:lnTo>
                    <a:pt x="1552853" y="401589"/>
                  </a:lnTo>
                  <a:lnTo>
                    <a:pt x="835723" y="0"/>
                  </a:lnTo>
                  <a:close/>
                </a:path>
              </a:pathLst>
            </a:custGeom>
            <a:solidFill>
              <a:srgbClr val="BEBEBE"/>
            </a:solidFill>
          </p:spPr>
          <p:txBody>
            <a:bodyPr wrap="square" lIns="0" tIns="0" rIns="0" bIns="0" rtlCol="0"/>
            <a:lstStyle/>
            <a:p>
              <a:endParaRPr sz="1092" dirty="0"/>
            </a:p>
          </p:txBody>
        </p:sp>
        <p:sp>
          <p:nvSpPr>
            <p:cNvPr id="453" name="object 453"/>
            <p:cNvSpPr/>
            <p:nvPr/>
          </p:nvSpPr>
          <p:spPr>
            <a:xfrm>
              <a:off x="5679909" y="3258734"/>
              <a:ext cx="810561" cy="455916"/>
            </a:xfrm>
            <a:custGeom>
              <a:avLst/>
              <a:gdLst/>
              <a:ahLst/>
              <a:cxnLst/>
              <a:rect l="l" t="t" r="r" b="b"/>
              <a:pathLst>
                <a:path w="1336675" h="751839">
                  <a:moveTo>
                    <a:pt x="726051" y="0"/>
                  </a:moveTo>
                  <a:lnTo>
                    <a:pt x="0" y="398448"/>
                  </a:lnTo>
                  <a:lnTo>
                    <a:pt x="610588" y="751359"/>
                  </a:lnTo>
                  <a:lnTo>
                    <a:pt x="1336158" y="337706"/>
                  </a:lnTo>
                  <a:lnTo>
                    <a:pt x="726051" y="0"/>
                  </a:lnTo>
                  <a:close/>
                </a:path>
              </a:pathLst>
            </a:custGeom>
            <a:solidFill>
              <a:srgbClr val="999999"/>
            </a:solidFill>
          </p:spPr>
          <p:txBody>
            <a:bodyPr wrap="square" lIns="0" tIns="0" rIns="0" bIns="0" rtlCol="0"/>
            <a:lstStyle/>
            <a:p>
              <a:endParaRPr sz="1092" dirty="0"/>
            </a:p>
          </p:txBody>
        </p:sp>
        <p:sp>
          <p:nvSpPr>
            <p:cNvPr id="454" name="object 454"/>
            <p:cNvSpPr/>
            <p:nvPr/>
          </p:nvSpPr>
          <p:spPr>
            <a:xfrm>
              <a:off x="5626124" y="3502113"/>
              <a:ext cx="435508" cy="695812"/>
            </a:xfrm>
            <a:custGeom>
              <a:avLst/>
              <a:gdLst/>
              <a:ahLst/>
              <a:cxnLst/>
              <a:rect l="l" t="t" r="r" b="b"/>
              <a:pathLst>
                <a:path w="718184" h="1147445">
                  <a:moveTo>
                    <a:pt x="0" y="0"/>
                  </a:moveTo>
                  <a:lnTo>
                    <a:pt x="2167" y="747987"/>
                  </a:lnTo>
                  <a:lnTo>
                    <a:pt x="713988" y="1147399"/>
                  </a:lnTo>
                  <a:lnTo>
                    <a:pt x="717611" y="415097"/>
                  </a:lnTo>
                  <a:lnTo>
                    <a:pt x="0" y="0"/>
                  </a:lnTo>
                  <a:close/>
                </a:path>
              </a:pathLst>
            </a:custGeom>
            <a:solidFill>
              <a:srgbClr val="F2F5FF"/>
            </a:solidFill>
          </p:spPr>
          <p:txBody>
            <a:bodyPr wrap="square" lIns="0" tIns="0" rIns="0" bIns="0" rtlCol="0"/>
            <a:lstStyle/>
            <a:p>
              <a:endParaRPr sz="1092" dirty="0"/>
            </a:p>
          </p:txBody>
        </p:sp>
        <p:sp>
          <p:nvSpPr>
            <p:cNvPr id="455" name="object 455"/>
            <p:cNvSpPr/>
            <p:nvPr/>
          </p:nvSpPr>
          <p:spPr>
            <a:xfrm>
              <a:off x="6058208" y="3464546"/>
              <a:ext cx="508670" cy="735088"/>
            </a:xfrm>
            <a:custGeom>
              <a:avLst/>
              <a:gdLst/>
              <a:ahLst/>
              <a:cxnLst/>
              <a:rect l="l" t="t" r="r" b="b"/>
              <a:pathLst>
                <a:path w="838834" h="1212215">
                  <a:moveTo>
                    <a:pt x="838623" y="0"/>
                  </a:moveTo>
                  <a:lnTo>
                    <a:pt x="3622" y="479692"/>
                  </a:lnTo>
                  <a:lnTo>
                    <a:pt x="0" y="1212004"/>
                  </a:lnTo>
                  <a:lnTo>
                    <a:pt x="835000" y="732302"/>
                  </a:lnTo>
                  <a:lnTo>
                    <a:pt x="838623" y="0"/>
                  </a:lnTo>
                  <a:close/>
                </a:path>
              </a:pathLst>
            </a:custGeom>
            <a:solidFill>
              <a:srgbClr val="BCC5DC"/>
            </a:solidFill>
          </p:spPr>
          <p:txBody>
            <a:bodyPr wrap="square" lIns="0" tIns="0" rIns="0" bIns="0" rtlCol="0"/>
            <a:lstStyle/>
            <a:p>
              <a:endParaRPr sz="1092" dirty="0"/>
            </a:p>
          </p:txBody>
        </p:sp>
        <p:sp>
          <p:nvSpPr>
            <p:cNvPr id="456" name="object 456"/>
            <p:cNvSpPr/>
            <p:nvPr/>
          </p:nvSpPr>
          <p:spPr>
            <a:xfrm>
              <a:off x="5852250" y="3721079"/>
              <a:ext cx="66616" cy="93186"/>
            </a:xfrm>
            <a:custGeom>
              <a:avLst/>
              <a:gdLst/>
              <a:ahLst/>
              <a:cxnLst/>
              <a:rect l="l" t="t" r="r" b="b"/>
              <a:pathLst>
                <a:path w="109854" h="153670">
                  <a:moveTo>
                    <a:pt x="1214" y="0"/>
                  </a:moveTo>
                  <a:lnTo>
                    <a:pt x="0" y="92311"/>
                  </a:lnTo>
                  <a:lnTo>
                    <a:pt x="108237" y="153073"/>
                  </a:lnTo>
                  <a:lnTo>
                    <a:pt x="109441" y="60019"/>
                  </a:lnTo>
                  <a:lnTo>
                    <a:pt x="1214" y="0"/>
                  </a:lnTo>
                  <a:close/>
                </a:path>
              </a:pathLst>
            </a:custGeom>
            <a:solidFill>
              <a:srgbClr val="8FBBD8"/>
            </a:solidFill>
          </p:spPr>
          <p:txBody>
            <a:bodyPr wrap="square" lIns="0" tIns="0" rIns="0" bIns="0" rtlCol="0"/>
            <a:lstStyle/>
            <a:p>
              <a:endParaRPr sz="1092" dirty="0"/>
            </a:p>
          </p:txBody>
        </p:sp>
        <p:sp>
          <p:nvSpPr>
            <p:cNvPr id="457" name="object 457"/>
            <p:cNvSpPr/>
            <p:nvPr/>
          </p:nvSpPr>
          <p:spPr>
            <a:xfrm>
              <a:off x="5945510" y="3777801"/>
              <a:ext cx="66616" cy="93186"/>
            </a:xfrm>
            <a:custGeom>
              <a:avLst/>
              <a:gdLst/>
              <a:ahLst/>
              <a:cxnLst/>
              <a:rect l="l" t="t" r="r" b="b"/>
              <a:pathLst>
                <a:path w="109854" h="153670">
                  <a:moveTo>
                    <a:pt x="1444" y="0"/>
                  </a:moveTo>
                  <a:lnTo>
                    <a:pt x="0" y="92321"/>
                  </a:lnTo>
                  <a:lnTo>
                    <a:pt x="108467" y="153052"/>
                  </a:lnTo>
                  <a:lnTo>
                    <a:pt x="109682" y="60008"/>
                  </a:lnTo>
                  <a:lnTo>
                    <a:pt x="1444" y="0"/>
                  </a:lnTo>
                  <a:close/>
                </a:path>
              </a:pathLst>
            </a:custGeom>
            <a:solidFill>
              <a:srgbClr val="8FBBD8"/>
            </a:solidFill>
          </p:spPr>
          <p:txBody>
            <a:bodyPr wrap="square" lIns="0" tIns="0" rIns="0" bIns="0" rtlCol="0"/>
            <a:lstStyle/>
            <a:p>
              <a:endParaRPr sz="1092" dirty="0"/>
            </a:p>
          </p:txBody>
        </p:sp>
        <p:sp>
          <p:nvSpPr>
            <p:cNvPr id="458" name="object 458"/>
            <p:cNvSpPr/>
            <p:nvPr/>
          </p:nvSpPr>
          <p:spPr>
            <a:xfrm>
              <a:off x="5755048" y="3664508"/>
              <a:ext cx="68541" cy="93186"/>
            </a:xfrm>
            <a:custGeom>
              <a:avLst/>
              <a:gdLst/>
              <a:ahLst/>
              <a:cxnLst/>
              <a:rect l="l" t="t" r="r" b="b"/>
              <a:pathLst>
                <a:path w="113029" h="153670">
                  <a:moveTo>
                    <a:pt x="1444" y="0"/>
                  </a:moveTo>
                  <a:lnTo>
                    <a:pt x="0" y="92573"/>
                  </a:lnTo>
                  <a:lnTo>
                    <a:pt x="111117" y="153073"/>
                  </a:lnTo>
                  <a:lnTo>
                    <a:pt x="112562" y="60029"/>
                  </a:lnTo>
                  <a:lnTo>
                    <a:pt x="1444" y="0"/>
                  </a:lnTo>
                  <a:close/>
                </a:path>
              </a:pathLst>
            </a:custGeom>
            <a:solidFill>
              <a:srgbClr val="8FBBD8"/>
            </a:solidFill>
          </p:spPr>
          <p:txBody>
            <a:bodyPr wrap="square" lIns="0" tIns="0" rIns="0" bIns="0" rtlCol="0"/>
            <a:lstStyle/>
            <a:p>
              <a:endParaRPr sz="1092" dirty="0"/>
            </a:p>
          </p:txBody>
        </p:sp>
        <p:sp>
          <p:nvSpPr>
            <p:cNvPr id="459" name="object 459"/>
            <p:cNvSpPr/>
            <p:nvPr/>
          </p:nvSpPr>
          <p:spPr>
            <a:xfrm>
              <a:off x="5667193" y="3610137"/>
              <a:ext cx="68926" cy="95496"/>
            </a:xfrm>
            <a:custGeom>
              <a:avLst/>
              <a:gdLst/>
              <a:ahLst/>
              <a:cxnLst/>
              <a:rect l="l" t="t" r="r" b="b"/>
              <a:pathLst>
                <a:path w="113665" h="157479">
                  <a:moveTo>
                    <a:pt x="1444" y="0"/>
                  </a:moveTo>
                  <a:lnTo>
                    <a:pt x="0" y="92562"/>
                  </a:lnTo>
                  <a:lnTo>
                    <a:pt x="111849" y="157167"/>
                  </a:lnTo>
                  <a:lnTo>
                    <a:pt x="113064" y="64354"/>
                  </a:lnTo>
                  <a:lnTo>
                    <a:pt x="1444" y="0"/>
                  </a:lnTo>
                  <a:close/>
                </a:path>
              </a:pathLst>
            </a:custGeom>
            <a:solidFill>
              <a:srgbClr val="8FBBD8"/>
            </a:solidFill>
          </p:spPr>
          <p:txBody>
            <a:bodyPr wrap="square" lIns="0" tIns="0" rIns="0" bIns="0" rtlCol="0"/>
            <a:lstStyle/>
            <a:p>
              <a:endParaRPr sz="1092" dirty="0"/>
            </a:p>
          </p:txBody>
        </p:sp>
        <p:sp>
          <p:nvSpPr>
            <p:cNvPr id="460" name="object 460"/>
            <p:cNvSpPr/>
            <p:nvPr/>
          </p:nvSpPr>
          <p:spPr>
            <a:xfrm>
              <a:off x="5852250" y="3824864"/>
              <a:ext cx="66616" cy="93186"/>
            </a:xfrm>
            <a:custGeom>
              <a:avLst/>
              <a:gdLst/>
              <a:ahLst/>
              <a:cxnLst/>
              <a:rect l="l" t="t" r="r" b="b"/>
              <a:pathLst>
                <a:path w="109854" h="153670">
                  <a:moveTo>
                    <a:pt x="1214" y="0"/>
                  </a:moveTo>
                  <a:lnTo>
                    <a:pt x="0" y="92562"/>
                  </a:lnTo>
                  <a:lnTo>
                    <a:pt x="108237" y="153314"/>
                  </a:lnTo>
                  <a:lnTo>
                    <a:pt x="109441" y="60259"/>
                  </a:lnTo>
                  <a:lnTo>
                    <a:pt x="1214" y="0"/>
                  </a:lnTo>
                  <a:close/>
                </a:path>
              </a:pathLst>
            </a:custGeom>
            <a:solidFill>
              <a:srgbClr val="8FBBD8"/>
            </a:solidFill>
          </p:spPr>
          <p:txBody>
            <a:bodyPr wrap="square" lIns="0" tIns="0" rIns="0" bIns="0" rtlCol="0"/>
            <a:lstStyle/>
            <a:p>
              <a:endParaRPr sz="1092" dirty="0"/>
            </a:p>
          </p:txBody>
        </p:sp>
        <p:sp>
          <p:nvSpPr>
            <p:cNvPr id="461" name="object 461"/>
            <p:cNvSpPr/>
            <p:nvPr/>
          </p:nvSpPr>
          <p:spPr>
            <a:xfrm>
              <a:off x="5945510" y="3881579"/>
              <a:ext cx="66616" cy="93186"/>
            </a:xfrm>
            <a:custGeom>
              <a:avLst/>
              <a:gdLst/>
              <a:ahLst/>
              <a:cxnLst/>
              <a:rect l="l" t="t" r="r" b="b"/>
              <a:pathLst>
                <a:path w="109854" h="153670">
                  <a:moveTo>
                    <a:pt x="1444" y="0"/>
                  </a:moveTo>
                  <a:lnTo>
                    <a:pt x="0" y="92321"/>
                  </a:lnTo>
                  <a:lnTo>
                    <a:pt x="108467" y="153063"/>
                  </a:lnTo>
                  <a:lnTo>
                    <a:pt x="109682" y="60029"/>
                  </a:lnTo>
                  <a:lnTo>
                    <a:pt x="1444" y="0"/>
                  </a:lnTo>
                  <a:close/>
                </a:path>
              </a:pathLst>
            </a:custGeom>
            <a:solidFill>
              <a:srgbClr val="8FBBD8"/>
            </a:solidFill>
          </p:spPr>
          <p:txBody>
            <a:bodyPr wrap="square" lIns="0" tIns="0" rIns="0" bIns="0" rtlCol="0"/>
            <a:lstStyle/>
            <a:p>
              <a:endParaRPr sz="1092" dirty="0"/>
            </a:p>
          </p:txBody>
        </p:sp>
        <p:sp>
          <p:nvSpPr>
            <p:cNvPr id="462" name="object 462"/>
            <p:cNvSpPr/>
            <p:nvPr/>
          </p:nvSpPr>
          <p:spPr>
            <a:xfrm>
              <a:off x="5755048" y="3768437"/>
              <a:ext cx="68541" cy="92801"/>
            </a:xfrm>
            <a:custGeom>
              <a:avLst/>
              <a:gdLst/>
              <a:ahLst/>
              <a:cxnLst/>
              <a:rect l="l" t="t" r="r" b="b"/>
              <a:pathLst>
                <a:path w="113029" h="153035">
                  <a:moveTo>
                    <a:pt x="1444" y="0"/>
                  </a:moveTo>
                  <a:lnTo>
                    <a:pt x="0" y="92321"/>
                  </a:lnTo>
                  <a:lnTo>
                    <a:pt x="111117" y="152822"/>
                  </a:lnTo>
                  <a:lnTo>
                    <a:pt x="112562" y="60029"/>
                  </a:lnTo>
                  <a:lnTo>
                    <a:pt x="1444" y="0"/>
                  </a:lnTo>
                  <a:close/>
                </a:path>
              </a:pathLst>
            </a:custGeom>
            <a:solidFill>
              <a:srgbClr val="8FBBD8"/>
            </a:solidFill>
          </p:spPr>
          <p:txBody>
            <a:bodyPr wrap="square" lIns="0" tIns="0" rIns="0" bIns="0" rtlCol="0"/>
            <a:lstStyle/>
            <a:p>
              <a:endParaRPr sz="1092" dirty="0"/>
            </a:p>
          </p:txBody>
        </p:sp>
        <p:sp>
          <p:nvSpPr>
            <p:cNvPr id="463" name="object 463"/>
            <p:cNvSpPr/>
            <p:nvPr/>
          </p:nvSpPr>
          <p:spPr>
            <a:xfrm>
              <a:off x="5667193" y="3713921"/>
              <a:ext cx="68926" cy="95496"/>
            </a:xfrm>
            <a:custGeom>
              <a:avLst/>
              <a:gdLst/>
              <a:ahLst/>
              <a:cxnLst/>
              <a:rect l="l" t="t" r="r" b="b"/>
              <a:pathLst>
                <a:path w="113665" h="157479">
                  <a:moveTo>
                    <a:pt x="1444" y="0"/>
                  </a:moveTo>
                  <a:lnTo>
                    <a:pt x="0" y="92562"/>
                  </a:lnTo>
                  <a:lnTo>
                    <a:pt x="111849" y="157419"/>
                  </a:lnTo>
                  <a:lnTo>
                    <a:pt x="113064" y="64354"/>
                  </a:lnTo>
                  <a:lnTo>
                    <a:pt x="1444" y="0"/>
                  </a:lnTo>
                  <a:close/>
                </a:path>
              </a:pathLst>
            </a:custGeom>
            <a:solidFill>
              <a:srgbClr val="8FBBD8"/>
            </a:solidFill>
          </p:spPr>
          <p:txBody>
            <a:bodyPr wrap="square" lIns="0" tIns="0" rIns="0" bIns="0" rtlCol="0"/>
            <a:lstStyle/>
            <a:p>
              <a:endParaRPr sz="1092" dirty="0"/>
            </a:p>
          </p:txBody>
        </p:sp>
        <p:sp>
          <p:nvSpPr>
            <p:cNvPr id="464" name="object 464"/>
            <p:cNvSpPr/>
            <p:nvPr/>
          </p:nvSpPr>
          <p:spPr>
            <a:xfrm>
              <a:off x="5852250" y="3933625"/>
              <a:ext cx="66616" cy="93186"/>
            </a:xfrm>
            <a:custGeom>
              <a:avLst/>
              <a:gdLst/>
              <a:ahLst/>
              <a:cxnLst/>
              <a:rect l="l" t="t" r="r" b="b"/>
              <a:pathLst>
                <a:path w="109854" h="153670">
                  <a:moveTo>
                    <a:pt x="1214" y="0"/>
                  </a:moveTo>
                  <a:lnTo>
                    <a:pt x="0" y="92792"/>
                  </a:lnTo>
                  <a:lnTo>
                    <a:pt x="108237" y="153293"/>
                  </a:lnTo>
                  <a:lnTo>
                    <a:pt x="109441" y="60500"/>
                  </a:lnTo>
                  <a:lnTo>
                    <a:pt x="1214" y="0"/>
                  </a:lnTo>
                  <a:close/>
                </a:path>
              </a:pathLst>
            </a:custGeom>
            <a:solidFill>
              <a:srgbClr val="8FBBD8"/>
            </a:solidFill>
          </p:spPr>
          <p:txBody>
            <a:bodyPr wrap="square" lIns="0" tIns="0" rIns="0" bIns="0" rtlCol="0"/>
            <a:lstStyle/>
            <a:p>
              <a:endParaRPr sz="1092" dirty="0"/>
            </a:p>
          </p:txBody>
        </p:sp>
        <p:sp>
          <p:nvSpPr>
            <p:cNvPr id="465" name="object 465"/>
            <p:cNvSpPr/>
            <p:nvPr/>
          </p:nvSpPr>
          <p:spPr>
            <a:xfrm>
              <a:off x="5945510" y="3990339"/>
              <a:ext cx="66616" cy="93186"/>
            </a:xfrm>
            <a:custGeom>
              <a:avLst/>
              <a:gdLst/>
              <a:ahLst/>
              <a:cxnLst/>
              <a:rect l="l" t="t" r="r" b="b"/>
              <a:pathLst>
                <a:path w="109854" h="153670">
                  <a:moveTo>
                    <a:pt x="1444" y="0"/>
                  </a:moveTo>
                  <a:lnTo>
                    <a:pt x="0" y="92562"/>
                  </a:lnTo>
                  <a:lnTo>
                    <a:pt x="108467" y="153293"/>
                  </a:lnTo>
                  <a:lnTo>
                    <a:pt x="109682" y="60259"/>
                  </a:lnTo>
                  <a:lnTo>
                    <a:pt x="1444" y="0"/>
                  </a:lnTo>
                  <a:close/>
                </a:path>
              </a:pathLst>
            </a:custGeom>
            <a:solidFill>
              <a:srgbClr val="8FBBD8"/>
            </a:solidFill>
          </p:spPr>
          <p:txBody>
            <a:bodyPr wrap="square" lIns="0" tIns="0" rIns="0" bIns="0" rtlCol="0"/>
            <a:lstStyle/>
            <a:p>
              <a:endParaRPr sz="1092" dirty="0"/>
            </a:p>
          </p:txBody>
        </p:sp>
        <p:sp>
          <p:nvSpPr>
            <p:cNvPr id="466" name="object 466"/>
            <p:cNvSpPr/>
            <p:nvPr/>
          </p:nvSpPr>
          <p:spPr>
            <a:xfrm>
              <a:off x="5755048" y="3877196"/>
              <a:ext cx="68541" cy="93186"/>
            </a:xfrm>
            <a:custGeom>
              <a:avLst/>
              <a:gdLst/>
              <a:ahLst/>
              <a:cxnLst/>
              <a:rect l="l" t="t" r="r" b="b"/>
              <a:pathLst>
                <a:path w="113029" h="153670">
                  <a:moveTo>
                    <a:pt x="1444" y="0"/>
                  </a:moveTo>
                  <a:lnTo>
                    <a:pt x="0" y="92562"/>
                  </a:lnTo>
                  <a:lnTo>
                    <a:pt x="111117" y="153063"/>
                  </a:lnTo>
                  <a:lnTo>
                    <a:pt x="112562" y="60029"/>
                  </a:lnTo>
                  <a:lnTo>
                    <a:pt x="1444" y="0"/>
                  </a:lnTo>
                  <a:close/>
                </a:path>
              </a:pathLst>
            </a:custGeom>
            <a:solidFill>
              <a:srgbClr val="8FBBD8"/>
            </a:solidFill>
          </p:spPr>
          <p:txBody>
            <a:bodyPr wrap="square" lIns="0" tIns="0" rIns="0" bIns="0" rtlCol="0"/>
            <a:lstStyle/>
            <a:p>
              <a:endParaRPr sz="1092" dirty="0"/>
            </a:p>
          </p:txBody>
        </p:sp>
        <p:sp>
          <p:nvSpPr>
            <p:cNvPr id="467" name="object 467"/>
            <p:cNvSpPr/>
            <p:nvPr/>
          </p:nvSpPr>
          <p:spPr>
            <a:xfrm>
              <a:off x="5667193" y="3822824"/>
              <a:ext cx="68926" cy="95496"/>
            </a:xfrm>
            <a:custGeom>
              <a:avLst/>
              <a:gdLst/>
              <a:ahLst/>
              <a:cxnLst/>
              <a:rect l="l" t="t" r="r" b="b"/>
              <a:pathLst>
                <a:path w="113665" h="157479">
                  <a:moveTo>
                    <a:pt x="1444" y="0"/>
                  </a:moveTo>
                  <a:lnTo>
                    <a:pt x="0" y="92562"/>
                  </a:lnTo>
                  <a:lnTo>
                    <a:pt x="111849" y="157387"/>
                  </a:lnTo>
                  <a:lnTo>
                    <a:pt x="113064" y="64354"/>
                  </a:lnTo>
                  <a:lnTo>
                    <a:pt x="1444" y="0"/>
                  </a:lnTo>
                  <a:close/>
                </a:path>
              </a:pathLst>
            </a:custGeom>
            <a:solidFill>
              <a:srgbClr val="8FBBD8"/>
            </a:solidFill>
          </p:spPr>
          <p:txBody>
            <a:bodyPr wrap="square" lIns="0" tIns="0" rIns="0" bIns="0" rtlCol="0"/>
            <a:lstStyle/>
            <a:p>
              <a:endParaRPr sz="1092" dirty="0"/>
            </a:p>
          </p:txBody>
        </p:sp>
        <p:sp>
          <p:nvSpPr>
            <p:cNvPr id="468" name="object 468"/>
            <p:cNvSpPr/>
            <p:nvPr/>
          </p:nvSpPr>
          <p:spPr>
            <a:xfrm>
              <a:off x="6134805" y="3743299"/>
              <a:ext cx="71622" cy="105123"/>
            </a:xfrm>
            <a:custGeom>
              <a:avLst/>
              <a:gdLst/>
              <a:ahLst/>
              <a:cxnLst/>
              <a:rect l="l" t="t" r="r" b="b"/>
              <a:pathLst>
                <a:path w="118109" h="173354">
                  <a:moveTo>
                    <a:pt x="117629" y="0"/>
                  </a:moveTo>
                  <a:lnTo>
                    <a:pt x="0" y="63631"/>
                  </a:lnTo>
                  <a:lnTo>
                    <a:pt x="0" y="172832"/>
                  </a:lnTo>
                  <a:lnTo>
                    <a:pt x="117629" y="109200"/>
                  </a:lnTo>
                  <a:lnTo>
                    <a:pt x="117629" y="0"/>
                  </a:lnTo>
                  <a:close/>
                </a:path>
              </a:pathLst>
            </a:custGeom>
            <a:solidFill>
              <a:srgbClr val="6F94A5"/>
            </a:solidFill>
          </p:spPr>
          <p:txBody>
            <a:bodyPr wrap="square" lIns="0" tIns="0" rIns="0" bIns="0" rtlCol="0"/>
            <a:lstStyle/>
            <a:p>
              <a:endParaRPr sz="1092" dirty="0"/>
            </a:p>
          </p:txBody>
        </p:sp>
        <p:sp>
          <p:nvSpPr>
            <p:cNvPr id="469" name="object 469"/>
            <p:cNvSpPr/>
            <p:nvPr/>
          </p:nvSpPr>
          <p:spPr>
            <a:xfrm>
              <a:off x="6234936" y="3690242"/>
              <a:ext cx="71622" cy="104738"/>
            </a:xfrm>
            <a:custGeom>
              <a:avLst/>
              <a:gdLst/>
              <a:ahLst/>
              <a:cxnLst/>
              <a:rect l="l" t="t" r="r" b="b"/>
              <a:pathLst>
                <a:path w="118109" h="172720">
                  <a:moveTo>
                    <a:pt x="117629" y="0"/>
                  </a:moveTo>
                  <a:lnTo>
                    <a:pt x="0" y="63149"/>
                  </a:lnTo>
                  <a:lnTo>
                    <a:pt x="0" y="172591"/>
                  </a:lnTo>
                  <a:lnTo>
                    <a:pt x="117399" y="109200"/>
                  </a:lnTo>
                  <a:lnTo>
                    <a:pt x="117629" y="0"/>
                  </a:lnTo>
                  <a:close/>
                </a:path>
              </a:pathLst>
            </a:custGeom>
            <a:solidFill>
              <a:srgbClr val="6F94A5"/>
            </a:solidFill>
          </p:spPr>
          <p:txBody>
            <a:bodyPr wrap="square" lIns="0" tIns="0" rIns="0" bIns="0" rtlCol="0"/>
            <a:lstStyle/>
            <a:p>
              <a:endParaRPr sz="1092" dirty="0"/>
            </a:p>
          </p:txBody>
        </p:sp>
        <p:sp>
          <p:nvSpPr>
            <p:cNvPr id="470" name="object 470"/>
            <p:cNvSpPr/>
            <p:nvPr/>
          </p:nvSpPr>
          <p:spPr>
            <a:xfrm>
              <a:off x="6334482" y="3629428"/>
              <a:ext cx="71622" cy="105123"/>
            </a:xfrm>
            <a:custGeom>
              <a:avLst/>
              <a:gdLst/>
              <a:ahLst/>
              <a:cxnLst/>
              <a:rect l="l" t="t" r="r" b="b"/>
              <a:pathLst>
                <a:path w="118109" h="173354">
                  <a:moveTo>
                    <a:pt x="117860" y="0"/>
                  </a:moveTo>
                  <a:lnTo>
                    <a:pt x="0" y="63642"/>
                  </a:lnTo>
                  <a:lnTo>
                    <a:pt x="0" y="172832"/>
                  </a:lnTo>
                  <a:lnTo>
                    <a:pt x="117860" y="109441"/>
                  </a:lnTo>
                  <a:lnTo>
                    <a:pt x="117860" y="0"/>
                  </a:lnTo>
                  <a:close/>
                </a:path>
              </a:pathLst>
            </a:custGeom>
            <a:solidFill>
              <a:srgbClr val="6F94A5"/>
            </a:solidFill>
          </p:spPr>
          <p:txBody>
            <a:bodyPr wrap="square" lIns="0" tIns="0" rIns="0" bIns="0" rtlCol="0"/>
            <a:lstStyle/>
            <a:p>
              <a:endParaRPr sz="1092" dirty="0"/>
            </a:p>
          </p:txBody>
        </p:sp>
        <p:sp>
          <p:nvSpPr>
            <p:cNvPr id="471" name="object 471"/>
            <p:cNvSpPr/>
            <p:nvPr/>
          </p:nvSpPr>
          <p:spPr>
            <a:xfrm>
              <a:off x="6435925" y="3571989"/>
              <a:ext cx="71622" cy="104738"/>
            </a:xfrm>
            <a:custGeom>
              <a:avLst/>
              <a:gdLst/>
              <a:ahLst/>
              <a:cxnLst/>
              <a:rect l="l" t="t" r="r" b="b"/>
              <a:pathLst>
                <a:path w="118109" h="172720">
                  <a:moveTo>
                    <a:pt x="117881" y="0"/>
                  </a:moveTo>
                  <a:lnTo>
                    <a:pt x="0" y="63139"/>
                  </a:lnTo>
                  <a:lnTo>
                    <a:pt x="0" y="172581"/>
                  </a:lnTo>
                  <a:lnTo>
                    <a:pt x="117629" y="109190"/>
                  </a:lnTo>
                  <a:lnTo>
                    <a:pt x="117881" y="0"/>
                  </a:lnTo>
                  <a:close/>
                </a:path>
              </a:pathLst>
            </a:custGeom>
            <a:solidFill>
              <a:srgbClr val="6F94A5"/>
            </a:solidFill>
          </p:spPr>
          <p:txBody>
            <a:bodyPr wrap="square" lIns="0" tIns="0" rIns="0" bIns="0" rtlCol="0"/>
            <a:lstStyle/>
            <a:p>
              <a:endParaRPr sz="1092" dirty="0"/>
            </a:p>
          </p:txBody>
        </p:sp>
        <p:sp>
          <p:nvSpPr>
            <p:cNvPr id="472" name="object 472"/>
            <p:cNvSpPr/>
            <p:nvPr/>
          </p:nvSpPr>
          <p:spPr>
            <a:xfrm>
              <a:off x="6134805" y="3852201"/>
              <a:ext cx="71622" cy="105123"/>
            </a:xfrm>
            <a:custGeom>
              <a:avLst/>
              <a:gdLst/>
              <a:ahLst/>
              <a:cxnLst/>
              <a:rect l="l" t="t" r="r" b="b"/>
              <a:pathLst>
                <a:path w="118109" h="173354">
                  <a:moveTo>
                    <a:pt x="117629" y="0"/>
                  </a:moveTo>
                  <a:lnTo>
                    <a:pt x="0" y="63631"/>
                  </a:lnTo>
                  <a:lnTo>
                    <a:pt x="0" y="172832"/>
                  </a:lnTo>
                  <a:lnTo>
                    <a:pt x="117629" y="109441"/>
                  </a:lnTo>
                  <a:lnTo>
                    <a:pt x="117629" y="0"/>
                  </a:lnTo>
                  <a:close/>
                </a:path>
              </a:pathLst>
            </a:custGeom>
            <a:solidFill>
              <a:srgbClr val="6F94A5"/>
            </a:solidFill>
          </p:spPr>
          <p:txBody>
            <a:bodyPr wrap="square" lIns="0" tIns="0" rIns="0" bIns="0" rtlCol="0"/>
            <a:lstStyle/>
            <a:p>
              <a:endParaRPr sz="1092" dirty="0"/>
            </a:p>
          </p:txBody>
        </p:sp>
        <p:sp>
          <p:nvSpPr>
            <p:cNvPr id="473" name="object 473"/>
            <p:cNvSpPr/>
            <p:nvPr/>
          </p:nvSpPr>
          <p:spPr>
            <a:xfrm>
              <a:off x="6234936" y="3798981"/>
              <a:ext cx="71622" cy="104738"/>
            </a:xfrm>
            <a:custGeom>
              <a:avLst/>
              <a:gdLst/>
              <a:ahLst/>
              <a:cxnLst/>
              <a:rect l="l" t="t" r="r" b="b"/>
              <a:pathLst>
                <a:path w="118109" h="172720">
                  <a:moveTo>
                    <a:pt x="117629" y="0"/>
                  </a:moveTo>
                  <a:lnTo>
                    <a:pt x="0" y="63422"/>
                  </a:lnTo>
                  <a:lnTo>
                    <a:pt x="0" y="172602"/>
                  </a:lnTo>
                  <a:lnTo>
                    <a:pt x="117399" y="109441"/>
                  </a:lnTo>
                  <a:lnTo>
                    <a:pt x="117629" y="0"/>
                  </a:lnTo>
                  <a:close/>
                </a:path>
              </a:pathLst>
            </a:custGeom>
            <a:solidFill>
              <a:srgbClr val="6F94A5"/>
            </a:solidFill>
          </p:spPr>
          <p:txBody>
            <a:bodyPr wrap="square" lIns="0" tIns="0" rIns="0" bIns="0" rtlCol="0"/>
            <a:lstStyle/>
            <a:p>
              <a:endParaRPr sz="1092" dirty="0"/>
            </a:p>
          </p:txBody>
        </p:sp>
        <p:sp>
          <p:nvSpPr>
            <p:cNvPr id="474" name="object 474"/>
            <p:cNvSpPr/>
            <p:nvPr/>
          </p:nvSpPr>
          <p:spPr>
            <a:xfrm>
              <a:off x="6334482" y="3738331"/>
              <a:ext cx="71622" cy="105123"/>
            </a:xfrm>
            <a:custGeom>
              <a:avLst/>
              <a:gdLst/>
              <a:ahLst/>
              <a:cxnLst/>
              <a:rect l="l" t="t" r="r" b="b"/>
              <a:pathLst>
                <a:path w="118109" h="173354">
                  <a:moveTo>
                    <a:pt x="117860" y="0"/>
                  </a:moveTo>
                  <a:lnTo>
                    <a:pt x="0" y="63631"/>
                  </a:lnTo>
                  <a:lnTo>
                    <a:pt x="0" y="172832"/>
                  </a:lnTo>
                  <a:lnTo>
                    <a:pt x="117860" y="109441"/>
                  </a:lnTo>
                  <a:lnTo>
                    <a:pt x="117860" y="0"/>
                  </a:lnTo>
                  <a:close/>
                </a:path>
              </a:pathLst>
            </a:custGeom>
            <a:solidFill>
              <a:srgbClr val="6F94A5"/>
            </a:solidFill>
          </p:spPr>
          <p:txBody>
            <a:bodyPr wrap="square" lIns="0" tIns="0" rIns="0" bIns="0" rtlCol="0"/>
            <a:lstStyle/>
            <a:p>
              <a:endParaRPr sz="1092" dirty="0"/>
            </a:p>
          </p:txBody>
        </p:sp>
        <p:sp>
          <p:nvSpPr>
            <p:cNvPr id="475" name="object 475"/>
            <p:cNvSpPr/>
            <p:nvPr/>
          </p:nvSpPr>
          <p:spPr>
            <a:xfrm>
              <a:off x="6435925" y="3680881"/>
              <a:ext cx="71622" cy="104738"/>
            </a:xfrm>
            <a:custGeom>
              <a:avLst/>
              <a:gdLst/>
              <a:ahLst/>
              <a:cxnLst/>
              <a:rect l="l" t="t" r="r" b="b"/>
              <a:pathLst>
                <a:path w="118109" h="172720">
                  <a:moveTo>
                    <a:pt x="117881" y="0"/>
                  </a:moveTo>
                  <a:lnTo>
                    <a:pt x="0" y="63160"/>
                  </a:lnTo>
                  <a:lnTo>
                    <a:pt x="0" y="172350"/>
                  </a:lnTo>
                  <a:lnTo>
                    <a:pt x="117629" y="109200"/>
                  </a:lnTo>
                  <a:lnTo>
                    <a:pt x="117881" y="0"/>
                  </a:lnTo>
                  <a:close/>
                </a:path>
              </a:pathLst>
            </a:custGeom>
            <a:solidFill>
              <a:srgbClr val="6F94A5"/>
            </a:solidFill>
          </p:spPr>
          <p:txBody>
            <a:bodyPr wrap="square" lIns="0" tIns="0" rIns="0" bIns="0" rtlCol="0"/>
            <a:lstStyle/>
            <a:p>
              <a:endParaRPr sz="1092" dirty="0"/>
            </a:p>
          </p:txBody>
        </p:sp>
        <p:sp>
          <p:nvSpPr>
            <p:cNvPr id="476" name="object 476"/>
            <p:cNvSpPr/>
            <p:nvPr/>
          </p:nvSpPr>
          <p:spPr>
            <a:xfrm>
              <a:off x="6134805" y="3963727"/>
              <a:ext cx="71622" cy="104738"/>
            </a:xfrm>
            <a:custGeom>
              <a:avLst/>
              <a:gdLst/>
              <a:ahLst/>
              <a:cxnLst/>
              <a:rect l="l" t="t" r="r" b="b"/>
              <a:pathLst>
                <a:path w="118109" h="172720">
                  <a:moveTo>
                    <a:pt x="117629" y="0"/>
                  </a:moveTo>
                  <a:lnTo>
                    <a:pt x="0" y="63160"/>
                  </a:lnTo>
                  <a:lnTo>
                    <a:pt x="0" y="172602"/>
                  </a:lnTo>
                  <a:lnTo>
                    <a:pt x="117629" y="109211"/>
                  </a:lnTo>
                  <a:lnTo>
                    <a:pt x="117629" y="0"/>
                  </a:lnTo>
                  <a:close/>
                </a:path>
              </a:pathLst>
            </a:custGeom>
            <a:solidFill>
              <a:srgbClr val="6F94A5"/>
            </a:solidFill>
          </p:spPr>
          <p:txBody>
            <a:bodyPr wrap="square" lIns="0" tIns="0" rIns="0" bIns="0" rtlCol="0"/>
            <a:lstStyle/>
            <a:p>
              <a:endParaRPr sz="1092" dirty="0"/>
            </a:p>
          </p:txBody>
        </p:sp>
        <p:sp>
          <p:nvSpPr>
            <p:cNvPr id="477" name="object 477"/>
            <p:cNvSpPr/>
            <p:nvPr/>
          </p:nvSpPr>
          <p:spPr>
            <a:xfrm>
              <a:off x="6234936" y="3910526"/>
              <a:ext cx="71622" cy="104738"/>
            </a:xfrm>
            <a:custGeom>
              <a:avLst/>
              <a:gdLst/>
              <a:ahLst/>
              <a:cxnLst/>
              <a:rect l="l" t="t" r="r" b="b"/>
              <a:pathLst>
                <a:path w="118109" h="172720">
                  <a:moveTo>
                    <a:pt x="117629" y="0"/>
                  </a:moveTo>
                  <a:lnTo>
                    <a:pt x="0" y="63401"/>
                  </a:lnTo>
                  <a:lnTo>
                    <a:pt x="0" y="172340"/>
                  </a:lnTo>
                  <a:lnTo>
                    <a:pt x="117399" y="108949"/>
                  </a:lnTo>
                  <a:lnTo>
                    <a:pt x="117629" y="0"/>
                  </a:lnTo>
                  <a:close/>
                </a:path>
              </a:pathLst>
            </a:custGeom>
            <a:solidFill>
              <a:srgbClr val="6F94A5"/>
            </a:solidFill>
          </p:spPr>
          <p:txBody>
            <a:bodyPr wrap="square" lIns="0" tIns="0" rIns="0" bIns="0" rtlCol="0"/>
            <a:lstStyle/>
            <a:p>
              <a:endParaRPr sz="1092" dirty="0"/>
            </a:p>
          </p:txBody>
        </p:sp>
        <p:sp>
          <p:nvSpPr>
            <p:cNvPr id="478" name="object 478"/>
            <p:cNvSpPr/>
            <p:nvPr/>
          </p:nvSpPr>
          <p:spPr>
            <a:xfrm>
              <a:off x="6334482" y="3849857"/>
              <a:ext cx="71622" cy="104738"/>
            </a:xfrm>
            <a:custGeom>
              <a:avLst/>
              <a:gdLst/>
              <a:ahLst/>
              <a:cxnLst/>
              <a:rect l="l" t="t" r="r" b="b"/>
              <a:pathLst>
                <a:path w="118109" h="172720">
                  <a:moveTo>
                    <a:pt x="117860" y="0"/>
                  </a:moveTo>
                  <a:lnTo>
                    <a:pt x="0" y="63401"/>
                  </a:lnTo>
                  <a:lnTo>
                    <a:pt x="0" y="172602"/>
                  </a:lnTo>
                  <a:lnTo>
                    <a:pt x="117860" y="109211"/>
                  </a:lnTo>
                  <a:lnTo>
                    <a:pt x="117860" y="0"/>
                  </a:lnTo>
                  <a:close/>
                </a:path>
              </a:pathLst>
            </a:custGeom>
            <a:solidFill>
              <a:srgbClr val="6F94A5"/>
            </a:solidFill>
          </p:spPr>
          <p:txBody>
            <a:bodyPr wrap="square" lIns="0" tIns="0" rIns="0" bIns="0" rtlCol="0"/>
            <a:lstStyle/>
            <a:p>
              <a:endParaRPr sz="1092" dirty="0"/>
            </a:p>
          </p:txBody>
        </p:sp>
        <p:sp>
          <p:nvSpPr>
            <p:cNvPr id="479" name="object 479"/>
            <p:cNvSpPr/>
            <p:nvPr/>
          </p:nvSpPr>
          <p:spPr>
            <a:xfrm>
              <a:off x="6435925" y="3792118"/>
              <a:ext cx="71622" cy="105123"/>
            </a:xfrm>
            <a:custGeom>
              <a:avLst/>
              <a:gdLst/>
              <a:ahLst/>
              <a:cxnLst/>
              <a:rect l="l" t="t" r="r" b="b"/>
              <a:pathLst>
                <a:path w="118109" h="173354">
                  <a:moveTo>
                    <a:pt x="117881" y="0"/>
                  </a:moveTo>
                  <a:lnTo>
                    <a:pt x="0" y="63652"/>
                  </a:lnTo>
                  <a:lnTo>
                    <a:pt x="0" y="172832"/>
                  </a:lnTo>
                  <a:lnTo>
                    <a:pt x="117629" y="109441"/>
                  </a:lnTo>
                  <a:lnTo>
                    <a:pt x="117881" y="0"/>
                  </a:lnTo>
                  <a:close/>
                </a:path>
              </a:pathLst>
            </a:custGeom>
            <a:solidFill>
              <a:srgbClr val="6F94A5"/>
            </a:solidFill>
          </p:spPr>
          <p:txBody>
            <a:bodyPr wrap="square" lIns="0" tIns="0" rIns="0" bIns="0" rtlCol="0"/>
            <a:lstStyle/>
            <a:p>
              <a:endParaRPr sz="1092" dirty="0"/>
            </a:p>
          </p:txBody>
        </p:sp>
        <p:sp>
          <p:nvSpPr>
            <p:cNvPr id="480" name="object 480"/>
            <p:cNvSpPr/>
            <p:nvPr/>
          </p:nvSpPr>
          <p:spPr>
            <a:xfrm>
              <a:off x="5625093" y="2800186"/>
              <a:ext cx="941868" cy="534470"/>
            </a:xfrm>
            <a:custGeom>
              <a:avLst/>
              <a:gdLst/>
              <a:ahLst/>
              <a:cxnLst/>
              <a:rect l="l" t="t" r="r" b="b"/>
              <a:pathLst>
                <a:path w="1553209" h="881379">
                  <a:moveTo>
                    <a:pt x="835723" y="0"/>
                  </a:moveTo>
                  <a:lnTo>
                    <a:pt x="0" y="466184"/>
                  </a:lnTo>
                  <a:lnTo>
                    <a:pt x="717862" y="881282"/>
                  </a:lnTo>
                  <a:lnTo>
                    <a:pt x="1552853" y="401349"/>
                  </a:lnTo>
                  <a:lnTo>
                    <a:pt x="835723" y="0"/>
                  </a:lnTo>
                  <a:close/>
                </a:path>
              </a:pathLst>
            </a:custGeom>
            <a:solidFill>
              <a:srgbClr val="C4D0D9"/>
            </a:solidFill>
          </p:spPr>
          <p:txBody>
            <a:bodyPr wrap="square" lIns="0" tIns="0" rIns="0" bIns="0" rtlCol="0"/>
            <a:lstStyle/>
            <a:p>
              <a:endParaRPr sz="1092" dirty="0"/>
            </a:p>
          </p:txBody>
        </p:sp>
        <p:sp>
          <p:nvSpPr>
            <p:cNvPr id="481" name="object 481"/>
            <p:cNvSpPr/>
            <p:nvPr/>
          </p:nvSpPr>
          <p:spPr>
            <a:xfrm>
              <a:off x="5693508" y="2840677"/>
              <a:ext cx="810561" cy="455916"/>
            </a:xfrm>
            <a:custGeom>
              <a:avLst/>
              <a:gdLst/>
              <a:ahLst/>
              <a:cxnLst/>
              <a:rect l="l" t="t" r="r" b="b"/>
              <a:pathLst>
                <a:path w="1336675" h="751839">
                  <a:moveTo>
                    <a:pt x="726292" y="0"/>
                  </a:moveTo>
                  <a:lnTo>
                    <a:pt x="0" y="398207"/>
                  </a:lnTo>
                  <a:lnTo>
                    <a:pt x="610819" y="751600"/>
                  </a:lnTo>
                  <a:lnTo>
                    <a:pt x="1336388" y="337717"/>
                  </a:lnTo>
                  <a:lnTo>
                    <a:pt x="726292" y="0"/>
                  </a:lnTo>
                  <a:close/>
                </a:path>
              </a:pathLst>
            </a:custGeom>
            <a:solidFill>
              <a:srgbClr val="FFFFFF"/>
            </a:solidFill>
          </p:spPr>
          <p:txBody>
            <a:bodyPr wrap="square" lIns="0" tIns="0" rIns="0" bIns="0" rtlCol="0"/>
            <a:lstStyle/>
            <a:p>
              <a:endParaRPr sz="1092" dirty="0"/>
            </a:p>
          </p:txBody>
        </p:sp>
        <p:sp>
          <p:nvSpPr>
            <p:cNvPr id="482" name="object 482"/>
            <p:cNvSpPr/>
            <p:nvPr/>
          </p:nvSpPr>
          <p:spPr>
            <a:xfrm>
              <a:off x="5626124" y="3081276"/>
              <a:ext cx="435508" cy="695812"/>
            </a:xfrm>
            <a:custGeom>
              <a:avLst/>
              <a:gdLst/>
              <a:ahLst/>
              <a:cxnLst/>
              <a:rect l="l" t="t" r="r" b="b"/>
              <a:pathLst>
                <a:path w="718184" h="1147445">
                  <a:moveTo>
                    <a:pt x="0" y="0"/>
                  </a:moveTo>
                  <a:lnTo>
                    <a:pt x="2167" y="748228"/>
                  </a:lnTo>
                  <a:lnTo>
                    <a:pt x="713988" y="1147158"/>
                  </a:lnTo>
                  <a:lnTo>
                    <a:pt x="717611" y="415097"/>
                  </a:lnTo>
                  <a:lnTo>
                    <a:pt x="0" y="0"/>
                  </a:lnTo>
                  <a:close/>
                </a:path>
              </a:pathLst>
            </a:custGeom>
            <a:solidFill>
              <a:srgbClr val="F2F5FF"/>
            </a:solidFill>
          </p:spPr>
          <p:txBody>
            <a:bodyPr wrap="square" lIns="0" tIns="0" rIns="0" bIns="0" rtlCol="0"/>
            <a:lstStyle/>
            <a:p>
              <a:endParaRPr sz="1092" dirty="0"/>
            </a:p>
          </p:txBody>
        </p:sp>
        <p:sp>
          <p:nvSpPr>
            <p:cNvPr id="483" name="object 483"/>
            <p:cNvSpPr/>
            <p:nvPr/>
          </p:nvSpPr>
          <p:spPr>
            <a:xfrm>
              <a:off x="6058208" y="3043565"/>
              <a:ext cx="508670" cy="735473"/>
            </a:xfrm>
            <a:custGeom>
              <a:avLst/>
              <a:gdLst/>
              <a:ahLst/>
              <a:cxnLst/>
              <a:rect l="l" t="t" r="r" b="b"/>
              <a:pathLst>
                <a:path w="838834" h="1212850">
                  <a:moveTo>
                    <a:pt x="838623" y="0"/>
                  </a:moveTo>
                  <a:lnTo>
                    <a:pt x="3622" y="479933"/>
                  </a:lnTo>
                  <a:lnTo>
                    <a:pt x="0" y="1212245"/>
                  </a:lnTo>
                  <a:lnTo>
                    <a:pt x="835000" y="732804"/>
                  </a:lnTo>
                  <a:lnTo>
                    <a:pt x="838623" y="0"/>
                  </a:lnTo>
                  <a:close/>
                </a:path>
              </a:pathLst>
            </a:custGeom>
            <a:solidFill>
              <a:srgbClr val="BCC5DC"/>
            </a:solidFill>
          </p:spPr>
          <p:txBody>
            <a:bodyPr wrap="square" lIns="0" tIns="0" rIns="0" bIns="0" rtlCol="0"/>
            <a:lstStyle/>
            <a:p>
              <a:endParaRPr sz="1092" dirty="0"/>
            </a:p>
          </p:txBody>
        </p:sp>
        <p:sp>
          <p:nvSpPr>
            <p:cNvPr id="484" name="object 484"/>
            <p:cNvSpPr/>
            <p:nvPr/>
          </p:nvSpPr>
          <p:spPr>
            <a:xfrm>
              <a:off x="5852250" y="3300245"/>
              <a:ext cx="66616" cy="93186"/>
            </a:xfrm>
            <a:custGeom>
              <a:avLst/>
              <a:gdLst/>
              <a:ahLst/>
              <a:cxnLst/>
              <a:rect l="l" t="t" r="r" b="b"/>
              <a:pathLst>
                <a:path w="109854" h="153670">
                  <a:moveTo>
                    <a:pt x="1214" y="0"/>
                  </a:moveTo>
                  <a:lnTo>
                    <a:pt x="0" y="92573"/>
                  </a:lnTo>
                  <a:lnTo>
                    <a:pt x="108237" y="153073"/>
                  </a:lnTo>
                  <a:lnTo>
                    <a:pt x="109441" y="60029"/>
                  </a:lnTo>
                  <a:lnTo>
                    <a:pt x="1214" y="0"/>
                  </a:lnTo>
                  <a:close/>
                </a:path>
              </a:pathLst>
            </a:custGeom>
            <a:solidFill>
              <a:srgbClr val="8FBBD8"/>
            </a:solidFill>
          </p:spPr>
          <p:txBody>
            <a:bodyPr wrap="square" lIns="0" tIns="0" rIns="0" bIns="0" rtlCol="0"/>
            <a:lstStyle/>
            <a:p>
              <a:endParaRPr sz="1092" dirty="0"/>
            </a:p>
          </p:txBody>
        </p:sp>
        <p:sp>
          <p:nvSpPr>
            <p:cNvPr id="485" name="object 485"/>
            <p:cNvSpPr/>
            <p:nvPr/>
          </p:nvSpPr>
          <p:spPr>
            <a:xfrm>
              <a:off x="5945510" y="3356815"/>
              <a:ext cx="66616" cy="93186"/>
            </a:xfrm>
            <a:custGeom>
              <a:avLst/>
              <a:gdLst/>
              <a:ahLst/>
              <a:cxnLst/>
              <a:rect l="l" t="t" r="r" b="b"/>
              <a:pathLst>
                <a:path w="109854" h="153670">
                  <a:moveTo>
                    <a:pt x="1444" y="0"/>
                  </a:moveTo>
                  <a:lnTo>
                    <a:pt x="0" y="92562"/>
                  </a:lnTo>
                  <a:lnTo>
                    <a:pt x="108467" y="153304"/>
                  </a:lnTo>
                  <a:lnTo>
                    <a:pt x="109682" y="60259"/>
                  </a:lnTo>
                  <a:lnTo>
                    <a:pt x="1444" y="0"/>
                  </a:lnTo>
                  <a:close/>
                </a:path>
              </a:pathLst>
            </a:custGeom>
            <a:solidFill>
              <a:srgbClr val="8FBBD8"/>
            </a:solidFill>
          </p:spPr>
          <p:txBody>
            <a:bodyPr wrap="square" lIns="0" tIns="0" rIns="0" bIns="0" rtlCol="0"/>
            <a:lstStyle/>
            <a:p>
              <a:endParaRPr sz="1092" dirty="0"/>
            </a:p>
          </p:txBody>
        </p:sp>
        <p:sp>
          <p:nvSpPr>
            <p:cNvPr id="486" name="object 486"/>
            <p:cNvSpPr/>
            <p:nvPr/>
          </p:nvSpPr>
          <p:spPr>
            <a:xfrm>
              <a:off x="5755048" y="3243823"/>
              <a:ext cx="68541" cy="92801"/>
            </a:xfrm>
            <a:custGeom>
              <a:avLst/>
              <a:gdLst/>
              <a:ahLst/>
              <a:cxnLst/>
              <a:rect l="l" t="t" r="r" b="b"/>
              <a:pathLst>
                <a:path w="113029" h="153035">
                  <a:moveTo>
                    <a:pt x="1444" y="0"/>
                  </a:moveTo>
                  <a:lnTo>
                    <a:pt x="0" y="92321"/>
                  </a:lnTo>
                  <a:lnTo>
                    <a:pt x="111117" y="152822"/>
                  </a:lnTo>
                  <a:lnTo>
                    <a:pt x="112562" y="60019"/>
                  </a:lnTo>
                  <a:lnTo>
                    <a:pt x="1444" y="0"/>
                  </a:lnTo>
                  <a:close/>
                </a:path>
              </a:pathLst>
            </a:custGeom>
            <a:solidFill>
              <a:srgbClr val="8FBBD8"/>
            </a:solidFill>
          </p:spPr>
          <p:txBody>
            <a:bodyPr wrap="square" lIns="0" tIns="0" rIns="0" bIns="0" rtlCol="0"/>
            <a:lstStyle/>
            <a:p>
              <a:endParaRPr sz="1092" dirty="0"/>
            </a:p>
          </p:txBody>
        </p:sp>
        <p:sp>
          <p:nvSpPr>
            <p:cNvPr id="487" name="object 487"/>
            <p:cNvSpPr/>
            <p:nvPr/>
          </p:nvSpPr>
          <p:spPr>
            <a:xfrm>
              <a:off x="5667193" y="3189301"/>
              <a:ext cx="68926" cy="95496"/>
            </a:xfrm>
            <a:custGeom>
              <a:avLst/>
              <a:gdLst/>
              <a:ahLst/>
              <a:cxnLst/>
              <a:rect l="l" t="t" r="r" b="b"/>
              <a:pathLst>
                <a:path w="113665" h="157479">
                  <a:moveTo>
                    <a:pt x="1444" y="0"/>
                  </a:moveTo>
                  <a:lnTo>
                    <a:pt x="0" y="92562"/>
                  </a:lnTo>
                  <a:lnTo>
                    <a:pt x="111849" y="157398"/>
                  </a:lnTo>
                  <a:lnTo>
                    <a:pt x="113064" y="64123"/>
                  </a:lnTo>
                  <a:lnTo>
                    <a:pt x="1444" y="0"/>
                  </a:lnTo>
                  <a:close/>
                </a:path>
              </a:pathLst>
            </a:custGeom>
            <a:solidFill>
              <a:srgbClr val="8FBBD8"/>
            </a:solidFill>
          </p:spPr>
          <p:txBody>
            <a:bodyPr wrap="square" lIns="0" tIns="0" rIns="0" bIns="0" rtlCol="0"/>
            <a:lstStyle/>
            <a:p>
              <a:endParaRPr sz="1092" dirty="0"/>
            </a:p>
          </p:txBody>
        </p:sp>
        <p:sp>
          <p:nvSpPr>
            <p:cNvPr id="488" name="object 488"/>
            <p:cNvSpPr/>
            <p:nvPr/>
          </p:nvSpPr>
          <p:spPr>
            <a:xfrm>
              <a:off x="5852250" y="3404029"/>
              <a:ext cx="66616" cy="93186"/>
            </a:xfrm>
            <a:custGeom>
              <a:avLst/>
              <a:gdLst/>
              <a:ahLst/>
              <a:cxnLst/>
              <a:rect l="l" t="t" r="r" b="b"/>
              <a:pathLst>
                <a:path w="109854" h="153670">
                  <a:moveTo>
                    <a:pt x="1214" y="0"/>
                  </a:moveTo>
                  <a:lnTo>
                    <a:pt x="0" y="92321"/>
                  </a:lnTo>
                  <a:lnTo>
                    <a:pt x="108237" y="153073"/>
                  </a:lnTo>
                  <a:lnTo>
                    <a:pt x="109441" y="60029"/>
                  </a:lnTo>
                  <a:lnTo>
                    <a:pt x="1214" y="0"/>
                  </a:lnTo>
                  <a:close/>
                </a:path>
              </a:pathLst>
            </a:custGeom>
            <a:solidFill>
              <a:srgbClr val="8FBBD8"/>
            </a:solidFill>
          </p:spPr>
          <p:txBody>
            <a:bodyPr wrap="square" lIns="0" tIns="0" rIns="0" bIns="0" rtlCol="0"/>
            <a:lstStyle/>
            <a:p>
              <a:endParaRPr sz="1092" dirty="0"/>
            </a:p>
          </p:txBody>
        </p:sp>
        <p:sp>
          <p:nvSpPr>
            <p:cNvPr id="489" name="object 489"/>
            <p:cNvSpPr/>
            <p:nvPr/>
          </p:nvSpPr>
          <p:spPr>
            <a:xfrm>
              <a:off x="5945510" y="3460744"/>
              <a:ext cx="66616" cy="93186"/>
            </a:xfrm>
            <a:custGeom>
              <a:avLst/>
              <a:gdLst/>
              <a:ahLst/>
              <a:cxnLst/>
              <a:rect l="l" t="t" r="r" b="b"/>
              <a:pathLst>
                <a:path w="109854" h="153670">
                  <a:moveTo>
                    <a:pt x="1444" y="0"/>
                  </a:moveTo>
                  <a:lnTo>
                    <a:pt x="0" y="92321"/>
                  </a:lnTo>
                  <a:lnTo>
                    <a:pt x="108467" y="153314"/>
                  </a:lnTo>
                  <a:lnTo>
                    <a:pt x="109682" y="60029"/>
                  </a:lnTo>
                  <a:lnTo>
                    <a:pt x="1444" y="0"/>
                  </a:lnTo>
                  <a:close/>
                </a:path>
              </a:pathLst>
            </a:custGeom>
            <a:solidFill>
              <a:srgbClr val="8FBBD8"/>
            </a:solidFill>
          </p:spPr>
          <p:txBody>
            <a:bodyPr wrap="square" lIns="0" tIns="0" rIns="0" bIns="0" rtlCol="0"/>
            <a:lstStyle/>
            <a:p>
              <a:endParaRPr sz="1092" dirty="0"/>
            </a:p>
          </p:txBody>
        </p:sp>
        <p:sp>
          <p:nvSpPr>
            <p:cNvPr id="490" name="object 490"/>
            <p:cNvSpPr/>
            <p:nvPr/>
          </p:nvSpPr>
          <p:spPr>
            <a:xfrm>
              <a:off x="5755048" y="3347607"/>
              <a:ext cx="68541" cy="93186"/>
            </a:xfrm>
            <a:custGeom>
              <a:avLst/>
              <a:gdLst/>
              <a:ahLst/>
              <a:cxnLst/>
              <a:rect l="l" t="t" r="r" b="b"/>
              <a:pathLst>
                <a:path w="113029" h="153670">
                  <a:moveTo>
                    <a:pt x="1444" y="0"/>
                  </a:moveTo>
                  <a:lnTo>
                    <a:pt x="0" y="92321"/>
                  </a:lnTo>
                  <a:lnTo>
                    <a:pt x="111117" y="153073"/>
                  </a:lnTo>
                  <a:lnTo>
                    <a:pt x="112562" y="60019"/>
                  </a:lnTo>
                  <a:lnTo>
                    <a:pt x="1444" y="0"/>
                  </a:lnTo>
                  <a:close/>
                </a:path>
              </a:pathLst>
            </a:custGeom>
            <a:solidFill>
              <a:srgbClr val="8FBBD8"/>
            </a:solidFill>
          </p:spPr>
          <p:txBody>
            <a:bodyPr wrap="square" lIns="0" tIns="0" rIns="0" bIns="0" rtlCol="0"/>
            <a:lstStyle/>
            <a:p>
              <a:endParaRPr sz="1092" dirty="0"/>
            </a:p>
          </p:txBody>
        </p:sp>
        <p:sp>
          <p:nvSpPr>
            <p:cNvPr id="491" name="object 491"/>
            <p:cNvSpPr/>
            <p:nvPr/>
          </p:nvSpPr>
          <p:spPr>
            <a:xfrm>
              <a:off x="5667193" y="3293229"/>
              <a:ext cx="68926" cy="95496"/>
            </a:xfrm>
            <a:custGeom>
              <a:avLst/>
              <a:gdLst/>
              <a:ahLst/>
              <a:cxnLst/>
              <a:rect l="l" t="t" r="r" b="b"/>
              <a:pathLst>
                <a:path w="113665" h="157479">
                  <a:moveTo>
                    <a:pt x="1444" y="0"/>
                  </a:moveTo>
                  <a:lnTo>
                    <a:pt x="0" y="92321"/>
                  </a:lnTo>
                  <a:lnTo>
                    <a:pt x="111849" y="157167"/>
                  </a:lnTo>
                  <a:lnTo>
                    <a:pt x="113064" y="64123"/>
                  </a:lnTo>
                  <a:lnTo>
                    <a:pt x="1444" y="0"/>
                  </a:lnTo>
                  <a:close/>
                </a:path>
              </a:pathLst>
            </a:custGeom>
            <a:solidFill>
              <a:srgbClr val="8FBBD8"/>
            </a:solidFill>
          </p:spPr>
          <p:txBody>
            <a:bodyPr wrap="square" lIns="0" tIns="0" rIns="0" bIns="0" rtlCol="0"/>
            <a:lstStyle/>
            <a:p>
              <a:endParaRPr sz="1092" dirty="0"/>
            </a:p>
          </p:txBody>
        </p:sp>
        <p:sp>
          <p:nvSpPr>
            <p:cNvPr id="492" name="object 492"/>
            <p:cNvSpPr/>
            <p:nvPr/>
          </p:nvSpPr>
          <p:spPr>
            <a:xfrm>
              <a:off x="5852250" y="3512932"/>
              <a:ext cx="66616" cy="93186"/>
            </a:xfrm>
            <a:custGeom>
              <a:avLst/>
              <a:gdLst/>
              <a:ahLst/>
              <a:cxnLst/>
              <a:rect l="l" t="t" r="r" b="b"/>
              <a:pathLst>
                <a:path w="109854" h="153670">
                  <a:moveTo>
                    <a:pt x="1214" y="0"/>
                  </a:moveTo>
                  <a:lnTo>
                    <a:pt x="0" y="92311"/>
                  </a:lnTo>
                  <a:lnTo>
                    <a:pt x="108237" y="153052"/>
                  </a:lnTo>
                  <a:lnTo>
                    <a:pt x="109441" y="60019"/>
                  </a:lnTo>
                  <a:lnTo>
                    <a:pt x="1214" y="0"/>
                  </a:lnTo>
                  <a:close/>
                </a:path>
              </a:pathLst>
            </a:custGeom>
            <a:solidFill>
              <a:srgbClr val="8FBBD8"/>
            </a:solidFill>
          </p:spPr>
          <p:txBody>
            <a:bodyPr wrap="square" lIns="0" tIns="0" rIns="0" bIns="0" rtlCol="0"/>
            <a:lstStyle/>
            <a:p>
              <a:endParaRPr sz="1092" dirty="0"/>
            </a:p>
          </p:txBody>
        </p:sp>
        <p:sp>
          <p:nvSpPr>
            <p:cNvPr id="493" name="object 493"/>
            <p:cNvSpPr/>
            <p:nvPr/>
          </p:nvSpPr>
          <p:spPr>
            <a:xfrm>
              <a:off x="5945510" y="3569496"/>
              <a:ext cx="66616" cy="93186"/>
            </a:xfrm>
            <a:custGeom>
              <a:avLst/>
              <a:gdLst/>
              <a:ahLst/>
              <a:cxnLst/>
              <a:rect l="l" t="t" r="r" b="b"/>
              <a:pathLst>
                <a:path w="109854" h="153670">
                  <a:moveTo>
                    <a:pt x="1444" y="0"/>
                  </a:moveTo>
                  <a:lnTo>
                    <a:pt x="0" y="92803"/>
                  </a:lnTo>
                  <a:lnTo>
                    <a:pt x="108467" y="153314"/>
                  </a:lnTo>
                  <a:lnTo>
                    <a:pt x="109682" y="60029"/>
                  </a:lnTo>
                  <a:lnTo>
                    <a:pt x="1444" y="0"/>
                  </a:lnTo>
                  <a:close/>
                </a:path>
              </a:pathLst>
            </a:custGeom>
            <a:solidFill>
              <a:srgbClr val="8FBBD8"/>
            </a:solidFill>
          </p:spPr>
          <p:txBody>
            <a:bodyPr wrap="square" lIns="0" tIns="0" rIns="0" bIns="0" rtlCol="0"/>
            <a:lstStyle/>
            <a:p>
              <a:endParaRPr sz="1092" dirty="0"/>
            </a:p>
          </p:txBody>
        </p:sp>
        <p:sp>
          <p:nvSpPr>
            <p:cNvPr id="494" name="object 494"/>
            <p:cNvSpPr/>
            <p:nvPr/>
          </p:nvSpPr>
          <p:spPr>
            <a:xfrm>
              <a:off x="5755048" y="3456503"/>
              <a:ext cx="68541" cy="93186"/>
            </a:xfrm>
            <a:custGeom>
              <a:avLst/>
              <a:gdLst/>
              <a:ahLst/>
              <a:cxnLst/>
              <a:rect l="l" t="t" r="r" b="b"/>
              <a:pathLst>
                <a:path w="113029" h="153670">
                  <a:moveTo>
                    <a:pt x="1444" y="0"/>
                  </a:moveTo>
                  <a:lnTo>
                    <a:pt x="0" y="92321"/>
                  </a:lnTo>
                  <a:lnTo>
                    <a:pt x="111117" y="153073"/>
                  </a:lnTo>
                  <a:lnTo>
                    <a:pt x="112562" y="60029"/>
                  </a:lnTo>
                  <a:lnTo>
                    <a:pt x="1444" y="0"/>
                  </a:lnTo>
                  <a:close/>
                </a:path>
              </a:pathLst>
            </a:custGeom>
            <a:solidFill>
              <a:srgbClr val="8FBBD8"/>
            </a:solidFill>
          </p:spPr>
          <p:txBody>
            <a:bodyPr wrap="square" lIns="0" tIns="0" rIns="0" bIns="0" rtlCol="0"/>
            <a:lstStyle/>
            <a:p>
              <a:endParaRPr sz="1092" dirty="0"/>
            </a:p>
          </p:txBody>
        </p:sp>
        <p:sp>
          <p:nvSpPr>
            <p:cNvPr id="495" name="object 495"/>
            <p:cNvSpPr/>
            <p:nvPr/>
          </p:nvSpPr>
          <p:spPr>
            <a:xfrm>
              <a:off x="5667193" y="3401982"/>
              <a:ext cx="68926" cy="95496"/>
            </a:xfrm>
            <a:custGeom>
              <a:avLst/>
              <a:gdLst/>
              <a:ahLst/>
              <a:cxnLst/>
              <a:rect l="l" t="t" r="r" b="b"/>
              <a:pathLst>
                <a:path w="113665" h="157479">
                  <a:moveTo>
                    <a:pt x="1444" y="0"/>
                  </a:moveTo>
                  <a:lnTo>
                    <a:pt x="0" y="92573"/>
                  </a:lnTo>
                  <a:lnTo>
                    <a:pt x="111849" y="157167"/>
                  </a:lnTo>
                  <a:lnTo>
                    <a:pt x="113064" y="64354"/>
                  </a:lnTo>
                  <a:lnTo>
                    <a:pt x="1444" y="0"/>
                  </a:lnTo>
                  <a:close/>
                </a:path>
              </a:pathLst>
            </a:custGeom>
            <a:solidFill>
              <a:srgbClr val="8FBBD8"/>
            </a:solidFill>
          </p:spPr>
          <p:txBody>
            <a:bodyPr wrap="square" lIns="0" tIns="0" rIns="0" bIns="0" rtlCol="0"/>
            <a:lstStyle/>
            <a:p>
              <a:endParaRPr sz="1092" dirty="0"/>
            </a:p>
          </p:txBody>
        </p:sp>
        <p:sp>
          <p:nvSpPr>
            <p:cNvPr id="496" name="object 496"/>
            <p:cNvSpPr/>
            <p:nvPr/>
          </p:nvSpPr>
          <p:spPr>
            <a:xfrm>
              <a:off x="6134805" y="3322463"/>
              <a:ext cx="71622" cy="105123"/>
            </a:xfrm>
            <a:custGeom>
              <a:avLst/>
              <a:gdLst/>
              <a:ahLst/>
              <a:cxnLst/>
              <a:rect l="l" t="t" r="r" b="b"/>
              <a:pathLst>
                <a:path w="118109" h="173354">
                  <a:moveTo>
                    <a:pt x="117629" y="0"/>
                  </a:moveTo>
                  <a:lnTo>
                    <a:pt x="0" y="63390"/>
                  </a:lnTo>
                  <a:lnTo>
                    <a:pt x="0" y="172832"/>
                  </a:lnTo>
                  <a:lnTo>
                    <a:pt x="117629" y="109441"/>
                  </a:lnTo>
                  <a:lnTo>
                    <a:pt x="117629" y="0"/>
                  </a:lnTo>
                  <a:close/>
                </a:path>
              </a:pathLst>
            </a:custGeom>
            <a:solidFill>
              <a:srgbClr val="6F94A5"/>
            </a:solidFill>
          </p:spPr>
          <p:txBody>
            <a:bodyPr wrap="square" lIns="0" tIns="0" rIns="0" bIns="0" rtlCol="0"/>
            <a:lstStyle/>
            <a:p>
              <a:endParaRPr sz="1092" dirty="0"/>
            </a:p>
          </p:txBody>
        </p:sp>
        <p:sp>
          <p:nvSpPr>
            <p:cNvPr id="497" name="object 497"/>
            <p:cNvSpPr/>
            <p:nvPr/>
          </p:nvSpPr>
          <p:spPr>
            <a:xfrm>
              <a:off x="6234936" y="3269255"/>
              <a:ext cx="71622" cy="105123"/>
            </a:xfrm>
            <a:custGeom>
              <a:avLst/>
              <a:gdLst/>
              <a:ahLst/>
              <a:cxnLst/>
              <a:rect l="l" t="t" r="r" b="b"/>
              <a:pathLst>
                <a:path w="118109" h="173354">
                  <a:moveTo>
                    <a:pt x="117629" y="0"/>
                  </a:moveTo>
                  <a:lnTo>
                    <a:pt x="0" y="63401"/>
                  </a:lnTo>
                  <a:lnTo>
                    <a:pt x="0" y="172842"/>
                  </a:lnTo>
                  <a:lnTo>
                    <a:pt x="117399" y="109441"/>
                  </a:lnTo>
                  <a:lnTo>
                    <a:pt x="117629" y="0"/>
                  </a:lnTo>
                  <a:close/>
                </a:path>
              </a:pathLst>
            </a:custGeom>
            <a:solidFill>
              <a:srgbClr val="6F94A5"/>
            </a:solidFill>
          </p:spPr>
          <p:txBody>
            <a:bodyPr wrap="square" lIns="0" tIns="0" rIns="0" bIns="0" rtlCol="0"/>
            <a:lstStyle/>
            <a:p>
              <a:endParaRPr sz="1092" dirty="0"/>
            </a:p>
          </p:txBody>
        </p:sp>
        <p:sp>
          <p:nvSpPr>
            <p:cNvPr id="498" name="object 498"/>
            <p:cNvSpPr/>
            <p:nvPr/>
          </p:nvSpPr>
          <p:spPr>
            <a:xfrm>
              <a:off x="6334482" y="3208745"/>
              <a:ext cx="71622" cy="104738"/>
            </a:xfrm>
            <a:custGeom>
              <a:avLst/>
              <a:gdLst/>
              <a:ahLst/>
              <a:cxnLst/>
              <a:rect l="l" t="t" r="r" b="b"/>
              <a:pathLst>
                <a:path w="118109" h="172720">
                  <a:moveTo>
                    <a:pt x="117860" y="0"/>
                  </a:moveTo>
                  <a:lnTo>
                    <a:pt x="0" y="63390"/>
                  </a:lnTo>
                  <a:lnTo>
                    <a:pt x="0" y="172581"/>
                  </a:lnTo>
                  <a:lnTo>
                    <a:pt x="117860" y="109190"/>
                  </a:lnTo>
                  <a:lnTo>
                    <a:pt x="117860" y="0"/>
                  </a:lnTo>
                  <a:close/>
                </a:path>
              </a:pathLst>
            </a:custGeom>
            <a:solidFill>
              <a:srgbClr val="6F94A5"/>
            </a:solidFill>
          </p:spPr>
          <p:txBody>
            <a:bodyPr wrap="square" lIns="0" tIns="0" rIns="0" bIns="0" rtlCol="0"/>
            <a:lstStyle/>
            <a:p>
              <a:endParaRPr sz="1092" dirty="0"/>
            </a:p>
          </p:txBody>
        </p:sp>
        <p:sp>
          <p:nvSpPr>
            <p:cNvPr id="499" name="object 499"/>
            <p:cNvSpPr/>
            <p:nvPr/>
          </p:nvSpPr>
          <p:spPr>
            <a:xfrm>
              <a:off x="6435925" y="3151154"/>
              <a:ext cx="71622" cy="104738"/>
            </a:xfrm>
            <a:custGeom>
              <a:avLst/>
              <a:gdLst/>
              <a:ahLst/>
              <a:cxnLst/>
              <a:rect l="l" t="t" r="r" b="b"/>
              <a:pathLst>
                <a:path w="118109" h="172720">
                  <a:moveTo>
                    <a:pt x="117881" y="0"/>
                  </a:moveTo>
                  <a:lnTo>
                    <a:pt x="0" y="63390"/>
                  </a:lnTo>
                  <a:lnTo>
                    <a:pt x="0" y="172581"/>
                  </a:lnTo>
                  <a:lnTo>
                    <a:pt x="117629" y="109190"/>
                  </a:lnTo>
                  <a:lnTo>
                    <a:pt x="117881" y="0"/>
                  </a:lnTo>
                  <a:close/>
                </a:path>
              </a:pathLst>
            </a:custGeom>
            <a:solidFill>
              <a:srgbClr val="6F94A5"/>
            </a:solidFill>
          </p:spPr>
          <p:txBody>
            <a:bodyPr wrap="square" lIns="0" tIns="0" rIns="0" bIns="0" rtlCol="0"/>
            <a:lstStyle/>
            <a:p>
              <a:endParaRPr sz="1092" dirty="0"/>
            </a:p>
          </p:txBody>
        </p:sp>
        <p:sp>
          <p:nvSpPr>
            <p:cNvPr id="500" name="object 500"/>
            <p:cNvSpPr/>
            <p:nvPr/>
          </p:nvSpPr>
          <p:spPr>
            <a:xfrm>
              <a:off x="6134805" y="3431368"/>
              <a:ext cx="71622" cy="104738"/>
            </a:xfrm>
            <a:custGeom>
              <a:avLst/>
              <a:gdLst/>
              <a:ahLst/>
              <a:cxnLst/>
              <a:rect l="l" t="t" r="r" b="b"/>
              <a:pathLst>
                <a:path w="118109" h="172720">
                  <a:moveTo>
                    <a:pt x="117629" y="0"/>
                  </a:moveTo>
                  <a:lnTo>
                    <a:pt x="0" y="63390"/>
                  </a:lnTo>
                  <a:lnTo>
                    <a:pt x="0" y="172581"/>
                  </a:lnTo>
                  <a:lnTo>
                    <a:pt x="117629" y="109431"/>
                  </a:lnTo>
                  <a:lnTo>
                    <a:pt x="117629" y="0"/>
                  </a:lnTo>
                  <a:close/>
                </a:path>
              </a:pathLst>
            </a:custGeom>
            <a:solidFill>
              <a:srgbClr val="6F94A5"/>
            </a:solidFill>
          </p:spPr>
          <p:txBody>
            <a:bodyPr wrap="square" lIns="0" tIns="0" rIns="0" bIns="0" rtlCol="0"/>
            <a:lstStyle/>
            <a:p>
              <a:endParaRPr sz="1092" dirty="0"/>
            </a:p>
          </p:txBody>
        </p:sp>
        <p:sp>
          <p:nvSpPr>
            <p:cNvPr id="501" name="object 501"/>
            <p:cNvSpPr/>
            <p:nvPr/>
          </p:nvSpPr>
          <p:spPr>
            <a:xfrm>
              <a:off x="6234936" y="3378156"/>
              <a:ext cx="71622" cy="105123"/>
            </a:xfrm>
            <a:custGeom>
              <a:avLst/>
              <a:gdLst/>
              <a:ahLst/>
              <a:cxnLst/>
              <a:rect l="l" t="t" r="r" b="b"/>
              <a:pathLst>
                <a:path w="118109" h="173354">
                  <a:moveTo>
                    <a:pt x="117629" y="0"/>
                  </a:moveTo>
                  <a:lnTo>
                    <a:pt x="0" y="63390"/>
                  </a:lnTo>
                  <a:lnTo>
                    <a:pt x="0" y="172832"/>
                  </a:lnTo>
                  <a:lnTo>
                    <a:pt x="117399" y="109441"/>
                  </a:lnTo>
                  <a:lnTo>
                    <a:pt x="117629" y="0"/>
                  </a:lnTo>
                  <a:close/>
                </a:path>
              </a:pathLst>
            </a:custGeom>
            <a:solidFill>
              <a:srgbClr val="6F94A5"/>
            </a:solidFill>
          </p:spPr>
          <p:txBody>
            <a:bodyPr wrap="square" lIns="0" tIns="0" rIns="0" bIns="0" rtlCol="0"/>
            <a:lstStyle/>
            <a:p>
              <a:endParaRPr sz="1092" dirty="0"/>
            </a:p>
          </p:txBody>
        </p:sp>
        <p:sp>
          <p:nvSpPr>
            <p:cNvPr id="502" name="object 502"/>
            <p:cNvSpPr/>
            <p:nvPr/>
          </p:nvSpPr>
          <p:spPr>
            <a:xfrm>
              <a:off x="6334482" y="3317496"/>
              <a:ext cx="71622" cy="105123"/>
            </a:xfrm>
            <a:custGeom>
              <a:avLst/>
              <a:gdLst/>
              <a:ahLst/>
              <a:cxnLst/>
              <a:rect l="l" t="t" r="r" b="b"/>
              <a:pathLst>
                <a:path w="118109" h="173354">
                  <a:moveTo>
                    <a:pt x="117860" y="0"/>
                  </a:moveTo>
                  <a:lnTo>
                    <a:pt x="0" y="63390"/>
                  </a:lnTo>
                  <a:lnTo>
                    <a:pt x="0" y="172832"/>
                  </a:lnTo>
                  <a:lnTo>
                    <a:pt x="117860" y="109190"/>
                  </a:lnTo>
                  <a:lnTo>
                    <a:pt x="117860" y="0"/>
                  </a:lnTo>
                  <a:close/>
                </a:path>
              </a:pathLst>
            </a:custGeom>
            <a:solidFill>
              <a:srgbClr val="6F94A5"/>
            </a:solidFill>
          </p:spPr>
          <p:txBody>
            <a:bodyPr wrap="square" lIns="0" tIns="0" rIns="0" bIns="0" rtlCol="0"/>
            <a:lstStyle/>
            <a:p>
              <a:endParaRPr sz="1092" dirty="0"/>
            </a:p>
          </p:txBody>
        </p:sp>
        <p:sp>
          <p:nvSpPr>
            <p:cNvPr id="503" name="object 503"/>
            <p:cNvSpPr/>
            <p:nvPr/>
          </p:nvSpPr>
          <p:spPr>
            <a:xfrm>
              <a:off x="6435925" y="3259907"/>
              <a:ext cx="71622" cy="104738"/>
            </a:xfrm>
            <a:custGeom>
              <a:avLst/>
              <a:gdLst/>
              <a:ahLst/>
              <a:cxnLst/>
              <a:rect l="l" t="t" r="r" b="b"/>
              <a:pathLst>
                <a:path w="118109" h="172720">
                  <a:moveTo>
                    <a:pt x="117881" y="0"/>
                  </a:moveTo>
                  <a:lnTo>
                    <a:pt x="0" y="63390"/>
                  </a:lnTo>
                  <a:lnTo>
                    <a:pt x="0" y="172581"/>
                  </a:lnTo>
                  <a:lnTo>
                    <a:pt x="117629" y="109431"/>
                  </a:lnTo>
                  <a:lnTo>
                    <a:pt x="117881" y="0"/>
                  </a:lnTo>
                  <a:close/>
                </a:path>
              </a:pathLst>
            </a:custGeom>
            <a:solidFill>
              <a:srgbClr val="6F94A5"/>
            </a:solidFill>
          </p:spPr>
          <p:txBody>
            <a:bodyPr wrap="square" lIns="0" tIns="0" rIns="0" bIns="0" rtlCol="0"/>
            <a:lstStyle/>
            <a:p>
              <a:endParaRPr sz="1092" dirty="0"/>
            </a:p>
          </p:txBody>
        </p:sp>
        <p:sp>
          <p:nvSpPr>
            <p:cNvPr id="504" name="object 504"/>
            <p:cNvSpPr/>
            <p:nvPr/>
          </p:nvSpPr>
          <p:spPr>
            <a:xfrm>
              <a:off x="6134805" y="3542752"/>
              <a:ext cx="71622" cy="105123"/>
            </a:xfrm>
            <a:custGeom>
              <a:avLst/>
              <a:gdLst/>
              <a:ahLst/>
              <a:cxnLst/>
              <a:rect l="l" t="t" r="r" b="b"/>
              <a:pathLst>
                <a:path w="118109" h="173354">
                  <a:moveTo>
                    <a:pt x="117629" y="0"/>
                  </a:moveTo>
                  <a:lnTo>
                    <a:pt x="0" y="63631"/>
                  </a:lnTo>
                  <a:lnTo>
                    <a:pt x="0" y="172832"/>
                  </a:lnTo>
                  <a:lnTo>
                    <a:pt x="117629" y="109431"/>
                  </a:lnTo>
                  <a:lnTo>
                    <a:pt x="117629" y="0"/>
                  </a:lnTo>
                  <a:close/>
                </a:path>
              </a:pathLst>
            </a:custGeom>
            <a:solidFill>
              <a:srgbClr val="6F94A5"/>
            </a:solidFill>
          </p:spPr>
          <p:txBody>
            <a:bodyPr wrap="square" lIns="0" tIns="0" rIns="0" bIns="0" rtlCol="0"/>
            <a:lstStyle/>
            <a:p>
              <a:endParaRPr sz="1092" dirty="0"/>
            </a:p>
          </p:txBody>
        </p:sp>
        <p:sp>
          <p:nvSpPr>
            <p:cNvPr id="505" name="object 505"/>
            <p:cNvSpPr/>
            <p:nvPr/>
          </p:nvSpPr>
          <p:spPr>
            <a:xfrm>
              <a:off x="6234936" y="3489688"/>
              <a:ext cx="71622" cy="104738"/>
            </a:xfrm>
            <a:custGeom>
              <a:avLst/>
              <a:gdLst/>
              <a:ahLst/>
              <a:cxnLst/>
              <a:rect l="l" t="t" r="r" b="b"/>
              <a:pathLst>
                <a:path w="118109" h="172720">
                  <a:moveTo>
                    <a:pt x="117629" y="0"/>
                  </a:moveTo>
                  <a:lnTo>
                    <a:pt x="0" y="63149"/>
                  </a:lnTo>
                  <a:lnTo>
                    <a:pt x="0" y="172591"/>
                  </a:lnTo>
                  <a:lnTo>
                    <a:pt x="117399" y="109200"/>
                  </a:lnTo>
                  <a:lnTo>
                    <a:pt x="117629" y="0"/>
                  </a:lnTo>
                  <a:close/>
                </a:path>
              </a:pathLst>
            </a:custGeom>
            <a:solidFill>
              <a:srgbClr val="6F94A5"/>
            </a:solidFill>
          </p:spPr>
          <p:txBody>
            <a:bodyPr wrap="square" lIns="0" tIns="0" rIns="0" bIns="0" rtlCol="0"/>
            <a:lstStyle/>
            <a:p>
              <a:endParaRPr sz="1092" dirty="0"/>
            </a:p>
          </p:txBody>
        </p:sp>
        <p:sp>
          <p:nvSpPr>
            <p:cNvPr id="506" name="object 506"/>
            <p:cNvSpPr/>
            <p:nvPr/>
          </p:nvSpPr>
          <p:spPr>
            <a:xfrm>
              <a:off x="6334482" y="3428882"/>
              <a:ext cx="71622" cy="105123"/>
            </a:xfrm>
            <a:custGeom>
              <a:avLst/>
              <a:gdLst/>
              <a:ahLst/>
              <a:cxnLst/>
              <a:rect l="l" t="t" r="r" b="b"/>
              <a:pathLst>
                <a:path w="118109" h="173354">
                  <a:moveTo>
                    <a:pt x="117860" y="0"/>
                  </a:moveTo>
                  <a:lnTo>
                    <a:pt x="0" y="63631"/>
                  </a:lnTo>
                  <a:lnTo>
                    <a:pt x="0" y="172832"/>
                  </a:lnTo>
                  <a:lnTo>
                    <a:pt x="117860" y="109441"/>
                  </a:lnTo>
                  <a:lnTo>
                    <a:pt x="117860" y="0"/>
                  </a:lnTo>
                  <a:close/>
                </a:path>
              </a:pathLst>
            </a:custGeom>
            <a:solidFill>
              <a:srgbClr val="6F94A5"/>
            </a:solidFill>
          </p:spPr>
          <p:txBody>
            <a:bodyPr wrap="square" lIns="0" tIns="0" rIns="0" bIns="0" rtlCol="0"/>
            <a:lstStyle/>
            <a:p>
              <a:endParaRPr sz="1092" dirty="0"/>
            </a:p>
          </p:txBody>
        </p:sp>
        <p:sp>
          <p:nvSpPr>
            <p:cNvPr id="507" name="object 507"/>
            <p:cNvSpPr/>
            <p:nvPr/>
          </p:nvSpPr>
          <p:spPr>
            <a:xfrm>
              <a:off x="6435925" y="3371286"/>
              <a:ext cx="71622" cy="104738"/>
            </a:xfrm>
            <a:custGeom>
              <a:avLst/>
              <a:gdLst/>
              <a:ahLst/>
              <a:cxnLst/>
              <a:rect l="l" t="t" r="r" b="b"/>
              <a:pathLst>
                <a:path w="118109" h="172720">
                  <a:moveTo>
                    <a:pt x="117881" y="0"/>
                  </a:moveTo>
                  <a:lnTo>
                    <a:pt x="0" y="63401"/>
                  </a:lnTo>
                  <a:lnTo>
                    <a:pt x="0" y="172591"/>
                  </a:lnTo>
                  <a:lnTo>
                    <a:pt x="117629" y="109200"/>
                  </a:lnTo>
                  <a:lnTo>
                    <a:pt x="117881" y="0"/>
                  </a:lnTo>
                  <a:close/>
                </a:path>
              </a:pathLst>
            </a:custGeom>
            <a:solidFill>
              <a:srgbClr val="6F94A5"/>
            </a:solidFill>
          </p:spPr>
          <p:txBody>
            <a:bodyPr wrap="square" lIns="0" tIns="0" rIns="0" bIns="0" rtlCol="0"/>
            <a:lstStyle/>
            <a:p>
              <a:endParaRPr sz="1092" dirty="0"/>
            </a:p>
          </p:txBody>
        </p:sp>
        <p:sp>
          <p:nvSpPr>
            <p:cNvPr id="508" name="object 508"/>
            <p:cNvSpPr/>
            <p:nvPr/>
          </p:nvSpPr>
          <p:spPr>
            <a:xfrm>
              <a:off x="6236837" y="3006686"/>
              <a:ext cx="169428" cy="105508"/>
            </a:xfrm>
            <a:custGeom>
              <a:avLst/>
              <a:gdLst/>
              <a:ahLst/>
              <a:cxnLst/>
              <a:rect l="l" t="t" r="r" b="b"/>
              <a:pathLst>
                <a:path w="279400" h="173989">
                  <a:moveTo>
                    <a:pt x="1413" y="167115"/>
                  </a:moveTo>
                  <a:lnTo>
                    <a:pt x="0" y="173376"/>
                  </a:lnTo>
                  <a:lnTo>
                    <a:pt x="2723" y="172664"/>
                  </a:lnTo>
                  <a:lnTo>
                    <a:pt x="1444" y="172664"/>
                  </a:lnTo>
                  <a:lnTo>
                    <a:pt x="1413" y="167115"/>
                  </a:lnTo>
                  <a:close/>
                </a:path>
                <a:path w="279400" h="173989">
                  <a:moveTo>
                    <a:pt x="191187" y="0"/>
                  </a:moveTo>
                  <a:lnTo>
                    <a:pt x="208025" y="9716"/>
                  </a:lnTo>
                  <a:lnTo>
                    <a:pt x="208265" y="57924"/>
                  </a:lnTo>
                  <a:lnTo>
                    <a:pt x="1444" y="172664"/>
                  </a:lnTo>
                  <a:lnTo>
                    <a:pt x="2723" y="172664"/>
                  </a:lnTo>
                  <a:lnTo>
                    <a:pt x="125346" y="140603"/>
                  </a:lnTo>
                  <a:lnTo>
                    <a:pt x="278892" y="48040"/>
                  </a:lnTo>
                  <a:lnTo>
                    <a:pt x="191187" y="0"/>
                  </a:lnTo>
                  <a:close/>
                </a:path>
              </a:pathLst>
            </a:custGeom>
            <a:solidFill>
              <a:srgbClr val="D4D4D5"/>
            </a:solidFill>
          </p:spPr>
          <p:txBody>
            <a:bodyPr wrap="square" lIns="0" tIns="0" rIns="0" bIns="0" rtlCol="0"/>
            <a:lstStyle/>
            <a:p>
              <a:endParaRPr sz="1092" dirty="0"/>
            </a:p>
          </p:txBody>
        </p:sp>
        <p:sp>
          <p:nvSpPr>
            <p:cNvPr id="509" name="object 509"/>
            <p:cNvSpPr/>
            <p:nvPr/>
          </p:nvSpPr>
          <p:spPr>
            <a:xfrm>
              <a:off x="6017278" y="2885406"/>
              <a:ext cx="345788" cy="196768"/>
            </a:xfrm>
            <a:custGeom>
              <a:avLst/>
              <a:gdLst/>
              <a:ahLst/>
              <a:cxnLst/>
              <a:rect l="l" t="t" r="r" b="b"/>
              <a:pathLst>
                <a:path w="570229" h="324485">
                  <a:moveTo>
                    <a:pt x="206831" y="0"/>
                  </a:moveTo>
                  <a:lnTo>
                    <a:pt x="0" y="114729"/>
                  </a:lnTo>
                  <a:lnTo>
                    <a:pt x="363266" y="324450"/>
                  </a:lnTo>
                  <a:lnTo>
                    <a:pt x="570087" y="209721"/>
                  </a:lnTo>
                  <a:lnTo>
                    <a:pt x="206831" y="0"/>
                  </a:lnTo>
                  <a:close/>
                </a:path>
              </a:pathLst>
            </a:custGeom>
            <a:solidFill>
              <a:srgbClr val="FFFFFF"/>
            </a:solidFill>
          </p:spPr>
          <p:txBody>
            <a:bodyPr wrap="square" lIns="0" tIns="0" rIns="0" bIns="0" rtlCol="0"/>
            <a:lstStyle/>
            <a:p>
              <a:endParaRPr sz="1092" dirty="0"/>
            </a:p>
          </p:txBody>
        </p:sp>
        <p:sp>
          <p:nvSpPr>
            <p:cNvPr id="510" name="object 510"/>
            <p:cNvSpPr/>
            <p:nvPr/>
          </p:nvSpPr>
          <p:spPr>
            <a:xfrm>
              <a:off x="6237562" y="3012582"/>
              <a:ext cx="125916" cy="98962"/>
            </a:xfrm>
            <a:custGeom>
              <a:avLst/>
              <a:gdLst/>
              <a:ahLst/>
              <a:cxnLst/>
              <a:rect l="l" t="t" r="r" b="b"/>
              <a:pathLst>
                <a:path w="207645" h="163195">
                  <a:moveTo>
                    <a:pt x="206820" y="0"/>
                  </a:moveTo>
                  <a:lnTo>
                    <a:pt x="0" y="114729"/>
                  </a:lnTo>
                  <a:lnTo>
                    <a:pt x="251" y="162937"/>
                  </a:lnTo>
                  <a:lnTo>
                    <a:pt x="207072" y="48207"/>
                  </a:lnTo>
                  <a:lnTo>
                    <a:pt x="206820" y="0"/>
                  </a:lnTo>
                  <a:close/>
                </a:path>
              </a:pathLst>
            </a:custGeom>
            <a:solidFill>
              <a:srgbClr val="787371"/>
            </a:solidFill>
          </p:spPr>
          <p:txBody>
            <a:bodyPr wrap="square" lIns="0" tIns="0" rIns="0" bIns="0" rtlCol="0"/>
            <a:lstStyle/>
            <a:p>
              <a:endParaRPr sz="1092" dirty="0"/>
            </a:p>
          </p:txBody>
        </p:sp>
        <p:sp>
          <p:nvSpPr>
            <p:cNvPr id="511" name="object 511"/>
            <p:cNvSpPr/>
            <p:nvPr/>
          </p:nvSpPr>
          <p:spPr>
            <a:xfrm>
              <a:off x="6017281" y="2954981"/>
              <a:ext cx="220642" cy="156721"/>
            </a:xfrm>
            <a:custGeom>
              <a:avLst/>
              <a:gdLst/>
              <a:ahLst/>
              <a:cxnLst/>
              <a:rect l="l" t="t" r="r" b="b"/>
              <a:pathLst>
                <a:path w="363854" h="258445">
                  <a:moveTo>
                    <a:pt x="0" y="0"/>
                  </a:moveTo>
                  <a:lnTo>
                    <a:pt x="251" y="48207"/>
                  </a:lnTo>
                  <a:lnTo>
                    <a:pt x="363507" y="257929"/>
                  </a:lnTo>
                  <a:lnTo>
                    <a:pt x="363266" y="209721"/>
                  </a:lnTo>
                  <a:lnTo>
                    <a:pt x="0" y="0"/>
                  </a:lnTo>
                  <a:close/>
                </a:path>
              </a:pathLst>
            </a:custGeom>
            <a:solidFill>
              <a:srgbClr val="D6CCC2"/>
            </a:solidFill>
          </p:spPr>
          <p:txBody>
            <a:bodyPr wrap="square" lIns="0" tIns="0" rIns="0" bIns="0" rtlCol="0"/>
            <a:lstStyle/>
            <a:p>
              <a:endParaRPr sz="1092" dirty="0"/>
            </a:p>
          </p:txBody>
        </p:sp>
        <p:sp>
          <p:nvSpPr>
            <p:cNvPr id="512" name="object 512"/>
            <p:cNvSpPr/>
            <p:nvPr/>
          </p:nvSpPr>
          <p:spPr>
            <a:xfrm>
              <a:off x="6274985" y="2993135"/>
              <a:ext cx="72007" cy="47748"/>
            </a:xfrm>
            <a:custGeom>
              <a:avLst/>
              <a:gdLst/>
              <a:ahLst/>
              <a:cxnLst/>
              <a:rect l="l" t="t" r="r" b="b"/>
              <a:pathLst>
                <a:path w="118745" h="78739">
                  <a:moveTo>
                    <a:pt x="58333" y="0"/>
                  </a:moveTo>
                  <a:lnTo>
                    <a:pt x="12051" y="30135"/>
                  </a:lnTo>
                  <a:lnTo>
                    <a:pt x="0" y="78343"/>
                  </a:lnTo>
                  <a:lnTo>
                    <a:pt x="53035" y="65558"/>
                  </a:lnTo>
                  <a:lnTo>
                    <a:pt x="118122" y="29653"/>
                  </a:lnTo>
                  <a:lnTo>
                    <a:pt x="58333" y="0"/>
                  </a:lnTo>
                  <a:close/>
                </a:path>
              </a:pathLst>
            </a:custGeom>
            <a:solidFill>
              <a:srgbClr val="D4D4D5"/>
            </a:solidFill>
          </p:spPr>
          <p:txBody>
            <a:bodyPr wrap="square" lIns="0" tIns="0" rIns="0" bIns="0" rtlCol="0"/>
            <a:lstStyle/>
            <a:p>
              <a:endParaRPr sz="1092" dirty="0"/>
            </a:p>
          </p:txBody>
        </p:sp>
        <p:sp>
          <p:nvSpPr>
            <p:cNvPr id="513" name="object 513"/>
            <p:cNvSpPr/>
            <p:nvPr/>
          </p:nvSpPr>
          <p:spPr>
            <a:xfrm>
              <a:off x="6100457" y="2922384"/>
              <a:ext cx="115183" cy="70605"/>
            </a:xfrm>
            <a:prstGeom prst="rect">
              <a:avLst/>
            </a:prstGeom>
            <a:blipFill>
              <a:blip r:embed="rId14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14" name="object 514"/>
            <p:cNvSpPr/>
            <p:nvPr/>
          </p:nvSpPr>
          <p:spPr>
            <a:xfrm>
              <a:off x="6171493" y="2933791"/>
              <a:ext cx="155566" cy="88565"/>
            </a:xfrm>
            <a:custGeom>
              <a:avLst/>
              <a:gdLst/>
              <a:ahLst/>
              <a:cxnLst/>
              <a:rect l="l" t="t" r="r" b="b"/>
              <a:pathLst>
                <a:path w="256540" h="146050">
                  <a:moveTo>
                    <a:pt x="85578" y="0"/>
                  </a:moveTo>
                  <a:lnTo>
                    <a:pt x="0" y="47474"/>
                  </a:lnTo>
                  <a:lnTo>
                    <a:pt x="170664" y="145828"/>
                  </a:lnTo>
                  <a:lnTo>
                    <a:pt x="256484" y="98342"/>
                  </a:lnTo>
                  <a:lnTo>
                    <a:pt x="85578" y="0"/>
                  </a:lnTo>
                  <a:close/>
                </a:path>
              </a:pathLst>
            </a:custGeom>
            <a:solidFill>
              <a:srgbClr val="FFFFFF"/>
            </a:solidFill>
          </p:spPr>
          <p:txBody>
            <a:bodyPr wrap="square" lIns="0" tIns="0" rIns="0" bIns="0" rtlCol="0"/>
            <a:lstStyle/>
            <a:p>
              <a:endParaRPr sz="1092" dirty="0"/>
            </a:p>
          </p:txBody>
        </p:sp>
        <p:sp>
          <p:nvSpPr>
            <p:cNvPr id="515" name="object 515"/>
            <p:cNvSpPr/>
            <p:nvPr/>
          </p:nvSpPr>
          <p:spPr>
            <a:xfrm>
              <a:off x="6045934" y="2894321"/>
              <a:ext cx="281089" cy="146324"/>
            </a:xfrm>
            <a:prstGeom prst="rect">
              <a:avLst/>
            </a:prstGeom>
            <a:blipFill>
              <a:blip r:embed="rId14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16" name="object 516"/>
            <p:cNvSpPr/>
            <p:nvPr/>
          </p:nvSpPr>
          <p:spPr>
            <a:xfrm>
              <a:off x="5828496" y="3016585"/>
              <a:ext cx="153867" cy="91363"/>
            </a:xfrm>
            <a:prstGeom prst="rect">
              <a:avLst/>
            </a:prstGeom>
            <a:blipFill>
              <a:blip r:embed="rId14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17" name="object 517"/>
            <p:cNvSpPr/>
            <p:nvPr/>
          </p:nvSpPr>
          <p:spPr>
            <a:xfrm>
              <a:off x="5800211" y="3014293"/>
              <a:ext cx="153945" cy="105157"/>
            </a:xfrm>
            <a:prstGeom prst="rect">
              <a:avLst/>
            </a:prstGeom>
            <a:blipFill>
              <a:blip r:embed="rId14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18" name="object 518"/>
            <p:cNvSpPr/>
            <p:nvPr/>
          </p:nvSpPr>
          <p:spPr>
            <a:xfrm>
              <a:off x="6009020" y="3111656"/>
              <a:ext cx="153869" cy="91300"/>
            </a:xfrm>
            <a:prstGeom prst="rect">
              <a:avLst/>
            </a:prstGeom>
            <a:blipFill>
              <a:blip r:embed="rId15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19" name="object 519"/>
            <p:cNvSpPr/>
            <p:nvPr/>
          </p:nvSpPr>
          <p:spPr>
            <a:xfrm>
              <a:off x="5980812" y="3109307"/>
              <a:ext cx="154011" cy="105157"/>
            </a:xfrm>
            <a:prstGeom prst="rect">
              <a:avLst/>
            </a:prstGeom>
            <a:blipFill>
              <a:blip r:embed="rId15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20" name="object 520"/>
            <p:cNvSpPr/>
            <p:nvPr/>
          </p:nvSpPr>
          <p:spPr>
            <a:xfrm>
              <a:off x="6769783" y="5188665"/>
              <a:ext cx="582768" cy="258694"/>
            </a:xfrm>
            <a:prstGeom prst="rect">
              <a:avLst/>
            </a:prstGeom>
            <a:blipFill>
              <a:blip r:embed="rId15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21" name="object 521"/>
            <p:cNvSpPr/>
            <p:nvPr/>
          </p:nvSpPr>
          <p:spPr>
            <a:xfrm>
              <a:off x="7157589" y="4786541"/>
              <a:ext cx="490363" cy="292283"/>
            </a:xfrm>
            <a:prstGeom prst="rect">
              <a:avLst/>
            </a:prstGeom>
            <a:blipFill>
              <a:blip r:embed="rId15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22" name="object 522"/>
            <p:cNvSpPr/>
            <p:nvPr/>
          </p:nvSpPr>
          <p:spPr>
            <a:xfrm>
              <a:off x="6827659" y="4795729"/>
              <a:ext cx="820368" cy="537655"/>
            </a:xfrm>
            <a:prstGeom prst="rect">
              <a:avLst/>
            </a:prstGeom>
            <a:blipFill>
              <a:blip r:embed="rId15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23" name="object 523"/>
            <p:cNvSpPr/>
            <p:nvPr/>
          </p:nvSpPr>
          <p:spPr>
            <a:xfrm>
              <a:off x="6202777" y="4628678"/>
              <a:ext cx="1142872" cy="659231"/>
            </a:xfrm>
            <a:custGeom>
              <a:avLst/>
              <a:gdLst/>
              <a:ahLst/>
              <a:cxnLst/>
              <a:rect l="l" t="t" r="r" b="b"/>
              <a:pathLst>
                <a:path w="1884679" h="1087120">
                  <a:moveTo>
                    <a:pt x="952630" y="0"/>
                  </a:moveTo>
                  <a:lnTo>
                    <a:pt x="0" y="553218"/>
                  </a:lnTo>
                  <a:lnTo>
                    <a:pt x="940097" y="1086898"/>
                  </a:lnTo>
                  <a:lnTo>
                    <a:pt x="1884298" y="548129"/>
                  </a:lnTo>
                  <a:lnTo>
                    <a:pt x="952630" y="0"/>
                  </a:lnTo>
                  <a:close/>
                </a:path>
              </a:pathLst>
            </a:custGeom>
            <a:solidFill>
              <a:srgbClr val="F0F3F2"/>
            </a:solidFill>
          </p:spPr>
          <p:txBody>
            <a:bodyPr wrap="square" lIns="0" tIns="0" rIns="0" bIns="0" rtlCol="0"/>
            <a:lstStyle/>
            <a:p>
              <a:endParaRPr sz="1092" dirty="0"/>
            </a:p>
          </p:txBody>
        </p:sp>
        <p:sp>
          <p:nvSpPr>
            <p:cNvPr id="524" name="object 524"/>
            <p:cNvSpPr/>
            <p:nvPr/>
          </p:nvSpPr>
          <p:spPr>
            <a:xfrm>
              <a:off x="6772851" y="4961070"/>
              <a:ext cx="572590" cy="486337"/>
            </a:xfrm>
            <a:custGeom>
              <a:avLst/>
              <a:gdLst/>
              <a:ahLst/>
              <a:cxnLst/>
              <a:rect l="l" t="t" r="r" b="b"/>
              <a:pathLst>
                <a:path w="944245" h="802004">
                  <a:moveTo>
                    <a:pt x="944201" y="0"/>
                  </a:moveTo>
                  <a:lnTo>
                    <a:pt x="0" y="538758"/>
                  </a:lnTo>
                  <a:lnTo>
                    <a:pt x="0" y="801986"/>
                  </a:lnTo>
                  <a:lnTo>
                    <a:pt x="944201" y="262986"/>
                  </a:lnTo>
                  <a:lnTo>
                    <a:pt x="944201" y="0"/>
                  </a:lnTo>
                  <a:close/>
                </a:path>
              </a:pathLst>
            </a:custGeom>
            <a:solidFill>
              <a:srgbClr val="CAC4C4"/>
            </a:solidFill>
          </p:spPr>
          <p:txBody>
            <a:bodyPr wrap="square" lIns="0" tIns="0" rIns="0" bIns="0" rtlCol="0"/>
            <a:lstStyle/>
            <a:p>
              <a:endParaRPr sz="1092" dirty="0"/>
            </a:p>
          </p:txBody>
        </p:sp>
        <p:sp>
          <p:nvSpPr>
            <p:cNvPr id="525" name="object 525"/>
            <p:cNvSpPr/>
            <p:nvPr/>
          </p:nvSpPr>
          <p:spPr>
            <a:xfrm>
              <a:off x="6202778" y="4964150"/>
              <a:ext cx="570281" cy="483256"/>
            </a:xfrm>
            <a:custGeom>
              <a:avLst/>
              <a:gdLst/>
              <a:ahLst/>
              <a:cxnLst/>
              <a:rect l="l" t="t" r="r" b="b"/>
              <a:pathLst>
                <a:path w="940434" h="796925">
                  <a:moveTo>
                    <a:pt x="0" y="0"/>
                  </a:moveTo>
                  <a:lnTo>
                    <a:pt x="0" y="263227"/>
                  </a:lnTo>
                  <a:lnTo>
                    <a:pt x="940097" y="796907"/>
                  </a:lnTo>
                  <a:lnTo>
                    <a:pt x="940097" y="533680"/>
                  </a:lnTo>
                  <a:lnTo>
                    <a:pt x="0" y="0"/>
                  </a:lnTo>
                  <a:close/>
                </a:path>
              </a:pathLst>
            </a:custGeom>
            <a:solidFill>
              <a:srgbClr val="F7F1F1"/>
            </a:solidFill>
          </p:spPr>
          <p:txBody>
            <a:bodyPr wrap="square" lIns="0" tIns="0" rIns="0" bIns="0" rtlCol="0"/>
            <a:lstStyle/>
            <a:p>
              <a:endParaRPr sz="1092" dirty="0"/>
            </a:p>
          </p:txBody>
        </p:sp>
        <p:sp>
          <p:nvSpPr>
            <p:cNvPr id="526" name="object 526"/>
            <p:cNvSpPr/>
            <p:nvPr/>
          </p:nvSpPr>
          <p:spPr>
            <a:xfrm>
              <a:off x="7275689" y="4985631"/>
              <a:ext cx="58327" cy="159482"/>
            </a:xfrm>
            <a:prstGeom prst="rect">
              <a:avLst/>
            </a:prstGeom>
            <a:blipFill>
              <a:blip r:embed="rId15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27" name="object 527"/>
            <p:cNvSpPr/>
            <p:nvPr/>
          </p:nvSpPr>
          <p:spPr>
            <a:xfrm>
              <a:off x="7193984" y="5032416"/>
              <a:ext cx="58327" cy="159615"/>
            </a:xfrm>
            <a:prstGeom prst="rect">
              <a:avLst/>
            </a:prstGeom>
            <a:blipFill>
              <a:blip r:embed="rId15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28" name="object 528"/>
            <p:cNvSpPr/>
            <p:nvPr/>
          </p:nvSpPr>
          <p:spPr>
            <a:xfrm>
              <a:off x="7112126" y="5079338"/>
              <a:ext cx="58321" cy="159323"/>
            </a:xfrm>
            <a:prstGeom prst="rect">
              <a:avLst/>
            </a:prstGeom>
            <a:blipFill>
              <a:blip r:embed="rId15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29" name="object 529"/>
            <p:cNvSpPr/>
            <p:nvPr/>
          </p:nvSpPr>
          <p:spPr>
            <a:xfrm>
              <a:off x="7030413" y="5125956"/>
              <a:ext cx="58321" cy="159475"/>
            </a:xfrm>
            <a:prstGeom prst="rect">
              <a:avLst/>
            </a:prstGeom>
            <a:blipFill>
              <a:blip r:embed="rId15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30" name="object 530"/>
            <p:cNvSpPr/>
            <p:nvPr/>
          </p:nvSpPr>
          <p:spPr>
            <a:xfrm>
              <a:off x="6948554" y="5172734"/>
              <a:ext cx="58327" cy="159621"/>
            </a:xfrm>
            <a:prstGeom prst="rect">
              <a:avLst/>
            </a:prstGeom>
            <a:blipFill>
              <a:blip r:embed="rId15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31" name="object 531"/>
            <p:cNvSpPr/>
            <p:nvPr/>
          </p:nvSpPr>
          <p:spPr>
            <a:xfrm>
              <a:off x="6866843" y="5219518"/>
              <a:ext cx="58327" cy="159615"/>
            </a:xfrm>
            <a:prstGeom prst="rect">
              <a:avLst/>
            </a:prstGeom>
            <a:blipFill>
              <a:blip r:embed="rId16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32" name="object 532"/>
            <p:cNvSpPr/>
            <p:nvPr/>
          </p:nvSpPr>
          <p:spPr>
            <a:xfrm>
              <a:off x="6784990" y="5266295"/>
              <a:ext cx="58321" cy="159621"/>
            </a:xfrm>
            <a:prstGeom prst="rect">
              <a:avLst/>
            </a:prstGeom>
            <a:blipFill>
              <a:blip r:embed="rId16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33" name="object 533"/>
            <p:cNvSpPr/>
            <p:nvPr/>
          </p:nvSpPr>
          <p:spPr>
            <a:xfrm>
              <a:off x="6213307" y="4987232"/>
              <a:ext cx="58314" cy="159482"/>
            </a:xfrm>
            <a:prstGeom prst="rect">
              <a:avLst/>
            </a:prstGeom>
            <a:blipFill>
              <a:blip r:embed="rId16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34" name="object 534"/>
            <p:cNvSpPr/>
            <p:nvPr/>
          </p:nvSpPr>
          <p:spPr>
            <a:xfrm>
              <a:off x="6295014" y="5034015"/>
              <a:ext cx="58473" cy="159475"/>
            </a:xfrm>
            <a:prstGeom prst="rect">
              <a:avLst/>
            </a:prstGeom>
            <a:blipFill>
              <a:blip r:embed="rId16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35" name="object 535"/>
            <p:cNvSpPr/>
            <p:nvPr/>
          </p:nvSpPr>
          <p:spPr>
            <a:xfrm>
              <a:off x="6376866" y="5080792"/>
              <a:ext cx="58327" cy="159475"/>
            </a:xfrm>
            <a:prstGeom prst="rect">
              <a:avLst/>
            </a:prstGeom>
            <a:blipFill>
              <a:blip r:embed="rId16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36" name="object 536"/>
            <p:cNvSpPr/>
            <p:nvPr/>
          </p:nvSpPr>
          <p:spPr>
            <a:xfrm>
              <a:off x="6458730" y="5127570"/>
              <a:ext cx="58314" cy="159621"/>
            </a:xfrm>
            <a:prstGeom prst="rect">
              <a:avLst/>
            </a:prstGeom>
            <a:blipFill>
              <a:blip r:embed="rId16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37" name="object 537"/>
            <p:cNvSpPr/>
            <p:nvPr/>
          </p:nvSpPr>
          <p:spPr>
            <a:xfrm>
              <a:off x="6540437" y="5174486"/>
              <a:ext cx="58327" cy="159323"/>
            </a:xfrm>
            <a:prstGeom prst="rect">
              <a:avLst/>
            </a:prstGeom>
            <a:blipFill>
              <a:blip r:embed="rId16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38" name="object 538"/>
            <p:cNvSpPr/>
            <p:nvPr/>
          </p:nvSpPr>
          <p:spPr>
            <a:xfrm>
              <a:off x="6622301" y="5221117"/>
              <a:ext cx="58314" cy="159475"/>
            </a:xfrm>
            <a:prstGeom prst="rect">
              <a:avLst/>
            </a:prstGeom>
            <a:blipFill>
              <a:blip r:embed="rId16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39" name="object 539"/>
            <p:cNvSpPr/>
            <p:nvPr/>
          </p:nvSpPr>
          <p:spPr>
            <a:xfrm>
              <a:off x="6704007" y="5267889"/>
              <a:ext cx="58327" cy="159621"/>
            </a:xfrm>
            <a:prstGeom prst="rect">
              <a:avLst/>
            </a:prstGeom>
            <a:blipFill>
              <a:blip r:embed="rId16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40" name="object 540"/>
            <p:cNvSpPr/>
            <p:nvPr/>
          </p:nvSpPr>
          <p:spPr>
            <a:xfrm>
              <a:off x="6286685" y="4673117"/>
              <a:ext cx="977679" cy="565660"/>
            </a:xfrm>
            <a:custGeom>
              <a:avLst/>
              <a:gdLst/>
              <a:ahLst/>
              <a:cxnLst/>
              <a:rect l="l" t="t" r="r" b="b"/>
              <a:pathLst>
                <a:path w="1612265" h="932815">
                  <a:moveTo>
                    <a:pt x="812582" y="0"/>
                  </a:moveTo>
                  <a:lnTo>
                    <a:pt x="0" y="470760"/>
                  </a:lnTo>
                  <a:lnTo>
                    <a:pt x="798834" y="932379"/>
                  </a:lnTo>
                  <a:lnTo>
                    <a:pt x="1611668" y="462090"/>
                  </a:lnTo>
                  <a:lnTo>
                    <a:pt x="812582" y="0"/>
                  </a:lnTo>
                  <a:close/>
                </a:path>
              </a:pathLst>
            </a:custGeom>
            <a:solidFill>
              <a:srgbClr val="999999"/>
            </a:solidFill>
          </p:spPr>
          <p:txBody>
            <a:bodyPr wrap="square" lIns="0" tIns="0" rIns="0" bIns="0" rtlCol="0"/>
            <a:lstStyle/>
            <a:p>
              <a:endParaRPr sz="1092" dirty="0"/>
            </a:p>
          </p:txBody>
        </p:sp>
        <p:sp>
          <p:nvSpPr>
            <p:cNvPr id="541" name="object 541"/>
            <p:cNvSpPr/>
            <p:nvPr/>
          </p:nvSpPr>
          <p:spPr>
            <a:xfrm>
              <a:off x="6202777" y="4472554"/>
              <a:ext cx="1142872" cy="659616"/>
            </a:xfrm>
            <a:custGeom>
              <a:avLst/>
              <a:gdLst/>
              <a:ahLst/>
              <a:cxnLst/>
              <a:rect l="l" t="t" r="r" b="b"/>
              <a:pathLst>
                <a:path w="1884679" h="1087754">
                  <a:moveTo>
                    <a:pt x="952630" y="0"/>
                  </a:moveTo>
                  <a:lnTo>
                    <a:pt x="0" y="553459"/>
                  </a:lnTo>
                  <a:lnTo>
                    <a:pt x="940097" y="1087160"/>
                  </a:lnTo>
                  <a:lnTo>
                    <a:pt x="1884298" y="548161"/>
                  </a:lnTo>
                  <a:lnTo>
                    <a:pt x="952630" y="0"/>
                  </a:lnTo>
                  <a:close/>
                </a:path>
              </a:pathLst>
            </a:custGeom>
            <a:solidFill>
              <a:srgbClr val="F0F3F2"/>
            </a:solidFill>
          </p:spPr>
          <p:txBody>
            <a:bodyPr wrap="square" lIns="0" tIns="0" rIns="0" bIns="0" rtlCol="0"/>
            <a:lstStyle/>
            <a:p>
              <a:endParaRPr sz="1092" dirty="0"/>
            </a:p>
          </p:txBody>
        </p:sp>
        <p:sp>
          <p:nvSpPr>
            <p:cNvPr id="542" name="object 542"/>
            <p:cNvSpPr/>
            <p:nvPr/>
          </p:nvSpPr>
          <p:spPr>
            <a:xfrm>
              <a:off x="6772851" y="4804958"/>
              <a:ext cx="572590" cy="486722"/>
            </a:xfrm>
            <a:custGeom>
              <a:avLst/>
              <a:gdLst/>
              <a:ahLst/>
              <a:cxnLst/>
              <a:rect l="l" t="t" r="r" b="b"/>
              <a:pathLst>
                <a:path w="944245" h="802640">
                  <a:moveTo>
                    <a:pt x="944201" y="0"/>
                  </a:moveTo>
                  <a:lnTo>
                    <a:pt x="0" y="538999"/>
                  </a:lnTo>
                  <a:lnTo>
                    <a:pt x="0" y="802226"/>
                  </a:lnTo>
                  <a:lnTo>
                    <a:pt x="944201" y="263227"/>
                  </a:lnTo>
                  <a:lnTo>
                    <a:pt x="944201" y="0"/>
                  </a:lnTo>
                  <a:close/>
                </a:path>
              </a:pathLst>
            </a:custGeom>
            <a:solidFill>
              <a:srgbClr val="CAC4C4"/>
            </a:solidFill>
          </p:spPr>
          <p:txBody>
            <a:bodyPr wrap="square" lIns="0" tIns="0" rIns="0" bIns="0" rtlCol="0"/>
            <a:lstStyle/>
            <a:p>
              <a:endParaRPr sz="1092" dirty="0"/>
            </a:p>
          </p:txBody>
        </p:sp>
        <p:sp>
          <p:nvSpPr>
            <p:cNvPr id="543" name="object 543"/>
            <p:cNvSpPr/>
            <p:nvPr/>
          </p:nvSpPr>
          <p:spPr>
            <a:xfrm>
              <a:off x="6202778" y="4808171"/>
              <a:ext cx="570281" cy="483256"/>
            </a:xfrm>
            <a:custGeom>
              <a:avLst/>
              <a:gdLst/>
              <a:ahLst/>
              <a:cxnLst/>
              <a:rect l="l" t="t" r="r" b="b"/>
              <a:pathLst>
                <a:path w="940434" h="796925">
                  <a:moveTo>
                    <a:pt x="0" y="0"/>
                  </a:moveTo>
                  <a:lnTo>
                    <a:pt x="0" y="263248"/>
                  </a:lnTo>
                  <a:lnTo>
                    <a:pt x="940097" y="796928"/>
                  </a:lnTo>
                  <a:lnTo>
                    <a:pt x="940097" y="533701"/>
                  </a:lnTo>
                  <a:lnTo>
                    <a:pt x="0" y="0"/>
                  </a:lnTo>
                  <a:close/>
                </a:path>
              </a:pathLst>
            </a:custGeom>
            <a:solidFill>
              <a:srgbClr val="F7F1F1"/>
            </a:solidFill>
          </p:spPr>
          <p:txBody>
            <a:bodyPr wrap="square" lIns="0" tIns="0" rIns="0" bIns="0" rtlCol="0"/>
            <a:lstStyle/>
            <a:p>
              <a:endParaRPr sz="1092" dirty="0"/>
            </a:p>
          </p:txBody>
        </p:sp>
        <p:sp>
          <p:nvSpPr>
            <p:cNvPr id="544" name="object 544"/>
            <p:cNvSpPr/>
            <p:nvPr/>
          </p:nvSpPr>
          <p:spPr>
            <a:xfrm>
              <a:off x="7275689" y="4829668"/>
              <a:ext cx="58327" cy="159482"/>
            </a:xfrm>
            <a:prstGeom prst="rect">
              <a:avLst/>
            </a:prstGeom>
            <a:blipFill>
              <a:blip r:embed="rId16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45" name="object 545"/>
            <p:cNvSpPr/>
            <p:nvPr/>
          </p:nvSpPr>
          <p:spPr>
            <a:xfrm>
              <a:off x="7193984" y="4876451"/>
              <a:ext cx="58327" cy="159456"/>
            </a:xfrm>
            <a:prstGeom prst="rect">
              <a:avLst/>
            </a:prstGeom>
            <a:blipFill>
              <a:blip r:embed="rId17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46" name="object 546"/>
            <p:cNvSpPr/>
            <p:nvPr/>
          </p:nvSpPr>
          <p:spPr>
            <a:xfrm>
              <a:off x="7112125" y="4923070"/>
              <a:ext cx="58321" cy="159621"/>
            </a:xfrm>
            <a:prstGeom prst="rect">
              <a:avLst/>
            </a:prstGeom>
            <a:blipFill>
              <a:blip r:embed="rId17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47" name="object 547"/>
            <p:cNvSpPr/>
            <p:nvPr/>
          </p:nvSpPr>
          <p:spPr>
            <a:xfrm>
              <a:off x="7030413" y="4969993"/>
              <a:ext cx="58321" cy="159475"/>
            </a:xfrm>
            <a:prstGeom prst="rect">
              <a:avLst/>
            </a:prstGeom>
            <a:blipFill>
              <a:blip r:embed="rId17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48" name="object 548"/>
            <p:cNvSpPr/>
            <p:nvPr/>
          </p:nvSpPr>
          <p:spPr>
            <a:xfrm>
              <a:off x="6948554" y="5016764"/>
              <a:ext cx="58327" cy="159482"/>
            </a:xfrm>
            <a:prstGeom prst="rect">
              <a:avLst/>
            </a:prstGeom>
            <a:blipFill>
              <a:blip r:embed="rId17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49" name="object 549"/>
            <p:cNvSpPr/>
            <p:nvPr/>
          </p:nvSpPr>
          <p:spPr>
            <a:xfrm>
              <a:off x="6866842" y="5063547"/>
              <a:ext cx="58327" cy="159475"/>
            </a:xfrm>
            <a:prstGeom prst="rect">
              <a:avLst/>
            </a:prstGeom>
            <a:blipFill>
              <a:blip r:embed="rId17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50" name="object 550"/>
            <p:cNvSpPr/>
            <p:nvPr/>
          </p:nvSpPr>
          <p:spPr>
            <a:xfrm>
              <a:off x="6784989" y="5110470"/>
              <a:ext cx="58321" cy="159323"/>
            </a:xfrm>
            <a:prstGeom prst="rect">
              <a:avLst/>
            </a:prstGeom>
            <a:blipFill>
              <a:blip r:embed="rId17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51" name="object 551"/>
            <p:cNvSpPr/>
            <p:nvPr/>
          </p:nvSpPr>
          <p:spPr>
            <a:xfrm>
              <a:off x="6213307" y="4831268"/>
              <a:ext cx="58314" cy="159335"/>
            </a:xfrm>
            <a:prstGeom prst="rect">
              <a:avLst/>
            </a:prstGeom>
            <a:blipFill>
              <a:blip r:embed="rId17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52" name="object 552"/>
            <p:cNvSpPr/>
            <p:nvPr/>
          </p:nvSpPr>
          <p:spPr>
            <a:xfrm>
              <a:off x="6295014" y="4878045"/>
              <a:ext cx="58473" cy="159475"/>
            </a:xfrm>
            <a:prstGeom prst="rect">
              <a:avLst/>
            </a:prstGeom>
            <a:blipFill>
              <a:blip r:embed="rId17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53" name="object 553"/>
            <p:cNvSpPr/>
            <p:nvPr/>
          </p:nvSpPr>
          <p:spPr>
            <a:xfrm>
              <a:off x="6376866" y="4924822"/>
              <a:ext cx="58327" cy="159335"/>
            </a:xfrm>
            <a:prstGeom prst="rect">
              <a:avLst/>
            </a:prstGeom>
            <a:blipFill>
              <a:blip r:embed="rId17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54" name="object 554"/>
            <p:cNvSpPr/>
            <p:nvPr/>
          </p:nvSpPr>
          <p:spPr>
            <a:xfrm>
              <a:off x="6458730" y="4971460"/>
              <a:ext cx="58314" cy="159621"/>
            </a:xfrm>
            <a:prstGeom prst="rect">
              <a:avLst/>
            </a:prstGeom>
            <a:blipFill>
              <a:blip r:embed="rId17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55" name="object 555"/>
            <p:cNvSpPr/>
            <p:nvPr/>
          </p:nvSpPr>
          <p:spPr>
            <a:xfrm>
              <a:off x="6540437" y="5018383"/>
              <a:ext cx="58327" cy="159462"/>
            </a:xfrm>
            <a:prstGeom prst="rect">
              <a:avLst/>
            </a:prstGeom>
            <a:blipFill>
              <a:blip r:embed="rId18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56" name="object 556"/>
            <p:cNvSpPr/>
            <p:nvPr/>
          </p:nvSpPr>
          <p:spPr>
            <a:xfrm>
              <a:off x="6622301" y="5065147"/>
              <a:ext cx="58314" cy="159475"/>
            </a:xfrm>
            <a:prstGeom prst="rect">
              <a:avLst/>
            </a:prstGeom>
            <a:blipFill>
              <a:blip r:embed="rId18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57" name="object 557"/>
            <p:cNvSpPr/>
            <p:nvPr/>
          </p:nvSpPr>
          <p:spPr>
            <a:xfrm>
              <a:off x="6704008" y="5111925"/>
              <a:ext cx="58327" cy="159482"/>
            </a:xfrm>
            <a:prstGeom prst="rect">
              <a:avLst/>
            </a:prstGeom>
            <a:blipFill>
              <a:blip r:embed="rId18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58" name="object 558"/>
            <p:cNvSpPr/>
            <p:nvPr/>
          </p:nvSpPr>
          <p:spPr>
            <a:xfrm>
              <a:off x="6286685" y="4517153"/>
              <a:ext cx="977679" cy="565660"/>
            </a:xfrm>
            <a:custGeom>
              <a:avLst/>
              <a:gdLst/>
              <a:ahLst/>
              <a:cxnLst/>
              <a:rect l="l" t="t" r="r" b="b"/>
              <a:pathLst>
                <a:path w="1612265" h="932815">
                  <a:moveTo>
                    <a:pt x="812582" y="0"/>
                  </a:moveTo>
                  <a:lnTo>
                    <a:pt x="0" y="470519"/>
                  </a:lnTo>
                  <a:lnTo>
                    <a:pt x="798834" y="932610"/>
                  </a:lnTo>
                  <a:lnTo>
                    <a:pt x="1611668" y="461828"/>
                  </a:lnTo>
                  <a:lnTo>
                    <a:pt x="812582" y="0"/>
                  </a:lnTo>
                  <a:close/>
                </a:path>
              </a:pathLst>
            </a:custGeom>
            <a:solidFill>
              <a:srgbClr val="999999"/>
            </a:solidFill>
          </p:spPr>
          <p:txBody>
            <a:bodyPr wrap="square" lIns="0" tIns="0" rIns="0" bIns="0" rtlCol="0"/>
            <a:lstStyle/>
            <a:p>
              <a:endParaRPr sz="1092" dirty="0"/>
            </a:p>
          </p:txBody>
        </p:sp>
        <p:sp>
          <p:nvSpPr>
            <p:cNvPr id="559" name="object 559"/>
            <p:cNvSpPr/>
            <p:nvPr/>
          </p:nvSpPr>
          <p:spPr>
            <a:xfrm>
              <a:off x="6202777" y="4317334"/>
              <a:ext cx="1142872" cy="659616"/>
            </a:xfrm>
            <a:custGeom>
              <a:avLst/>
              <a:gdLst/>
              <a:ahLst/>
              <a:cxnLst/>
              <a:rect l="l" t="t" r="r" b="b"/>
              <a:pathLst>
                <a:path w="1884679" h="1087754">
                  <a:moveTo>
                    <a:pt x="952630" y="0"/>
                  </a:moveTo>
                  <a:lnTo>
                    <a:pt x="0" y="553689"/>
                  </a:lnTo>
                  <a:lnTo>
                    <a:pt x="940097" y="1087129"/>
                  </a:lnTo>
                  <a:lnTo>
                    <a:pt x="1884298" y="548391"/>
                  </a:lnTo>
                  <a:lnTo>
                    <a:pt x="952630" y="0"/>
                  </a:lnTo>
                  <a:close/>
                </a:path>
              </a:pathLst>
            </a:custGeom>
            <a:solidFill>
              <a:srgbClr val="F0F3F2"/>
            </a:solidFill>
          </p:spPr>
          <p:txBody>
            <a:bodyPr wrap="square" lIns="0" tIns="0" rIns="0" bIns="0" rtlCol="0"/>
            <a:lstStyle/>
            <a:p>
              <a:endParaRPr sz="1092" dirty="0"/>
            </a:p>
          </p:txBody>
        </p:sp>
        <p:sp>
          <p:nvSpPr>
            <p:cNvPr id="560" name="object 560"/>
            <p:cNvSpPr/>
            <p:nvPr/>
          </p:nvSpPr>
          <p:spPr>
            <a:xfrm>
              <a:off x="6772851" y="4649877"/>
              <a:ext cx="572590" cy="486337"/>
            </a:xfrm>
            <a:custGeom>
              <a:avLst/>
              <a:gdLst/>
              <a:ahLst/>
              <a:cxnLst/>
              <a:rect l="l" t="t" r="r" b="b"/>
              <a:pathLst>
                <a:path w="944245" h="802004">
                  <a:moveTo>
                    <a:pt x="944201" y="0"/>
                  </a:moveTo>
                  <a:lnTo>
                    <a:pt x="0" y="538737"/>
                  </a:lnTo>
                  <a:lnTo>
                    <a:pt x="0" y="801965"/>
                  </a:lnTo>
                  <a:lnTo>
                    <a:pt x="944201" y="263227"/>
                  </a:lnTo>
                  <a:lnTo>
                    <a:pt x="944201" y="0"/>
                  </a:lnTo>
                  <a:close/>
                </a:path>
              </a:pathLst>
            </a:custGeom>
            <a:solidFill>
              <a:srgbClr val="CAC4C4"/>
            </a:solidFill>
          </p:spPr>
          <p:txBody>
            <a:bodyPr wrap="square" lIns="0" tIns="0" rIns="0" bIns="0" rtlCol="0"/>
            <a:lstStyle/>
            <a:p>
              <a:endParaRPr sz="1092" dirty="0"/>
            </a:p>
          </p:txBody>
        </p:sp>
        <p:sp>
          <p:nvSpPr>
            <p:cNvPr id="561" name="object 561"/>
            <p:cNvSpPr/>
            <p:nvPr/>
          </p:nvSpPr>
          <p:spPr>
            <a:xfrm>
              <a:off x="6202778" y="4653091"/>
              <a:ext cx="570281" cy="483256"/>
            </a:xfrm>
            <a:custGeom>
              <a:avLst/>
              <a:gdLst/>
              <a:ahLst/>
              <a:cxnLst/>
              <a:rect l="l" t="t" r="r" b="b"/>
              <a:pathLst>
                <a:path w="940434" h="796925">
                  <a:moveTo>
                    <a:pt x="0" y="0"/>
                  </a:moveTo>
                  <a:lnTo>
                    <a:pt x="0" y="262986"/>
                  </a:lnTo>
                  <a:lnTo>
                    <a:pt x="940097" y="796666"/>
                  </a:lnTo>
                  <a:lnTo>
                    <a:pt x="940097" y="533439"/>
                  </a:lnTo>
                  <a:lnTo>
                    <a:pt x="0" y="0"/>
                  </a:lnTo>
                  <a:close/>
                </a:path>
              </a:pathLst>
            </a:custGeom>
            <a:solidFill>
              <a:srgbClr val="F7F1F1"/>
            </a:solidFill>
          </p:spPr>
          <p:txBody>
            <a:bodyPr wrap="square" lIns="0" tIns="0" rIns="0" bIns="0" rtlCol="0"/>
            <a:lstStyle/>
            <a:p>
              <a:endParaRPr sz="1092" dirty="0"/>
            </a:p>
          </p:txBody>
        </p:sp>
        <p:sp>
          <p:nvSpPr>
            <p:cNvPr id="562" name="object 562"/>
            <p:cNvSpPr/>
            <p:nvPr/>
          </p:nvSpPr>
          <p:spPr>
            <a:xfrm>
              <a:off x="7275689" y="4674427"/>
              <a:ext cx="58327" cy="159482"/>
            </a:xfrm>
            <a:prstGeom prst="rect">
              <a:avLst/>
            </a:prstGeom>
            <a:blipFill>
              <a:blip r:embed="rId18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63" name="object 563"/>
            <p:cNvSpPr/>
            <p:nvPr/>
          </p:nvSpPr>
          <p:spPr>
            <a:xfrm>
              <a:off x="7193984" y="4721351"/>
              <a:ext cx="58327" cy="159475"/>
            </a:xfrm>
            <a:prstGeom prst="rect">
              <a:avLst/>
            </a:prstGeom>
            <a:blipFill>
              <a:blip r:embed="rId18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64" name="object 564"/>
            <p:cNvSpPr/>
            <p:nvPr/>
          </p:nvSpPr>
          <p:spPr>
            <a:xfrm>
              <a:off x="7112125" y="4768128"/>
              <a:ext cx="58321" cy="159482"/>
            </a:xfrm>
            <a:prstGeom prst="rect">
              <a:avLst/>
            </a:prstGeom>
            <a:blipFill>
              <a:blip r:embed="rId18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65" name="object 565"/>
            <p:cNvSpPr/>
            <p:nvPr/>
          </p:nvSpPr>
          <p:spPr>
            <a:xfrm>
              <a:off x="7030413" y="4814746"/>
              <a:ext cx="58321" cy="159621"/>
            </a:xfrm>
            <a:prstGeom prst="rect">
              <a:avLst/>
            </a:prstGeom>
            <a:blipFill>
              <a:blip r:embed="rId18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66" name="object 566"/>
            <p:cNvSpPr/>
            <p:nvPr/>
          </p:nvSpPr>
          <p:spPr>
            <a:xfrm>
              <a:off x="6948555" y="4861670"/>
              <a:ext cx="58327" cy="159621"/>
            </a:xfrm>
            <a:prstGeom prst="rect">
              <a:avLst/>
            </a:prstGeom>
            <a:blipFill>
              <a:blip r:embed="rId18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67" name="object 567"/>
            <p:cNvSpPr/>
            <p:nvPr/>
          </p:nvSpPr>
          <p:spPr>
            <a:xfrm>
              <a:off x="6866842" y="4908453"/>
              <a:ext cx="58327" cy="159475"/>
            </a:xfrm>
            <a:prstGeom prst="rect">
              <a:avLst/>
            </a:prstGeom>
            <a:blipFill>
              <a:blip r:embed="rId18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68" name="object 568"/>
            <p:cNvSpPr/>
            <p:nvPr/>
          </p:nvSpPr>
          <p:spPr>
            <a:xfrm>
              <a:off x="6784989" y="4955231"/>
              <a:ext cx="58321" cy="159482"/>
            </a:xfrm>
            <a:prstGeom prst="rect">
              <a:avLst/>
            </a:prstGeom>
            <a:blipFill>
              <a:blip r:embed="rId18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69" name="object 569"/>
            <p:cNvSpPr/>
            <p:nvPr/>
          </p:nvSpPr>
          <p:spPr>
            <a:xfrm>
              <a:off x="6213308" y="4676028"/>
              <a:ext cx="58314" cy="159640"/>
            </a:xfrm>
            <a:prstGeom prst="rect">
              <a:avLst/>
            </a:prstGeom>
            <a:blipFill>
              <a:blip r:embed="rId19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70" name="object 570"/>
            <p:cNvSpPr/>
            <p:nvPr/>
          </p:nvSpPr>
          <p:spPr>
            <a:xfrm>
              <a:off x="6295013" y="4722969"/>
              <a:ext cx="58473" cy="159316"/>
            </a:xfrm>
            <a:prstGeom prst="rect">
              <a:avLst/>
            </a:prstGeom>
            <a:blipFill>
              <a:blip r:embed="rId19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71" name="object 571"/>
            <p:cNvSpPr/>
            <p:nvPr/>
          </p:nvSpPr>
          <p:spPr>
            <a:xfrm>
              <a:off x="6376866" y="4769588"/>
              <a:ext cx="58327" cy="159621"/>
            </a:xfrm>
            <a:prstGeom prst="rect">
              <a:avLst/>
            </a:prstGeom>
            <a:blipFill>
              <a:blip r:embed="rId19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72" name="object 572"/>
            <p:cNvSpPr/>
            <p:nvPr/>
          </p:nvSpPr>
          <p:spPr>
            <a:xfrm>
              <a:off x="6458731" y="4816511"/>
              <a:ext cx="58314" cy="159475"/>
            </a:xfrm>
            <a:prstGeom prst="rect">
              <a:avLst/>
            </a:prstGeom>
            <a:blipFill>
              <a:blip r:embed="rId19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73" name="object 573"/>
            <p:cNvSpPr/>
            <p:nvPr/>
          </p:nvSpPr>
          <p:spPr>
            <a:xfrm>
              <a:off x="6540437" y="4863282"/>
              <a:ext cx="58327" cy="159482"/>
            </a:xfrm>
            <a:prstGeom prst="rect">
              <a:avLst/>
            </a:prstGeom>
            <a:blipFill>
              <a:blip r:embed="rId19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74" name="object 574"/>
            <p:cNvSpPr/>
            <p:nvPr/>
          </p:nvSpPr>
          <p:spPr>
            <a:xfrm>
              <a:off x="6622301" y="4909907"/>
              <a:ext cx="58314" cy="159634"/>
            </a:xfrm>
            <a:prstGeom prst="rect">
              <a:avLst/>
            </a:prstGeom>
            <a:blipFill>
              <a:blip r:embed="rId19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75" name="object 575"/>
            <p:cNvSpPr/>
            <p:nvPr/>
          </p:nvSpPr>
          <p:spPr>
            <a:xfrm>
              <a:off x="6704008" y="4956843"/>
              <a:ext cx="58327" cy="159469"/>
            </a:xfrm>
            <a:prstGeom prst="rect">
              <a:avLst/>
            </a:prstGeom>
            <a:blipFill>
              <a:blip r:embed="rId19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76" name="object 576"/>
            <p:cNvSpPr/>
            <p:nvPr/>
          </p:nvSpPr>
          <p:spPr>
            <a:xfrm>
              <a:off x="6286685" y="4361915"/>
              <a:ext cx="977679" cy="565660"/>
            </a:xfrm>
            <a:custGeom>
              <a:avLst/>
              <a:gdLst/>
              <a:ahLst/>
              <a:cxnLst/>
              <a:rect l="l" t="t" r="r" b="b"/>
              <a:pathLst>
                <a:path w="1612265" h="932815">
                  <a:moveTo>
                    <a:pt x="812582" y="0"/>
                  </a:moveTo>
                  <a:lnTo>
                    <a:pt x="0" y="470519"/>
                  </a:lnTo>
                  <a:lnTo>
                    <a:pt x="798834" y="932610"/>
                  </a:lnTo>
                  <a:lnTo>
                    <a:pt x="1611668" y="462090"/>
                  </a:lnTo>
                  <a:lnTo>
                    <a:pt x="812582" y="0"/>
                  </a:lnTo>
                  <a:close/>
                </a:path>
              </a:pathLst>
            </a:custGeom>
            <a:solidFill>
              <a:srgbClr val="999999"/>
            </a:solidFill>
          </p:spPr>
          <p:txBody>
            <a:bodyPr wrap="square" lIns="0" tIns="0" rIns="0" bIns="0" rtlCol="0"/>
            <a:lstStyle/>
            <a:p>
              <a:endParaRPr sz="1092" dirty="0"/>
            </a:p>
          </p:txBody>
        </p:sp>
        <p:sp>
          <p:nvSpPr>
            <p:cNvPr id="577" name="object 577"/>
            <p:cNvSpPr/>
            <p:nvPr/>
          </p:nvSpPr>
          <p:spPr>
            <a:xfrm>
              <a:off x="6202777" y="4157109"/>
              <a:ext cx="1142872" cy="659616"/>
            </a:xfrm>
            <a:custGeom>
              <a:avLst/>
              <a:gdLst/>
              <a:ahLst/>
              <a:cxnLst/>
              <a:rect l="l" t="t" r="r" b="b"/>
              <a:pathLst>
                <a:path w="1884679" h="1087754">
                  <a:moveTo>
                    <a:pt x="952630" y="0"/>
                  </a:moveTo>
                  <a:lnTo>
                    <a:pt x="0" y="553218"/>
                  </a:lnTo>
                  <a:lnTo>
                    <a:pt x="940097" y="1087160"/>
                  </a:lnTo>
                  <a:lnTo>
                    <a:pt x="1884298" y="548391"/>
                  </a:lnTo>
                  <a:lnTo>
                    <a:pt x="952630" y="0"/>
                  </a:lnTo>
                  <a:close/>
                </a:path>
              </a:pathLst>
            </a:custGeom>
            <a:solidFill>
              <a:srgbClr val="FFFFFF"/>
            </a:solidFill>
          </p:spPr>
          <p:txBody>
            <a:bodyPr wrap="square" lIns="0" tIns="0" rIns="0" bIns="0" rtlCol="0"/>
            <a:lstStyle/>
            <a:p>
              <a:endParaRPr sz="1092" dirty="0"/>
            </a:p>
          </p:txBody>
        </p:sp>
        <p:sp>
          <p:nvSpPr>
            <p:cNvPr id="578" name="object 578"/>
            <p:cNvSpPr/>
            <p:nvPr/>
          </p:nvSpPr>
          <p:spPr>
            <a:xfrm>
              <a:off x="6772851" y="4489659"/>
              <a:ext cx="572590" cy="486337"/>
            </a:xfrm>
            <a:custGeom>
              <a:avLst/>
              <a:gdLst/>
              <a:ahLst/>
              <a:cxnLst/>
              <a:rect l="l" t="t" r="r" b="b"/>
              <a:pathLst>
                <a:path w="944245" h="802004">
                  <a:moveTo>
                    <a:pt x="944201" y="0"/>
                  </a:moveTo>
                  <a:lnTo>
                    <a:pt x="0" y="538758"/>
                  </a:lnTo>
                  <a:lnTo>
                    <a:pt x="0" y="801986"/>
                  </a:lnTo>
                  <a:lnTo>
                    <a:pt x="944201" y="262986"/>
                  </a:lnTo>
                  <a:lnTo>
                    <a:pt x="944201" y="0"/>
                  </a:lnTo>
                  <a:close/>
                </a:path>
              </a:pathLst>
            </a:custGeom>
            <a:solidFill>
              <a:srgbClr val="CAC4C4"/>
            </a:solidFill>
          </p:spPr>
          <p:txBody>
            <a:bodyPr wrap="square" lIns="0" tIns="0" rIns="0" bIns="0" rtlCol="0"/>
            <a:lstStyle/>
            <a:p>
              <a:endParaRPr sz="1092" dirty="0"/>
            </a:p>
          </p:txBody>
        </p:sp>
        <p:sp>
          <p:nvSpPr>
            <p:cNvPr id="579" name="object 579"/>
            <p:cNvSpPr/>
            <p:nvPr/>
          </p:nvSpPr>
          <p:spPr>
            <a:xfrm>
              <a:off x="6202778" y="4492580"/>
              <a:ext cx="570281" cy="483641"/>
            </a:xfrm>
            <a:custGeom>
              <a:avLst/>
              <a:gdLst/>
              <a:ahLst/>
              <a:cxnLst/>
              <a:rect l="l" t="t" r="r" b="b"/>
              <a:pathLst>
                <a:path w="940434" h="797559">
                  <a:moveTo>
                    <a:pt x="0" y="0"/>
                  </a:moveTo>
                  <a:lnTo>
                    <a:pt x="0" y="263489"/>
                  </a:lnTo>
                  <a:lnTo>
                    <a:pt x="940097" y="797169"/>
                  </a:lnTo>
                  <a:lnTo>
                    <a:pt x="940097" y="533941"/>
                  </a:lnTo>
                  <a:lnTo>
                    <a:pt x="0" y="0"/>
                  </a:lnTo>
                  <a:close/>
                </a:path>
              </a:pathLst>
            </a:custGeom>
            <a:solidFill>
              <a:srgbClr val="F7F1F1"/>
            </a:solidFill>
          </p:spPr>
          <p:txBody>
            <a:bodyPr wrap="square" lIns="0" tIns="0" rIns="0" bIns="0" rtlCol="0"/>
            <a:lstStyle/>
            <a:p>
              <a:endParaRPr sz="1092" dirty="0"/>
            </a:p>
          </p:txBody>
        </p:sp>
        <p:sp>
          <p:nvSpPr>
            <p:cNvPr id="580" name="object 580"/>
            <p:cNvSpPr/>
            <p:nvPr/>
          </p:nvSpPr>
          <p:spPr>
            <a:xfrm>
              <a:off x="7275690" y="4514222"/>
              <a:ext cx="58327" cy="159482"/>
            </a:xfrm>
            <a:prstGeom prst="rect">
              <a:avLst/>
            </a:prstGeom>
            <a:blipFill>
              <a:blip r:embed="rId19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81" name="object 581"/>
            <p:cNvSpPr/>
            <p:nvPr/>
          </p:nvSpPr>
          <p:spPr>
            <a:xfrm>
              <a:off x="7193984" y="4561006"/>
              <a:ext cx="58327" cy="159456"/>
            </a:xfrm>
            <a:prstGeom prst="rect">
              <a:avLst/>
            </a:prstGeom>
            <a:blipFill>
              <a:blip r:embed="rId19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82" name="object 582"/>
            <p:cNvSpPr/>
            <p:nvPr/>
          </p:nvSpPr>
          <p:spPr>
            <a:xfrm>
              <a:off x="7112125" y="4607770"/>
              <a:ext cx="58321" cy="159475"/>
            </a:xfrm>
            <a:prstGeom prst="rect">
              <a:avLst/>
            </a:prstGeom>
            <a:blipFill>
              <a:blip r:embed="rId19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83" name="object 583"/>
            <p:cNvSpPr/>
            <p:nvPr/>
          </p:nvSpPr>
          <p:spPr>
            <a:xfrm>
              <a:off x="7030414" y="4654546"/>
              <a:ext cx="58321" cy="159475"/>
            </a:xfrm>
            <a:prstGeom prst="rect">
              <a:avLst/>
            </a:prstGeom>
            <a:blipFill>
              <a:blip r:embed="rId20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84" name="object 584"/>
            <p:cNvSpPr/>
            <p:nvPr/>
          </p:nvSpPr>
          <p:spPr>
            <a:xfrm>
              <a:off x="6948554" y="4701324"/>
              <a:ext cx="58327" cy="159482"/>
            </a:xfrm>
            <a:prstGeom prst="rect">
              <a:avLst/>
            </a:prstGeom>
            <a:blipFill>
              <a:blip r:embed="rId20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85" name="object 585"/>
            <p:cNvSpPr/>
            <p:nvPr/>
          </p:nvSpPr>
          <p:spPr>
            <a:xfrm>
              <a:off x="6866842" y="4748241"/>
              <a:ext cx="58327" cy="159342"/>
            </a:xfrm>
            <a:prstGeom prst="rect">
              <a:avLst/>
            </a:prstGeom>
            <a:blipFill>
              <a:blip r:embed="rId20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86" name="object 586"/>
            <p:cNvSpPr/>
            <p:nvPr/>
          </p:nvSpPr>
          <p:spPr>
            <a:xfrm>
              <a:off x="6784990" y="4794879"/>
              <a:ext cx="58321" cy="159469"/>
            </a:xfrm>
            <a:prstGeom prst="rect">
              <a:avLst/>
            </a:prstGeom>
            <a:blipFill>
              <a:blip r:embed="rId20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87" name="object 587"/>
            <p:cNvSpPr/>
            <p:nvPr/>
          </p:nvSpPr>
          <p:spPr>
            <a:xfrm>
              <a:off x="6213307" y="4515682"/>
              <a:ext cx="58314" cy="159475"/>
            </a:xfrm>
            <a:prstGeom prst="rect">
              <a:avLst/>
            </a:prstGeom>
            <a:blipFill>
              <a:blip r:embed="rId20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88" name="object 588"/>
            <p:cNvSpPr/>
            <p:nvPr/>
          </p:nvSpPr>
          <p:spPr>
            <a:xfrm>
              <a:off x="6295014" y="4562605"/>
              <a:ext cx="58473" cy="159475"/>
            </a:xfrm>
            <a:prstGeom prst="rect">
              <a:avLst/>
            </a:prstGeom>
            <a:blipFill>
              <a:blip r:embed="rId20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89" name="object 589"/>
            <p:cNvSpPr/>
            <p:nvPr/>
          </p:nvSpPr>
          <p:spPr>
            <a:xfrm>
              <a:off x="6376866" y="4609376"/>
              <a:ext cx="58327" cy="159342"/>
            </a:xfrm>
            <a:prstGeom prst="rect">
              <a:avLst/>
            </a:prstGeom>
            <a:blipFill>
              <a:blip r:embed="rId20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90" name="object 590"/>
            <p:cNvSpPr/>
            <p:nvPr/>
          </p:nvSpPr>
          <p:spPr>
            <a:xfrm>
              <a:off x="6458730" y="4656014"/>
              <a:ext cx="58314" cy="159621"/>
            </a:xfrm>
            <a:prstGeom prst="rect">
              <a:avLst/>
            </a:prstGeom>
            <a:blipFill>
              <a:blip r:embed="rId20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91" name="object 591"/>
            <p:cNvSpPr/>
            <p:nvPr/>
          </p:nvSpPr>
          <p:spPr>
            <a:xfrm>
              <a:off x="6540436" y="4702937"/>
              <a:ext cx="58327" cy="159462"/>
            </a:xfrm>
            <a:prstGeom prst="rect">
              <a:avLst/>
            </a:prstGeom>
            <a:blipFill>
              <a:blip r:embed="rId20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92" name="object 592"/>
            <p:cNvSpPr/>
            <p:nvPr/>
          </p:nvSpPr>
          <p:spPr>
            <a:xfrm>
              <a:off x="6622301" y="4749702"/>
              <a:ext cx="58314" cy="159475"/>
            </a:xfrm>
            <a:prstGeom prst="rect">
              <a:avLst/>
            </a:prstGeom>
            <a:blipFill>
              <a:blip r:embed="rId20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93" name="object 593"/>
            <p:cNvSpPr/>
            <p:nvPr/>
          </p:nvSpPr>
          <p:spPr>
            <a:xfrm>
              <a:off x="6704008" y="4796478"/>
              <a:ext cx="58327" cy="159482"/>
            </a:xfrm>
            <a:prstGeom prst="rect">
              <a:avLst/>
            </a:prstGeom>
            <a:blipFill>
              <a:blip r:embed="rId21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594" name="object 594"/>
            <p:cNvSpPr/>
            <p:nvPr/>
          </p:nvSpPr>
          <p:spPr>
            <a:xfrm>
              <a:off x="6272792" y="4206956"/>
              <a:ext cx="1005019" cy="581448"/>
            </a:xfrm>
            <a:custGeom>
              <a:avLst/>
              <a:gdLst/>
              <a:ahLst/>
              <a:cxnLst/>
              <a:rect l="l" t="t" r="r" b="b"/>
              <a:pathLst>
                <a:path w="1657350" h="958850">
                  <a:moveTo>
                    <a:pt x="835974" y="0"/>
                  </a:moveTo>
                  <a:lnTo>
                    <a:pt x="0" y="484037"/>
                  </a:lnTo>
                  <a:lnTo>
                    <a:pt x="821262" y="958682"/>
                  </a:lnTo>
                  <a:lnTo>
                    <a:pt x="1656996" y="474645"/>
                  </a:lnTo>
                  <a:lnTo>
                    <a:pt x="835974" y="0"/>
                  </a:lnTo>
                  <a:close/>
                </a:path>
              </a:pathLst>
            </a:custGeom>
            <a:solidFill>
              <a:srgbClr val="ECECEC"/>
            </a:solidFill>
          </p:spPr>
          <p:txBody>
            <a:bodyPr wrap="square" lIns="0" tIns="0" rIns="0" bIns="0" rtlCol="0"/>
            <a:lstStyle/>
            <a:p>
              <a:endParaRPr sz="1092" dirty="0"/>
            </a:p>
          </p:txBody>
        </p:sp>
        <p:sp>
          <p:nvSpPr>
            <p:cNvPr id="595" name="object 595"/>
            <p:cNvSpPr/>
            <p:nvPr/>
          </p:nvSpPr>
          <p:spPr>
            <a:xfrm>
              <a:off x="6885849" y="4355613"/>
              <a:ext cx="264154" cy="150175"/>
            </a:xfrm>
            <a:custGeom>
              <a:avLst/>
              <a:gdLst/>
              <a:ahLst/>
              <a:cxnLst/>
              <a:rect l="l" t="t" r="r" b="b"/>
              <a:pathLst>
                <a:path w="435609" h="247650">
                  <a:moveTo>
                    <a:pt x="339884" y="0"/>
                  </a:moveTo>
                  <a:lnTo>
                    <a:pt x="0" y="192842"/>
                  </a:lnTo>
                  <a:lnTo>
                    <a:pt x="95934" y="247343"/>
                  </a:lnTo>
                  <a:lnTo>
                    <a:pt x="435588" y="54239"/>
                  </a:lnTo>
                  <a:lnTo>
                    <a:pt x="339884" y="0"/>
                  </a:lnTo>
                  <a:close/>
                </a:path>
              </a:pathLst>
            </a:custGeom>
            <a:solidFill>
              <a:srgbClr val="FFFFFF"/>
            </a:solidFill>
          </p:spPr>
          <p:txBody>
            <a:bodyPr wrap="square" lIns="0" tIns="0" rIns="0" bIns="0" rtlCol="0"/>
            <a:lstStyle/>
            <a:p>
              <a:endParaRPr sz="1092" dirty="0"/>
            </a:p>
          </p:txBody>
        </p:sp>
        <p:sp>
          <p:nvSpPr>
            <p:cNvPr id="596" name="object 596"/>
            <p:cNvSpPr/>
            <p:nvPr/>
          </p:nvSpPr>
          <p:spPr>
            <a:xfrm>
              <a:off x="6944020" y="4388506"/>
              <a:ext cx="206010" cy="234889"/>
            </a:xfrm>
            <a:custGeom>
              <a:avLst/>
              <a:gdLst/>
              <a:ahLst/>
              <a:cxnLst/>
              <a:rect l="l" t="t" r="r" b="b"/>
              <a:pathLst>
                <a:path w="339725" h="387350">
                  <a:moveTo>
                    <a:pt x="339654" y="0"/>
                  </a:moveTo>
                  <a:lnTo>
                    <a:pt x="0" y="193104"/>
                  </a:lnTo>
                  <a:lnTo>
                    <a:pt x="0" y="386909"/>
                  </a:lnTo>
                  <a:lnTo>
                    <a:pt x="339654" y="194067"/>
                  </a:lnTo>
                  <a:lnTo>
                    <a:pt x="339654" y="0"/>
                  </a:lnTo>
                  <a:close/>
                </a:path>
              </a:pathLst>
            </a:custGeom>
            <a:solidFill>
              <a:srgbClr val="787371"/>
            </a:solidFill>
          </p:spPr>
          <p:txBody>
            <a:bodyPr wrap="square" lIns="0" tIns="0" rIns="0" bIns="0" rtlCol="0"/>
            <a:lstStyle/>
            <a:p>
              <a:endParaRPr sz="1092" dirty="0"/>
            </a:p>
          </p:txBody>
        </p:sp>
        <p:sp>
          <p:nvSpPr>
            <p:cNvPr id="597" name="object 597"/>
            <p:cNvSpPr/>
            <p:nvPr/>
          </p:nvSpPr>
          <p:spPr>
            <a:xfrm>
              <a:off x="6885849" y="4472553"/>
              <a:ext cx="58530" cy="150945"/>
            </a:xfrm>
            <a:custGeom>
              <a:avLst/>
              <a:gdLst/>
              <a:ahLst/>
              <a:cxnLst/>
              <a:rect l="l" t="t" r="r" b="b"/>
              <a:pathLst>
                <a:path w="96520" h="248920">
                  <a:moveTo>
                    <a:pt x="0" y="0"/>
                  </a:moveTo>
                  <a:lnTo>
                    <a:pt x="0" y="194067"/>
                  </a:lnTo>
                  <a:lnTo>
                    <a:pt x="95934" y="248306"/>
                  </a:lnTo>
                  <a:lnTo>
                    <a:pt x="95934" y="54500"/>
                  </a:lnTo>
                  <a:lnTo>
                    <a:pt x="0" y="0"/>
                  </a:lnTo>
                  <a:close/>
                </a:path>
              </a:pathLst>
            </a:custGeom>
            <a:solidFill>
              <a:srgbClr val="D6CCC2"/>
            </a:solidFill>
          </p:spPr>
          <p:txBody>
            <a:bodyPr wrap="square" lIns="0" tIns="0" rIns="0" bIns="0" rtlCol="0"/>
            <a:lstStyle/>
            <a:p>
              <a:endParaRPr sz="1092" dirty="0"/>
            </a:p>
          </p:txBody>
        </p:sp>
        <p:sp>
          <p:nvSpPr>
            <p:cNvPr id="598" name="object 598"/>
            <p:cNvSpPr/>
            <p:nvPr/>
          </p:nvSpPr>
          <p:spPr>
            <a:xfrm>
              <a:off x="6400107" y="4413212"/>
              <a:ext cx="425111" cy="241050"/>
            </a:xfrm>
            <a:custGeom>
              <a:avLst/>
              <a:gdLst/>
              <a:ahLst/>
              <a:cxnLst/>
              <a:rect l="l" t="t" r="r" b="b"/>
              <a:pathLst>
                <a:path w="701040" h="397509">
                  <a:moveTo>
                    <a:pt x="255290" y="0"/>
                  </a:moveTo>
                  <a:lnTo>
                    <a:pt x="0" y="144875"/>
                  </a:lnTo>
                  <a:lnTo>
                    <a:pt x="445232" y="397506"/>
                  </a:lnTo>
                  <a:lnTo>
                    <a:pt x="700502" y="252610"/>
                  </a:lnTo>
                  <a:lnTo>
                    <a:pt x="255290" y="0"/>
                  </a:lnTo>
                  <a:close/>
                </a:path>
              </a:pathLst>
            </a:custGeom>
            <a:solidFill>
              <a:srgbClr val="FFFFFF"/>
            </a:solidFill>
          </p:spPr>
          <p:txBody>
            <a:bodyPr wrap="square" lIns="0" tIns="0" rIns="0" bIns="0" rtlCol="0"/>
            <a:lstStyle/>
            <a:p>
              <a:endParaRPr sz="1092" dirty="0"/>
            </a:p>
          </p:txBody>
        </p:sp>
        <p:sp>
          <p:nvSpPr>
            <p:cNvPr id="599" name="object 599"/>
            <p:cNvSpPr/>
            <p:nvPr/>
          </p:nvSpPr>
          <p:spPr>
            <a:xfrm>
              <a:off x="6670097" y="4566401"/>
              <a:ext cx="154796" cy="123991"/>
            </a:xfrm>
            <a:custGeom>
              <a:avLst/>
              <a:gdLst/>
              <a:ahLst/>
              <a:cxnLst/>
              <a:rect l="l" t="t" r="r" b="b"/>
              <a:pathLst>
                <a:path w="255270" h="204470">
                  <a:moveTo>
                    <a:pt x="255269" y="0"/>
                  </a:moveTo>
                  <a:lnTo>
                    <a:pt x="0" y="144885"/>
                  </a:lnTo>
                  <a:lnTo>
                    <a:pt x="0" y="204182"/>
                  </a:lnTo>
                  <a:lnTo>
                    <a:pt x="255269" y="59317"/>
                  </a:lnTo>
                  <a:lnTo>
                    <a:pt x="255269" y="0"/>
                  </a:lnTo>
                  <a:close/>
                </a:path>
              </a:pathLst>
            </a:custGeom>
            <a:solidFill>
              <a:srgbClr val="787371"/>
            </a:solidFill>
          </p:spPr>
          <p:txBody>
            <a:bodyPr wrap="square" lIns="0" tIns="0" rIns="0" bIns="0" rtlCol="0"/>
            <a:lstStyle/>
            <a:p>
              <a:endParaRPr sz="1092" dirty="0"/>
            </a:p>
          </p:txBody>
        </p:sp>
        <p:sp>
          <p:nvSpPr>
            <p:cNvPr id="600" name="object 600"/>
            <p:cNvSpPr/>
            <p:nvPr/>
          </p:nvSpPr>
          <p:spPr>
            <a:xfrm>
              <a:off x="6400107" y="4501064"/>
              <a:ext cx="270315" cy="189452"/>
            </a:xfrm>
            <a:custGeom>
              <a:avLst/>
              <a:gdLst/>
              <a:ahLst/>
              <a:cxnLst/>
              <a:rect l="l" t="t" r="r" b="b"/>
              <a:pathLst>
                <a:path w="445770" h="312420">
                  <a:moveTo>
                    <a:pt x="0" y="0"/>
                  </a:moveTo>
                  <a:lnTo>
                    <a:pt x="0" y="59296"/>
                  </a:lnTo>
                  <a:lnTo>
                    <a:pt x="445232" y="311927"/>
                  </a:lnTo>
                  <a:lnTo>
                    <a:pt x="445232" y="252631"/>
                  </a:lnTo>
                  <a:lnTo>
                    <a:pt x="0" y="0"/>
                  </a:lnTo>
                  <a:close/>
                </a:path>
              </a:pathLst>
            </a:custGeom>
            <a:solidFill>
              <a:srgbClr val="D6CCC2"/>
            </a:solidFill>
          </p:spPr>
          <p:txBody>
            <a:bodyPr wrap="square" lIns="0" tIns="0" rIns="0" bIns="0" rtlCol="0"/>
            <a:lstStyle/>
            <a:p>
              <a:endParaRPr sz="1092" dirty="0"/>
            </a:p>
          </p:txBody>
        </p:sp>
        <p:sp>
          <p:nvSpPr>
            <p:cNvPr id="601" name="object 601"/>
            <p:cNvSpPr/>
            <p:nvPr/>
          </p:nvSpPr>
          <p:spPr>
            <a:xfrm>
              <a:off x="6475386" y="4435586"/>
              <a:ext cx="263384" cy="149790"/>
            </a:xfrm>
            <a:custGeom>
              <a:avLst/>
              <a:gdLst/>
              <a:ahLst/>
              <a:cxnLst/>
              <a:rect l="l" t="t" r="r" b="b"/>
              <a:pathLst>
                <a:path w="434340" h="247015">
                  <a:moveTo>
                    <a:pt x="145848" y="0"/>
                  </a:moveTo>
                  <a:lnTo>
                    <a:pt x="0" y="82908"/>
                  </a:lnTo>
                  <a:lnTo>
                    <a:pt x="288064" y="246578"/>
                  </a:lnTo>
                  <a:lnTo>
                    <a:pt x="434143" y="163670"/>
                  </a:lnTo>
                  <a:lnTo>
                    <a:pt x="145848" y="0"/>
                  </a:lnTo>
                  <a:close/>
                </a:path>
              </a:pathLst>
            </a:custGeom>
            <a:solidFill>
              <a:srgbClr val="FFFFFF"/>
            </a:solidFill>
          </p:spPr>
          <p:txBody>
            <a:bodyPr wrap="square" lIns="0" tIns="0" rIns="0" bIns="0" rtlCol="0"/>
            <a:lstStyle/>
            <a:p>
              <a:endParaRPr sz="1092" dirty="0"/>
            </a:p>
          </p:txBody>
        </p:sp>
        <p:sp>
          <p:nvSpPr>
            <p:cNvPr id="602" name="object 602"/>
            <p:cNvSpPr/>
            <p:nvPr/>
          </p:nvSpPr>
          <p:spPr>
            <a:xfrm>
              <a:off x="6650070" y="4534835"/>
              <a:ext cx="88950" cy="81634"/>
            </a:xfrm>
            <a:custGeom>
              <a:avLst/>
              <a:gdLst/>
              <a:ahLst/>
              <a:cxnLst/>
              <a:rect l="l" t="t" r="r" b="b"/>
              <a:pathLst>
                <a:path w="146684" h="134620">
                  <a:moveTo>
                    <a:pt x="146079" y="0"/>
                  </a:moveTo>
                  <a:lnTo>
                    <a:pt x="0" y="82908"/>
                  </a:lnTo>
                  <a:lnTo>
                    <a:pt x="0" y="134508"/>
                  </a:lnTo>
                  <a:lnTo>
                    <a:pt x="146079" y="51579"/>
                  </a:lnTo>
                  <a:lnTo>
                    <a:pt x="146079" y="0"/>
                  </a:lnTo>
                  <a:close/>
                </a:path>
              </a:pathLst>
            </a:custGeom>
            <a:solidFill>
              <a:srgbClr val="787371"/>
            </a:solidFill>
          </p:spPr>
          <p:txBody>
            <a:bodyPr wrap="square" lIns="0" tIns="0" rIns="0" bIns="0" rtlCol="0"/>
            <a:lstStyle/>
            <a:p>
              <a:endParaRPr sz="1092" dirty="0"/>
            </a:p>
          </p:txBody>
        </p:sp>
        <p:sp>
          <p:nvSpPr>
            <p:cNvPr id="603" name="object 603"/>
            <p:cNvSpPr/>
            <p:nvPr/>
          </p:nvSpPr>
          <p:spPr>
            <a:xfrm>
              <a:off x="6475386" y="4485862"/>
              <a:ext cx="174819" cy="130537"/>
            </a:xfrm>
            <a:custGeom>
              <a:avLst/>
              <a:gdLst/>
              <a:ahLst/>
              <a:cxnLst/>
              <a:rect l="l" t="t" r="r" b="b"/>
              <a:pathLst>
                <a:path w="288290" h="215265">
                  <a:moveTo>
                    <a:pt x="0" y="0"/>
                  </a:moveTo>
                  <a:lnTo>
                    <a:pt x="0" y="51600"/>
                  </a:lnTo>
                  <a:lnTo>
                    <a:pt x="288064" y="215270"/>
                  </a:lnTo>
                  <a:lnTo>
                    <a:pt x="288064" y="163670"/>
                  </a:lnTo>
                  <a:lnTo>
                    <a:pt x="0" y="0"/>
                  </a:lnTo>
                  <a:close/>
                </a:path>
              </a:pathLst>
            </a:custGeom>
            <a:solidFill>
              <a:srgbClr val="D6CCC2"/>
            </a:solidFill>
          </p:spPr>
          <p:txBody>
            <a:bodyPr wrap="square" lIns="0" tIns="0" rIns="0" bIns="0" rtlCol="0"/>
            <a:lstStyle/>
            <a:p>
              <a:endParaRPr sz="1092" dirty="0"/>
            </a:p>
          </p:txBody>
        </p:sp>
        <p:sp>
          <p:nvSpPr>
            <p:cNvPr id="604" name="object 604"/>
            <p:cNvSpPr/>
            <p:nvPr/>
          </p:nvSpPr>
          <p:spPr>
            <a:xfrm>
              <a:off x="6202777" y="4032719"/>
              <a:ext cx="1142872" cy="640747"/>
            </a:xfrm>
            <a:custGeom>
              <a:avLst/>
              <a:gdLst/>
              <a:ahLst/>
              <a:cxnLst/>
              <a:rect l="l" t="t" r="r" b="b"/>
              <a:pathLst>
                <a:path w="1884679" h="1056640">
                  <a:moveTo>
                    <a:pt x="952630" y="0"/>
                  </a:moveTo>
                  <a:lnTo>
                    <a:pt x="0" y="538035"/>
                  </a:lnTo>
                  <a:lnTo>
                    <a:pt x="940097" y="1056533"/>
                  </a:lnTo>
                  <a:lnTo>
                    <a:pt x="1884298" y="532978"/>
                  </a:lnTo>
                  <a:lnTo>
                    <a:pt x="952630" y="0"/>
                  </a:lnTo>
                  <a:close/>
                </a:path>
              </a:pathLst>
            </a:custGeom>
            <a:solidFill>
              <a:srgbClr val="F0F3F2"/>
            </a:solidFill>
          </p:spPr>
          <p:txBody>
            <a:bodyPr wrap="square" lIns="0" tIns="0" rIns="0" bIns="0" rtlCol="0"/>
            <a:lstStyle/>
            <a:p>
              <a:endParaRPr sz="1092" dirty="0"/>
            </a:p>
          </p:txBody>
        </p:sp>
        <p:sp>
          <p:nvSpPr>
            <p:cNvPr id="605" name="object 605"/>
            <p:cNvSpPr/>
            <p:nvPr/>
          </p:nvSpPr>
          <p:spPr>
            <a:xfrm>
              <a:off x="6772851" y="4355918"/>
              <a:ext cx="572590" cy="472859"/>
            </a:xfrm>
            <a:custGeom>
              <a:avLst/>
              <a:gdLst/>
              <a:ahLst/>
              <a:cxnLst/>
              <a:rect l="l" t="t" r="r" b="b"/>
              <a:pathLst>
                <a:path w="944245" h="779779">
                  <a:moveTo>
                    <a:pt x="944201" y="0"/>
                  </a:moveTo>
                  <a:lnTo>
                    <a:pt x="0" y="523554"/>
                  </a:lnTo>
                  <a:lnTo>
                    <a:pt x="0" y="779316"/>
                  </a:lnTo>
                  <a:lnTo>
                    <a:pt x="944201" y="255761"/>
                  </a:lnTo>
                  <a:lnTo>
                    <a:pt x="944201" y="0"/>
                  </a:lnTo>
                  <a:close/>
                </a:path>
              </a:pathLst>
            </a:custGeom>
            <a:solidFill>
              <a:srgbClr val="CAC4C4"/>
            </a:solidFill>
          </p:spPr>
          <p:txBody>
            <a:bodyPr wrap="square" lIns="0" tIns="0" rIns="0" bIns="0" rtlCol="0"/>
            <a:lstStyle/>
            <a:p>
              <a:endParaRPr sz="1092" dirty="0"/>
            </a:p>
          </p:txBody>
        </p:sp>
        <p:sp>
          <p:nvSpPr>
            <p:cNvPr id="606" name="object 606"/>
            <p:cNvSpPr/>
            <p:nvPr/>
          </p:nvSpPr>
          <p:spPr>
            <a:xfrm>
              <a:off x="6202778" y="4358987"/>
              <a:ext cx="570281" cy="469779"/>
            </a:xfrm>
            <a:custGeom>
              <a:avLst/>
              <a:gdLst/>
              <a:ahLst/>
              <a:cxnLst/>
              <a:rect l="l" t="t" r="r" b="b"/>
              <a:pathLst>
                <a:path w="940434" h="774700">
                  <a:moveTo>
                    <a:pt x="0" y="0"/>
                  </a:moveTo>
                  <a:lnTo>
                    <a:pt x="0" y="255500"/>
                  </a:lnTo>
                  <a:lnTo>
                    <a:pt x="940097" y="774259"/>
                  </a:lnTo>
                  <a:lnTo>
                    <a:pt x="940097" y="518497"/>
                  </a:lnTo>
                  <a:lnTo>
                    <a:pt x="0" y="0"/>
                  </a:lnTo>
                  <a:close/>
                </a:path>
              </a:pathLst>
            </a:custGeom>
            <a:solidFill>
              <a:srgbClr val="F7F1F1"/>
            </a:solidFill>
          </p:spPr>
          <p:txBody>
            <a:bodyPr wrap="square" lIns="0" tIns="0" rIns="0" bIns="0" rtlCol="0"/>
            <a:lstStyle/>
            <a:p>
              <a:endParaRPr sz="1092" dirty="0"/>
            </a:p>
          </p:txBody>
        </p:sp>
        <p:sp>
          <p:nvSpPr>
            <p:cNvPr id="607" name="object 607"/>
            <p:cNvSpPr/>
            <p:nvPr/>
          </p:nvSpPr>
          <p:spPr>
            <a:xfrm>
              <a:off x="7275690" y="4379745"/>
              <a:ext cx="58327" cy="155094"/>
            </a:xfrm>
            <a:prstGeom prst="rect">
              <a:avLst/>
            </a:prstGeom>
            <a:blipFill>
              <a:blip r:embed="rId21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08" name="object 608"/>
            <p:cNvSpPr/>
            <p:nvPr/>
          </p:nvSpPr>
          <p:spPr>
            <a:xfrm>
              <a:off x="7193985" y="4425207"/>
              <a:ext cx="58327" cy="155075"/>
            </a:xfrm>
            <a:prstGeom prst="rect">
              <a:avLst/>
            </a:prstGeom>
            <a:blipFill>
              <a:blip r:embed="rId21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09" name="object 609"/>
            <p:cNvSpPr/>
            <p:nvPr/>
          </p:nvSpPr>
          <p:spPr>
            <a:xfrm>
              <a:off x="7112125" y="4470657"/>
              <a:ext cx="58321" cy="155094"/>
            </a:xfrm>
            <a:prstGeom prst="rect">
              <a:avLst/>
            </a:prstGeom>
            <a:blipFill>
              <a:blip r:embed="rId21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10" name="object 610"/>
            <p:cNvSpPr/>
            <p:nvPr/>
          </p:nvSpPr>
          <p:spPr>
            <a:xfrm>
              <a:off x="7030413" y="4516120"/>
              <a:ext cx="58321" cy="154941"/>
            </a:xfrm>
            <a:prstGeom prst="rect">
              <a:avLst/>
            </a:prstGeom>
            <a:blipFill>
              <a:blip r:embed="rId21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11" name="object 611"/>
            <p:cNvSpPr/>
            <p:nvPr/>
          </p:nvSpPr>
          <p:spPr>
            <a:xfrm>
              <a:off x="6948554" y="4561589"/>
              <a:ext cx="58327" cy="155081"/>
            </a:xfrm>
            <a:prstGeom prst="rect">
              <a:avLst/>
            </a:prstGeom>
            <a:blipFill>
              <a:blip r:embed="rId21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12" name="object 612"/>
            <p:cNvSpPr/>
            <p:nvPr/>
          </p:nvSpPr>
          <p:spPr>
            <a:xfrm>
              <a:off x="6866842" y="4607040"/>
              <a:ext cx="58327" cy="155094"/>
            </a:xfrm>
            <a:prstGeom prst="rect">
              <a:avLst/>
            </a:prstGeom>
            <a:blipFill>
              <a:blip r:embed="rId21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13" name="object 613"/>
            <p:cNvSpPr/>
            <p:nvPr/>
          </p:nvSpPr>
          <p:spPr>
            <a:xfrm>
              <a:off x="6784990" y="4652642"/>
              <a:ext cx="58321" cy="154941"/>
            </a:xfrm>
            <a:prstGeom prst="rect">
              <a:avLst/>
            </a:prstGeom>
            <a:blipFill>
              <a:blip r:embed="rId21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14" name="object 614"/>
            <p:cNvSpPr/>
            <p:nvPr/>
          </p:nvSpPr>
          <p:spPr>
            <a:xfrm>
              <a:off x="6213308" y="4381192"/>
              <a:ext cx="58314" cy="155100"/>
            </a:xfrm>
            <a:prstGeom prst="rect">
              <a:avLst/>
            </a:prstGeom>
            <a:blipFill>
              <a:blip r:embed="rId21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15" name="object 615"/>
            <p:cNvSpPr/>
            <p:nvPr/>
          </p:nvSpPr>
          <p:spPr>
            <a:xfrm>
              <a:off x="6295013" y="4426802"/>
              <a:ext cx="58473" cy="154960"/>
            </a:xfrm>
            <a:prstGeom prst="rect">
              <a:avLst/>
            </a:prstGeom>
            <a:blipFill>
              <a:blip r:embed="rId21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16" name="object 616"/>
            <p:cNvSpPr/>
            <p:nvPr/>
          </p:nvSpPr>
          <p:spPr>
            <a:xfrm>
              <a:off x="6376867" y="4472124"/>
              <a:ext cx="58327" cy="155081"/>
            </a:xfrm>
            <a:prstGeom prst="rect">
              <a:avLst/>
            </a:prstGeom>
            <a:blipFill>
              <a:blip r:embed="rId22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17" name="object 617"/>
            <p:cNvSpPr/>
            <p:nvPr/>
          </p:nvSpPr>
          <p:spPr>
            <a:xfrm>
              <a:off x="6458731" y="4517734"/>
              <a:ext cx="58314" cy="154941"/>
            </a:xfrm>
            <a:prstGeom prst="rect">
              <a:avLst/>
            </a:prstGeom>
            <a:blipFill>
              <a:blip r:embed="rId22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18" name="object 618"/>
            <p:cNvSpPr/>
            <p:nvPr/>
          </p:nvSpPr>
          <p:spPr>
            <a:xfrm>
              <a:off x="6540437" y="4563190"/>
              <a:ext cx="58327" cy="154948"/>
            </a:xfrm>
            <a:prstGeom prst="rect">
              <a:avLst/>
            </a:prstGeom>
            <a:blipFill>
              <a:blip r:embed="rId22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19" name="object 619"/>
            <p:cNvSpPr/>
            <p:nvPr/>
          </p:nvSpPr>
          <p:spPr>
            <a:xfrm>
              <a:off x="6622302" y="4608653"/>
              <a:ext cx="58314" cy="154941"/>
            </a:xfrm>
            <a:prstGeom prst="rect">
              <a:avLst/>
            </a:prstGeom>
            <a:blipFill>
              <a:blip r:embed="rId22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20" name="object 620"/>
            <p:cNvSpPr/>
            <p:nvPr/>
          </p:nvSpPr>
          <p:spPr>
            <a:xfrm>
              <a:off x="6704008" y="4654102"/>
              <a:ext cx="58327" cy="154954"/>
            </a:xfrm>
            <a:prstGeom prst="rect">
              <a:avLst/>
            </a:prstGeom>
            <a:blipFill>
              <a:blip r:embed="rId22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21" name="object 621"/>
            <p:cNvSpPr/>
            <p:nvPr/>
          </p:nvSpPr>
          <p:spPr>
            <a:xfrm>
              <a:off x="6286685" y="4076145"/>
              <a:ext cx="977679" cy="549487"/>
            </a:xfrm>
            <a:custGeom>
              <a:avLst/>
              <a:gdLst/>
              <a:ahLst/>
              <a:cxnLst/>
              <a:rect l="l" t="t" r="r" b="b"/>
              <a:pathLst>
                <a:path w="1612265" h="906145">
                  <a:moveTo>
                    <a:pt x="812582" y="0"/>
                  </a:moveTo>
                  <a:lnTo>
                    <a:pt x="0" y="457033"/>
                  </a:lnTo>
                  <a:lnTo>
                    <a:pt x="798834" y="906108"/>
                  </a:lnTo>
                  <a:lnTo>
                    <a:pt x="1611668" y="448813"/>
                  </a:lnTo>
                  <a:lnTo>
                    <a:pt x="812582" y="0"/>
                  </a:lnTo>
                  <a:close/>
                </a:path>
              </a:pathLst>
            </a:custGeom>
            <a:solidFill>
              <a:srgbClr val="999999"/>
            </a:solidFill>
          </p:spPr>
          <p:txBody>
            <a:bodyPr wrap="square" lIns="0" tIns="0" rIns="0" bIns="0" rtlCol="0"/>
            <a:lstStyle/>
            <a:p>
              <a:endParaRPr sz="1092" dirty="0"/>
            </a:p>
          </p:txBody>
        </p:sp>
        <p:sp>
          <p:nvSpPr>
            <p:cNvPr id="622" name="object 622"/>
            <p:cNvSpPr/>
            <p:nvPr/>
          </p:nvSpPr>
          <p:spPr>
            <a:xfrm>
              <a:off x="6202777" y="3880993"/>
              <a:ext cx="1142872" cy="640747"/>
            </a:xfrm>
            <a:custGeom>
              <a:avLst/>
              <a:gdLst/>
              <a:ahLst/>
              <a:cxnLst/>
              <a:rect l="l" t="t" r="r" b="b"/>
              <a:pathLst>
                <a:path w="1884679" h="1056640">
                  <a:moveTo>
                    <a:pt x="952630" y="0"/>
                  </a:moveTo>
                  <a:lnTo>
                    <a:pt x="0" y="537805"/>
                  </a:lnTo>
                  <a:lnTo>
                    <a:pt x="940097" y="1056533"/>
                  </a:lnTo>
                  <a:lnTo>
                    <a:pt x="1884298" y="532737"/>
                  </a:lnTo>
                  <a:lnTo>
                    <a:pt x="952630" y="0"/>
                  </a:lnTo>
                  <a:close/>
                </a:path>
              </a:pathLst>
            </a:custGeom>
            <a:solidFill>
              <a:srgbClr val="F0F3F2"/>
            </a:solidFill>
          </p:spPr>
          <p:txBody>
            <a:bodyPr wrap="square" lIns="0" tIns="0" rIns="0" bIns="0" rtlCol="0"/>
            <a:lstStyle/>
            <a:p>
              <a:endParaRPr sz="1092" dirty="0"/>
            </a:p>
          </p:txBody>
        </p:sp>
        <p:sp>
          <p:nvSpPr>
            <p:cNvPr id="623" name="object 623"/>
            <p:cNvSpPr/>
            <p:nvPr/>
          </p:nvSpPr>
          <p:spPr>
            <a:xfrm>
              <a:off x="6772851" y="4204046"/>
              <a:ext cx="572590" cy="473244"/>
            </a:xfrm>
            <a:custGeom>
              <a:avLst/>
              <a:gdLst/>
              <a:ahLst/>
              <a:cxnLst/>
              <a:rect l="l" t="t" r="r" b="b"/>
              <a:pathLst>
                <a:path w="944245" h="780415">
                  <a:moveTo>
                    <a:pt x="944201" y="0"/>
                  </a:moveTo>
                  <a:lnTo>
                    <a:pt x="0" y="523795"/>
                  </a:lnTo>
                  <a:lnTo>
                    <a:pt x="0" y="779798"/>
                  </a:lnTo>
                  <a:lnTo>
                    <a:pt x="944201" y="255740"/>
                  </a:lnTo>
                  <a:lnTo>
                    <a:pt x="944201" y="0"/>
                  </a:lnTo>
                  <a:close/>
                </a:path>
              </a:pathLst>
            </a:custGeom>
            <a:solidFill>
              <a:srgbClr val="CAC4C4"/>
            </a:solidFill>
          </p:spPr>
          <p:txBody>
            <a:bodyPr wrap="square" lIns="0" tIns="0" rIns="0" bIns="0" rtlCol="0"/>
            <a:lstStyle/>
            <a:p>
              <a:endParaRPr sz="1092" dirty="0"/>
            </a:p>
          </p:txBody>
        </p:sp>
        <p:sp>
          <p:nvSpPr>
            <p:cNvPr id="624" name="object 624"/>
            <p:cNvSpPr/>
            <p:nvPr/>
          </p:nvSpPr>
          <p:spPr>
            <a:xfrm>
              <a:off x="6202778" y="4207117"/>
              <a:ext cx="570281" cy="470164"/>
            </a:xfrm>
            <a:custGeom>
              <a:avLst/>
              <a:gdLst/>
              <a:ahLst/>
              <a:cxnLst/>
              <a:rect l="l" t="t" r="r" b="b"/>
              <a:pathLst>
                <a:path w="940434" h="775334">
                  <a:moveTo>
                    <a:pt x="0" y="0"/>
                  </a:moveTo>
                  <a:lnTo>
                    <a:pt x="0" y="255971"/>
                  </a:lnTo>
                  <a:lnTo>
                    <a:pt x="940097" y="774730"/>
                  </a:lnTo>
                  <a:lnTo>
                    <a:pt x="940097" y="518727"/>
                  </a:lnTo>
                  <a:lnTo>
                    <a:pt x="0" y="0"/>
                  </a:lnTo>
                  <a:close/>
                </a:path>
              </a:pathLst>
            </a:custGeom>
            <a:solidFill>
              <a:srgbClr val="F7F1F1"/>
            </a:solidFill>
          </p:spPr>
          <p:txBody>
            <a:bodyPr wrap="square" lIns="0" tIns="0" rIns="0" bIns="0" rtlCol="0"/>
            <a:lstStyle/>
            <a:p>
              <a:endParaRPr sz="1092" dirty="0"/>
            </a:p>
          </p:txBody>
        </p:sp>
        <p:sp>
          <p:nvSpPr>
            <p:cNvPr id="625" name="object 625"/>
            <p:cNvSpPr/>
            <p:nvPr/>
          </p:nvSpPr>
          <p:spPr>
            <a:xfrm>
              <a:off x="7275689" y="4228016"/>
              <a:ext cx="58327" cy="155094"/>
            </a:xfrm>
            <a:prstGeom prst="rect">
              <a:avLst/>
            </a:prstGeom>
            <a:blipFill>
              <a:blip r:embed="rId22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26" name="object 626"/>
            <p:cNvSpPr/>
            <p:nvPr/>
          </p:nvSpPr>
          <p:spPr>
            <a:xfrm>
              <a:off x="7193984" y="4273624"/>
              <a:ext cx="58327" cy="154935"/>
            </a:xfrm>
            <a:prstGeom prst="rect">
              <a:avLst/>
            </a:prstGeom>
            <a:blipFill>
              <a:blip r:embed="rId22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27" name="object 627"/>
            <p:cNvSpPr/>
            <p:nvPr/>
          </p:nvSpPr>
          <p:spPr>
            <a:xfrm>
              <a:off x="7112125" y="4319068"/>
              <a:ext cx="58321" cy="154960"/>
            </a:xfrm>
            <a:prstGeom prst="rect">
              <a:avLst/>
            </a:prstGeom>
            <a:blipFill>
              <a:blip r:embed="rId22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28" name="object 628"/>
            <p:cNvSpPr/>
            <p:nvPr/>
          </p:nvSpPr>
          <p:spPr>
            <a:xfrm>
              <a:off x="7030413" y="4364392"/>
              <a:ext cx="58321" cy="155088"/>
            </a:xfrm>
            <a:prstGeom prst="rect">
              <a:avLst/>
            </a:prstGeom>
            <a:blipFill>
              <a:blip r:embed="rId22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29" name="object 629"/>
            <p:cNvSpPr/>
            <p:nvPr/>
          </p:nvSpPr>
          <p:spPr>
            <a:xfrm>
              <a:off x="6948554" y="4409848"/>
              <a:ext cx="58327" cy="155234"/>
            </a:xfrm>
            <a:prstGeom prst="rect">
              <a:avLst/>
            </a:prstGeom>
            <a:blipFill>
              <a:blip r:embed="rId22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30" name="object 630"/>
            <p:cNvSpPr/>
            <p:nvPr/>
          </p:nvSpPr>
          <p:spPr>
            <a:xfrm>
              <a:off x="6866841" y="4455457"/>
              <a:ext cx="58327" cy="154948"/>
            </a:xfrm>
            <a:prstGeom prst="rect">
              <a:avLst/>
            </a:prstGeom>
            <a:blipFill>
              <a:blip r:embed="rId23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31" name="object 631"/>
            <p:cNvSpPr/>
            <p:nvPr/>
          </p:nvSpPr>
          <p:spPr>
            <a:xfrm>
              <a:off x="6784989" y="4500920"/>
              <a:ext cx="58321" cy="155094"/>
            </a:xfrm>
            <a:prstGeom prst="rect">
              <a:avLst/>
            </a:prstGeom>
            <a:blipFill>
              <a:blip r:embed="rId23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32" name="object 632"/>
            <p:cNvSpPr/>
            <p:nvPr/>
          </p:nvSpPr>
          <p:spPr>
            <a:xfrm>
              <a:off x="6213308" y="4229629"/>
              <a:ext cx="58314" cy="154935"/>
            </a:xfrm>
            <a:prstGeom prst="rect">
              <a:avLst/>
            </a:prstGeom>
            <a:blipFill>
              <a:blip r:embed="rId23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33" name="object 633"/>
            <p:cNvSpPr/>
            <p:nvPr/>
          </p:nvSpPr>
          <p:spPr>
            <a:xfrm>
              <a:off x="6295013" y="4275078"/>
              <a:ext cx="58473" cy="155094"/>
            </a:xfrm>
            <a:prstGeom prst="rect">
              <a:avLst/>
            </a:prstGeom>
            <a:blipFill>
              <a:blip r:embed="rId23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34" name="object 634"/>
            <p:cNvSpPr/>
            <p:nvPr/>
          </p:nvSpPr>
          <p:spPr>
            <a:xfrm>
              <a:off x="6376866" y="4320548"/>
              <a:ext cx="58327" cy="154929"/>
            </a:xfrm>
            <a:prstGeom prst="rect">
              <a:avLst/>
            </a:prstGeom>
            <a:blipFill>
              <a:blip r:embed="rId23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35" name="object 635"/>
            <p:cNvSpPr/>
            <p:nvPr/>
          </p:nvSpPr>
          <p:spPr>
            <a:xfrm>
              <a:off x="6458731" y="4365991"/>
              <a:ext cx="58314" cy="155094"/>
            </a:xfrm>
            <a:prstGeom prst="rect">
              <a:avLst/>
            </a:prstGeom>
            <a:blipFill>
              <a:blip r:embed="rId23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36" name="object 636"/>
            <p:cNvSpPr/>
            <p:nvPr/>
          </p:nvSpPr>
          <p:spPr>
            <a:xfrm>
              <a:off x="6540437" y="4411461"/>
              <a:ext cx="58327" cy="154935"/>
            </a:xfrm>
            <a:prstGeom prst="rect">
              <a:avLst/>
            </a:prstGeom>
            <a:blipFill>
              <a:blip r:embed="rId23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37" name="object 637"/>
            <p:cNvSpPr/>
            <p:nvPr/>
          </p:nvSpPr>
          <p:spPr>
            <a:xfrm>
              <a:off x="6622301" y="4456923"/>
              <a:ext cx="58314" cy="155081"/>
            </a:xfrm>
            <a:prstGeom prst="rect">
              <a:avLst/>
            </a:prstGeom>
            <a:blipFill>
              <a:blip r:embed="rId23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38" name="object 638"/>
            <p:cNvSpPr/>
            <p:nvPr/>
          </p:nvSpPr>
          <p:spPr>
            <a:xfrm>
              <a:off x="6704008" y="4502380"/>
              <a:ext cx="58327" cy="155094"/>
            </a:xfrm>
            <a:prstGeom prst="rect">
              <a:avLst/>
            </a:prstGeom>
            <a:blipFill>
              <a:blip r:embed="rId23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39" name="object 639"/>
            <p:cNvSpPr/>
            <p:nvPr/>
          </p:nvSpPr>
          <p:spPr>
            <a:xfrm>
              <a:off x="6286685" y="3924405"/>
              <a:ext cx="977679" cy="549487"/>
            </a:xfrm>
            <a:custGeom>
              <a:avLst/>
              <a:gdLst/>
              <a:ahLst/>
              <a:cxnLst/>
              <a:rect l="l" t="t" r="r" b="b"/>
              <a:pathLst>
                <a:path w="1612265" h="906145">
                  <a:moveTo>
                    <a:pt x="812582" y="0"/>
                  </a:moveTo>
                  <a:lnTo>
                    <a:pt x="0" y="457284"/>
                  </a:lnTo>
                  <a:lnTo>
                    <a:pt x="798834" y="906129"/>
                  </a:lnTo>
                  <a:lnTo>
                    <a:pt x="1611668" y="449096"/>
                  </a:lnTo>
                  <a:lnTo>
                    <a:pt x="812582" y="0"/>
                  </a:lnTo>
                  <a:close/>
                </a:path>
              </a:pathLst>
            </a:custGeom>
            <a:solidFill>
              <a:srgbClr val="999999"/>
            </a:solidFill>
          </p:spPr>
          <p:txBody>
            <a:bodyPr wrap="square" lIns="0" tIns="0" rIns="0" bIns="0" rtlCol="0"/>
            <a:lstStyle/>
            <a:p>
              <a:endParaRPr sz="1092" dirty="0"/>
            </a:p>
          </p:txBody>
        </p:sp>
        <p:sp>
          <p:nvSpPr>
            <p:cNvPr id="640" name="object 640"/>
            <p:cNvSpPr/>
            <p:nvPr/>
          </p:nvSpPr>
          <p:spPr>
            <a:xfrm>
              <a:off x="6202777" y="3730287"/>
              <a:ext cx="1142872" cy="640747"/>
            </a:xfrm>
            <a:custGeom>
              <a:avLst/>
              <a:gdLst/>
              <a:ahLst/>
              <a:cxnLst/>
              <a:rect l="l" t="t" r="r" b="b"/>
              <a:pathLst>
                <a:path w="1884679" h="1056640">
                  <a:moveTo>
                    <a:pt x="952630" y="0"/>
                  </a:moveTo>
                  <a:lnTo>
                    <a:pt x="0" y="537784"/>
                  </a:lnTo>
                  <a:lnTo>
                    <a:pt x="940097" y="1056543"/>
                  </a:lnTo>
                  <a:lnTo>
                    <a:pt x="1884298" y="532968"/>
                  </a:lnTo>
                  <a:lnTo>
                    <a:pt x="952630" y="0"/>
                  </a:lnTo>
                  <a:close/>
                </a:path>
              </a:pathLst>
            </a:custGeom>
            <a:solidFill>
              <a:srgbClr val="F0F3F2"/>
            </a:solidFill>
          </p:spPr>
          <p:txBody>
            <a:bodyPr wrap="square" lIns="0" tIns="0" rIns="0" bIns="0" rtlCol="0"/>
            <a:lstStyle/>
            <a:p>
              <a:endParaRPr sz="1092" dirty="0"/>
            </a:p>
          </p:txBody>
        </p:sp>
        <p:sp>
          <p:nvSpPr>
            <p:cNvPr id="641" name="object 641"/>
            <p:cNvSpPr/>
            <p:nvPr/>
          </p:nvSpPr>
          <p:spPr>
            <a:xfrm>
              <a:off x="6772851" y="4053475"/>
              <a:ext cx="572590" cy="472474"/>
            </a:xfrm>
            <a:custGeom>
              <a:avLst/>
              <a:gdLst/>
              <a:ahLst/>
              <a:cxnLst/>
              <a:rect l="l" t="t" r="r" b="b"/>
              <a:pathLst>
                <a:path w="944245" h="779145">
                  <a:moveTo>
                    <a:pt x="944201" y="0"/>
                  </a:moveTo>
                  <a:lnTo>
                    <a:pt x="0" y="523586"/>
                  </a:lnTo>
                  <a:lnTo>
                    <a:pt x="0" y="779086"/>
                  </a:lnTo>
                  <a:lnTo>
                    <a:pt x="944201" y="255531"/>
                  </a:lnTo>
                  <a:lnTo>
                    <a:pt x="944201" y="0"/>
                  </a:lnTo>
                  <a:close/>
                </a:path>
              </a:pathLst>
            </a:custGeom>
            <a:solidFill>
              <a:srgbClr val="CAC4C4"/>
            </a:solidFill>
          </p:spPr>
          <p:txBody>
            <a:bodyPr wrap="square" lIns="0" tIns="0" rIns="0" bIns="0" rtlCol="0"/>
            <a:lstStyle/>
            <a:p>
              <a:endParaRPr sz="1092" dirty="0"/>
            </a:p>
          </p:txBody>
        </p:sp>
        <p:sp>
          <p:nvSpPr>
            <p:cNvPr id="642" name="object 642"/>
            <p:cNvSpPr/>
            <p:nvPr/>
          </p:nvSpPr>
          <p:spPr>
            <a:xfrm>
              <a:off x="6202778" y="4056403"/>
              <a:ext cx="570281" cy="469779"/>
            </a:xfrm>
            <a:custGeom>
              <a:avLst/>
              <a:gdLst/>
              <a:ahLst/>
              <a:cxnLst/>
              <a:rect l="l" t="t" r="r" b="b"/>
              <a:pathLst>
                <a:path w="940434" h="774700">
                  <a:moveTo>
                    <a:pt x="0" y="0"/>
                  </a:moveTo>
                  <a:lnTo>
                    <a:pt x="0" y="255761"/>
                  </a:lnTo>
                  <a:lnTo>
                    <a:pt x="940097" y="774259"/>
                  </a:lnTo>
                  <a:lnTo>
                    <a:pt x="940097" y="518748"/>
                  </a:lnTo>
                  <a:lnTo>
                    <a:pt x="0" y="0"/>
                  </a:lnTo>
                  <a:close/>
                </a:path>
              </a:pathLst>
            </a:custGeom>
            <a:solidFill>
              <a:srgbClr val="F7F1F1"/>
            </a:solidFill>
          </p:spPr>
          <p:txBody>
            <a:bodyPr wrap="square" lIns="0" tIns="0" rIns="0" bIns="0" rtlCol="0"/>
            <a:lstStyle/>
            <a:p>
              <a:endParaRPr sz="1092" dirty="0"/>
            </a:p>
          </p:txBody>
        </p:sp>
        <p:sp>
          <p:nvSpPr>
            <p:cNvPr id="643" name="object 643"/>
            <p:cNvSpPr/>
            <p:nvPr/>
          </p:nvSpPr>
          <p:spPr>
            <a:xfrm>
              <a:off x="7275689" y="4077303"/>
              <a:ext cx="58327" cy="155094"/>
            </a:xfrm>
            <a:prstGeom prst="rect">
              <a:avLst/>
            </a:prstGeom>
            <a:blipFill>
              <a:blip r:embed="rId23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44" name="object 644"/>
            <p:cNvSpPr/>
            <p:nvPr/>
          </p:nvSpPr>
          <p:spPr>
            <a:xfrm>
              <a:off x="7193984" y="4122766"/>
              <a:ext cx="58327" cy="155100"/>
            </a:xfrm>
            <a:prstGeom prst="rect">
              <a:avLst/>
            </a:prstGeom>
            <a:blipFill>
              <a:blip r:embed="rId24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45" name="object 645"/>
            <p:cNvSpPr/>
            <p:nvPr/>
          </p:nvSpPr>
          <p:spPr>
            <a:xfrm>
              <a:off x="7112126" y="4168234"/>
              <a:ext cx="58321" cy="154935"/>
            </a:xfrm>
            <a:prstGeom prst="rect">
              <a:avLst/>
            </a:prstGeom>
            <a:blipFill>
              <a:blip r:embed="rId24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46" name="object 646"/>
            <p:cNvSpPr/>
            <p:nvPr/>
          </p:nvSpPr>
          <p:spPr>
            <a:xfrm>
              <a:off x="7030414" y="4213685"/>
              <a:ext cx="58321" cy="155094"/>
            </a:xfrm>
            <a:prstGeom prst="rect">
              <a:avLst/>
            </a:prstGeom>
            <a:blipFill>
              <a:blip r:embed="rId24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47" name="object 647"/>
            <p:cNvSpPr/>
            <p:nvPr/>
          </p:nvSpPr>
          <p:spPr>
            <a:xfrm>
              <a:off x="6948554" y="4259148"/>
              <a:ext cx="58327" cy="155094"/>
            </a:xfrm>
            <a:prstGeom prst="rect">
              <a:avLst/>
            </a:prstGeom>
            <a:blipFill>
              <a:blip r:embed="rId24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48" name="object 648"/>
            <p:cNvSpPr/>
            <p:nvPr/>
          </p:nvSpPr>
          <p:spPr>
            <a:xfrm>
              <a:off x="6866842" y="4304757"/>
              <a:ext cx="58327" cy="154941"/>
            </a:xfrm>
            <a:prstGeom prst="rect">
              <a:avLst/>
            </a:prstGeom>
            <a:blipFill>
              <a:blip r:embed="rId24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49" name="object 649"/>
            <p:cNvSpPr/>
            <p:nvPr/>
          </p:nvSpPr>
          <p:spPr>
            <a:xfrm>
              <a:off x="6784990" y="4350220"/>
              <a:ext cx="58321" cy="154795"/>
            </a:xfrm>
            <a:prstGeom prst="rect">
              <a:avLst/>
            </a:prstGeom>
            <a:blipFill>
              <a:blip r:embed="rId24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50" name="object 650"/>
            <p:cNvSpPr/>
            <p:nvPr/>
          </p:nvSpPr>
          <p:spPr>
            <a:xfrm>
              <a:off x="6213308" y="4078915"/>
              <a:ext cx="58314" cy="155094"/>
            </a:xfrm>
            <a:prstGeom prst="rect">
              <a:avLst/>
            </a:prstGeom>
            <a:blipFill>
              <a:blip r:embed="rId24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51" name="object 651"/>
            <p:cNvSpPr/>
            <p:nvPr/>
          </p:nvSpPr>
          <p:spPr>
            <a:xfrm>
              <a:off x="6295014" y="4124378"/>
              <a:ext cx="58473" cy="154802"/>
            </a:xfrm>
            <a:prstGeom prst="rect">
              <a:avLst/>
            </a:prstGeom>
            <a:blipFill>
              <a:blip r:embed="rId24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52" name="object 652"/>
            <p:cNvSpPr/>
            <p:nvPr/>
          </p:nvSpPr>
          <p:spPr>
            <a:xfrm>
              <a:off x="6376865" y="4169829"/>
              <a:ext cx="58327" cy="154954"/>
            </a:xfrm>
            <a:prstGeom prst="rect">
              <a:avLst/>
            </a:prstGeom>
            <a:blipFill>
              <a:blip r:embed="rId24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53" name="object 653"/>
            <p:cNvSpPr/>
            <p:nvPr/>
          </p:nvSpPr>
          <p:spPr>
            <a:xfrm>
              <a:off x="6458731" y="4215151"/>
              <a:ext cx="58314" cy="155081"/>
            </a:xfrm>
            <a:prstGeom prst="rect">
              <a:avLst/>
            </a:prstGeom>
            <a:blipFill>
              <a:blip r:embed="rId24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54" name="object 654"/>
            <p:cNvSpPr/>
            <p:nvPr/>
          </p:nvSpPr>
          <p:spPr>
            <a:xfrm>
              <a:off x="6540437" y="4260760"/>
              <a:ext cx="58327" cy="155081"/>
            </a:xfrm>
            <a:prstGeom prst="rect">
              <a:avLst/>
            </a:prstGeom>
            <a:blipFill>
              <a:blip r:embed="rId25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55" name="object 655"/>
            <p:cNvSpPr/>
            <p:nvPr/>
          </p:nvSpPr>
          <p:spPr>
            <a:xfrm>
              <a:off x="6622301" y="4306211"/>
              <a:ext cx="58314" cy="155094"/>
            </a:xfrm>
            <a:prstGeom prst="rect">
              <a:avLst/>
            </a:prstGeom>
            <a:blipFill>
              <a:blip r:embed="rId25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56" name="object 656"/>
            <p:cNvSpPr/>
            <p:nvPr/>
          </p:nvSpPr>
          <p:spPr>
            <a:xfrm>
              <a:off x="6704007" y="4351680"/>
              <a:ext cx="58327" cy="154935"/>
            </a:xfrm>
            <a:prstGeom prst="rect">
              <a:avLst/>
            </a:prstGeom>
            <a:blipFill>
              <a:blip r:embed="rId25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57" name="object 657"/>
            <p:cNvSpPr/>
            <p:nvPr/>
          </p:nvSpPr>
          <p:spPr>
            <a:xfrm>
              <a:off x="6286685" y="3773559"/>
              <a:ext cx="977679" cy="549872"/>
            </a:xfrm>
            <a:custGeom>
              <a:avLst/>
              <a:gdLst/>
              <a:ahLst/>
              <a:cxnLst/>
              <a:rect l="l" t="t" r="r" b="b"/>
              <a:pathLst>
                <a:path w="1612265" h="906779">
                  <a:moveTo>
                    <a:pt x="812582" y="0"/>
                  </a:moveTo>
                  <a:lnTo>
                    <a:pt x="0" y="457274"/>
                  </a:lnTo>
                  <a:lnTo>
                    <a:pt x="798834" y="906349"/>
                  </a:lnTo>
                  <a:lnTo>
                    <a:pt x="1611668" y="449075"/>
                  </a:lnTo>
                  <a:lnTo>
                    <a:pt x="812582" y="0"/>
                  </a:lnTo>
                  <a:close/>
                </a:path>
              </a:pathLst>
            </a:custGeom>
            <a:solidFill>
              <a:srgbClr val="999999"/>
            </a:solidFill>
          </p:spPr>
          <p:txBody>
            <a:bodyPr wrap="square" lIns="0" tIns="0" rIns="0" bIns="0" rtlCol="0"/>
            <a:lstStyle/>
            <a:p>
              <a:endParaRPr sz="1092" dirty="0"/>
            </a:p>
          </p:txBody>
        </p:sp>
        <p:sp>
          <p:nvSpPr>
            <p:cNvPr id="658" name="object 658"/>
            <p:cNvSpPr/>
            <p:nvPr/>
          </p:nvSpPr>
          <p:spPr>
            <a:xfrm>
              <a:off x="6202777" y="3574610"/>
              <a:ext cx="1142872" cy="640747"/>
            </a:xfrm>
            <a:custGeom>
              <a:avLst/>
              <a:gdLst/>
              <a:ahLst/>
              <a:cxnLst/>
              <a:rect l="l" t="t" r="r" b="b"/>
              <a:pathLst>
                <a:path w="1884679" h="1056640">
                  <a:moveTo>
                    <a:pt x="952630" y="0"/>
                  </a:moveTo>
                  <a:lnTo>
                    <a:pt x="0" y="537805"/>
                  </a:lnTo>
                  <a:lnTo>
                    <a:pt x="940097" y="1056302"/>
                  </a:lnTo>
                  <a:lnTo>
                    <a:pt x="1884298" y="532727"/>
                  </a:lnTo>
                  <a:lnTo>
                    <a:pt x="952630" y="0"/>
                  </a:lnTo>
                  <a:close/>
                </a:path>
              </a:pathLst>
            </a:custGeom>
            <a:solidFill>
              <a:srgbClr val="FFFFFF"/>
            </a:solidFill>
          </p:spPr>
          <p:txBody>
            <a:bodyPr wrap="square" lIns="0" tIns="0" rIns="0" bIns="0" rtlCol="0"/>
            <a:lstStyle/>
            <a:p>
              <a:endParaRPr sz="1092" dirty="0"/>
            </a:p>
          </p:txBody>
        </p:sp>
        <p:sp>
          <p:nvSpPr>
            <p:cNvPr id="659" name="object 659"/>
            <p:cNvSpPr/>
            <p:nvPr/>
          </p:nvSpPr>
          <p:spPr>
            <a:xfrm>
              <a:off x="6772851" y="3897654"/>
              <a:ext cx="572590" cy="472859"/>
            </a:xfrm>
            <a:custGeom>
              <a:avLst/>
              <a:gdLst/>
              <a:ahLst/>
              <a:cxnLst/>
              <a:rect l="l" t="t" r="r" b="b"/>
              <a:pathLst>
                <a:path w="944245" h="779779">
                  <a:moveTo>
                    <a:pt x="944201" y="0"/>
                  </a:moveTo>
                  <a:lnTo>
                    <a:pt x="0" y="523575"/>
                  </a:lnTo>
                  <a:lnTo>
                    <a:pt x="0" y="779316"/>
                  </a:lnTo>
                  <a:lnTo>
                    <a:pt x="944201" y="255761"/>
                  </a:lnTo>
                  <a:lnTo>
                    <a:pt x="944201" y="0"/>
                  </a:lnTo>
                  <a:close/>
                </a:path>
              </a:pathLst>
            </a:custGeom>
            <a:solidFill>
              <a:srgbClr val="CAC4C4"/>
            </a:solidFill>
          </p:spPr>
          <p:txBody>
            <a:bodyPr wrap="square" lIns="0" tIns="0" rIns="0" bIns="0" rtlCol="0"/>
            <a:lstStyle/>
            <a:p>
              <a:endParaRPr sz="1092" dirty="0"/>
            </a:p>
          </p:txBody>
        </p:sp>
        <p:sp>
          <p:nvSpPr>
            <p:cNvPr id="660" name="object 660"/>
            <p:cNvSpPr/>
            <p:nvPr/>
          </p:nvSpPr>
          <p:spPr>
            <a:xfrm>
              <a:off x="6202778" y="3900735"/>
              <a:ext cx="570281" cy="469779"/>
            </a:xfrm>
            <a:custGeom>
              <a:avLst/>
              <a:gdLst/>
              <a:ahLst/>
              <a:cxnLst/>
              <a:rect l="l" t="t" r="r" b="b"/>
              <a:pathLst>
                <a:path w="940434" h="774700">
                  <a:moveTo>
                    <a:pt x="0" y="0"/>
                  </a:moveTo>
                  <a:lnTo>
                    <a:pt x="0" y="255740"/>
                  </a:lnTo>
                  <a:lnTo>
                    <a:pt x="940097" y="774238"/>
                  </a:lnTo>
                  <a:lnTo>
                    <a:pt x="940097" y="518497"/>
                  </a:lnTo>
                  <a:lnTo>
                    <a:pt x="0" y="0"/>
                  </a:lnTo>
                  <a:close/>
                </a:path>
              </a:pathLst>
            </a:custGeom>
            <a:solidFill>
              <a:srgbClr val="F7F1F1"/>
            </a:solidFill>
          </p:spPr>
          <p:txBody>
            <a:bodyPr wrap="square" lIns="0" tIns="0" rIns="0" bIns="0" rtlCol="0"/>
            <a:lstStyle/>
            <a:p>
              <a:endParaRPr sz="1092" dirty="0"/>
            </a:p>
          </p:txBody>
        </p:sp>
        <p:sp>
          <p:nvSpPr>
            <p:cNvPr id="661" name="object 661"/>
            <p:cNvSpPr/>
            <p:nvPr/>
          </p:nvSpPr>
          <p:spPr>
            <a:xfrm>
              <a:off x="7275690" y="3921491"/>
              <a:ext cx="58327" cy="155081"/>
            </a:xfrm>
            <a:prstGeom prst="rect">
              <a:avLst/>
            </a:prstGeom>
            <a:blipFill>
              <a:blip r:embed="rId25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62" name="object 662"/>
            <p:cNvSpPr/>
            <p:nvPr/>
          </p:nvSpPr>
          <p:spPr>
            <a:xfrm>
              <a:off x="7193984" y="3966941"/>
              <a:ext cx="58327" cy="155094"/>
            </a:xfrm>
            <a:prstGeom prst="rect">
              <a:avLst/>
            </a:prstGeom>
            <a:blipFill>
              <a:blip r:embed="rId25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63" name="object 663"/>
            <p:cNvSpPr/>
            <p:nvPr/>
          </p:nvSpPr>
          <p:spPr>
            <a:xfrm>
              <a:off x="7112125" y="4012550"/>
              <a:ext cx="58321" cy="154954"/>
            </a:xfrm>
            <a:prstGeom prst="rect">
              <a:avLst/>
            </a:prstGeom>
            <a:blipFill>
              <a:blip r:embed="rId25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64" name="object 664"/>
            <p:cNvSpPr/>
            <p:nvPr/>
          </p:nvSpPr>
          <p:spPr>
            <a:xfrm>
              <a:off x="7030414" y="4057873"/>
              <a:ext cx="58321" cy="155081"/>
            </a:xfrm>
            <a:prstGeom prst="rect">
              <a:avLst/>
            </a:prstGeom>
            <a:blipFill>
              <a:blip r:embed="rId25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65" name="object 665"/>
            <p:cNvSpPr/>
            <p:nvPr/>
          </p:nvSpPr>
          <p:spPr>
            <a:xfrm>
              <a:off x="6948554" y="4103323"/>
              <a:ext cx="58327" cy="155100"/>
            </a:xfrm>
            <a:prstGeom prst="rect">
              <a:avLst/>
            </a:prstGeom>
            <a:blipFill>
              <a:blip r:embed="rId25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66" name="object 666"/>
            <p:cNvSpPr/>
            <p:nvPr/>
          </p:nvSpPr>
          <p:spPr>
            <a:xfrm>
              <a:off x="6866842" y="4148786"/>
              <a:ext cx="58327" cy="155081"/>
            </a:xfrm>
            <a:prstGeom prst="rect">
              <a:avLst/>
            </a:prstGeom>
            <a:blipFill>
              <a:blip r:embed="rId25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67" name="object 667"/>
            <p:cNvSpPr/>
            <p:nvPr/>
          </p:nvSpPr>
          <p:spPr>
            <a:xfrm>
              <a:off x="6784990" y="4194243"/>
              <a:ext cx="58321" cy="155094"/>
            </a:xfrm>
            <a:prstGeom prst="rect">
              <a:avLst/>
            </a:prstGeom>
            <a:blipFill>
              <a:blip r:embed="rId25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68" name="object 668"/>
            <p:cNvSpPr/>
            <p:nvPr/>
          </p:nvSpPr>
          <p:spPr>
            <a:xfrm>
              <a:off x="6213308" y="3923091"/>
              <a:ext cx="58314" cy="155094"/>
            </a:xfrm>
            <a:prstGeom prst="rect">
              <a:avLst/>
            </a:prstGeom>
            <a:blipFill>
              <a:blip r:embed="rId26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69" name="object 669"/>
            <p:cNvSpPr/>
            <p:nvPr/>
          </p:nvSpPr>
          <p:spPr>
            <a:xfrm>
              <a:off x="6295013" y="3968555"/>
              <a:ext cx="58473" cy="154941"/>
            </a:xfrm>
            <a:prstGeom prst="rect">
              <a:avLst/>
            </a:prstGeom>
            <a:blipFill>
              <a:blip r:embed="rId26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70" name="object 670"/>
            <p:cNvSpPr/>
            <p:nvPr/>
          </p:nvSpPr>
          <p:spPr>
            <a:xfrm>
              <a:off x="6376866" y="4014017"/>
              <a:ext cx="58327" cy="154941"/>
            </a:xfrm>
            <a:prstGeom prst="rect">
              <a:avLst/>
            </a:prstGeom>
            <a:blipFill>
              <a:blip r:embed="rId26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71" name="object 671"/>
            <p:cNvSpPr/>
            <p:nvPr/>
          </p:nvSpPr>
          <p:spPr>
            <a:xfrm>
              <a:off x="6458731" y="4059473"/>
              <a:ext cx="58314" cy="155094"/>
            </a:xfrm>
            <a:prstGeom prst="rect">
              <a:avLst/>
            </a:prstGeom>
            <a:blipFill>
              <a:blip r:embed="rId26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72" name="object 672"/>
            <p:cNvSpPr/>
            <p:nvPr/>
          </p:nvSpPr>
          <p:spPr>
            <a:xfrm>
              <a:off x="6540437" y="4104936"/>
              <a:ext cx="58327" cy="155081"/>
            </a:xfrm>
            <a:prstGeom prst="rect">
              <a:avLst/>
            </a:prstGeom>
            <a:blipFill>
              <a:blip r:embed="rId26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73" name="object 673"/>
            <p:cNvSpPr/>
            <p:nvPr/>
          </p:nvSpPr>
          <p:spPr>
            <a:xfrm>
              <a:off x="6622302" y="4150386"/>
              <a:ext cx="58314" cy="154954"/>
            </a:xfrm>
            <a:prstGeom prst="rect">
              <a:avLst/>
            </a:prstGeom>
            <a:blipFill>
              <a:blip r:embed="rId26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74" name="object 674"/>
            <p:cNvSpPr/>
            <p:nvPr/>
          </p:nvSpPr>
          <p:spPr>
            <a:xfrm>
              <a:off x="6704007" y="4195855"/>
              <a:ext cx="58327" cy="155094"/>
            </a:xfrm>
            <a:prstGeom prst="rect">
              <a:avLst/>
            </a:prstGeom>
            <a:blipFill>
              <a:blip r:embed="rId26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75" name="object 675"/>
            <p:cNvSpPr/>
            <p:nvPr/>
          </p:nvSpPr>
          <p:spPr>
            <a:xfrm>
              <a:off x="6272792" y="3622857"/>
              <a:ext cx="1005019" cy="565275"/>
            </a:xfrm>
            <a:custGeom>
              <a:avLst/>
              <a:gdLst/>
              <a:ahLst/>
              <a:cxnLst/>
              <a:rect l="l" t="t" r="r" b="b"/>
              <a:pathLst>
                <a:path w="1657350" h="932179">
                  <a:moveTo>
                    <a:pt x="835974" y="0"/>
                  </a:moveTo>
                  <a:lnTo>
                    <a:pt x="0" y="470530"/>
                  </a:lnTo>
                  <a:lnTo>
                    <a:pt x="821262" y="931898"/>
                  </a:lnTo>
                  <a:lnTo>
                    <a:pt x="1656996" y="461608"/>
                  </a:lnTo>
                  <a:lnTo>
                    <a:pt x="835974" y="0"/>
                  </a:lnTo>
                  <a:close/>
                </a:path>
              </a:pathLst>
            </a:custGeom>
            <a:solidFill>
              <a:srgbClr val="ECECEC"/>
            </a:solidFill>
          </p:spPr>
          <p:txBody>
            <a:bodyPr wrap="square" lIns="0" tIns="0" rIns="0" bIns="0" rtlCol="0"/>
            <a:lstStyle/>
            <a:p>
              <a:endParaRPr sz="1092" dirty="0"/>
            </a:p>
          </p:txBody>
        </p:sp>
        <p:sp>
          <p:nvSpPr>
            <p:cNvPr id="676" name="object 676"/>
            <p:cNvSpPr/>
            <p:nvPr/>
          </p:nvSpPr>
          <p:spPr>
            <a:xfrm>
              <a:off x="6563536" y="3756721"/>
              <a:ext cx="414251" cy="213148"/>
            </a:xfrm>
            <a:prstGeom prst="rect">
              <a:avLst/>
            </a:prstGeom>
            <a:blipFill>
              <a:blip r:embed="rId26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77" name="object 677"/>
            <p:cNvSpPr/>
            <p:nvPr/>
          </p:nvSpPr>
          <p:spPr>
            <a:xfrm>
              <a:off x="6506526" y="3669336"/>
              <a:ext cx="398542" cy="215636"/>
            </a:xfrm>
            <a:custGeom>
              <a:avLst/>
              <a:gdLst/>
              <a:ahLst/>
              <a:cxnLst/>
              <a:rect l="l" t="t" r="r" b="b"/>
              <a:pathLst>
                <a:path w="657225" h="355600">
                  <a:moveTo>
                    <a:pt x="415819" y="0"/>
                  </a:moveTo>
                  <a:lnTo>
                    <a:pt x="0" y="220558"/>
                  </a:lnTo>
                  <a:lnTo>
                    <a:pt x="241291" y="355559"/>
                  </a:lnTo>
                  <a:lnTo>
                    <a:pt x="657110" y="134990"/>
                  </a:lnTo>
                  <a:lnTo>
                    <a:pt x="415819" y="0"/>
                  </a:lnTo>
                  <a:close/>
                </a:path>
              </a:pathLst>
            </a:custGeom>
            <a:solidFill>
              <a:srgbClr val="FFFFFF"/>
            </a:solidFill>
          </p:spPr>
          <p:txBody>
            <a:bodyPr wrap="square" lIns="0" tIns="0" rIns="0" bIns="0" rtlCol="0"/>
            <a:lstStyle/>
            <a:p>
              <a:endParaRPr sz="1092" dirty="0"/>
            </a:p>
          </p:txBody>
        </p:sp>
        <p:sp>
          <p:nvSpPr>
            <p:cNvPr id="678" name="object 678"/>
            <p:cNvSpPr/>
            <p:nvPr/>
          </p:nvSpPr>
          <p:spPr>
            <a:xfrm>
              <a:off x="6652849" y="3751192"/>
              <a:ext cx="252217" cy="173279"/>
            </a:xfrm>
            <a:custGeom>
              <a:avLst/>
              <a:gdLst/>
              <a:ahLst/>
              <a:cxnLst/>
              <a:rect l="l" t="t" r="r" b="b"/>
              <a:pathLst>
                <a:path w="415925" h="285750">
                  <a:moveTo>
                    <a:pt x="415809" y="0"/>
                  </a:moveTo>
                  <a:lnTo>
                    <a:pt x="0" y="220569"/>
                  </a:lnTo>
                  <a:lnTo>
                    <a:pt x="0" y="285164"/>
                  </a:lnTo>
                  <a:lnTo>
                    <a:pt x="415809" y="64594"/>
                  </a:lnTo>
                  <a:lnTo>
                    <a:pt x="415809" y="0"/>
                  </a:lnTo>
                  <a:close/>
                </a:path>
              </a:pathLst>
            </a:custGeom>
            <a:solidFill>
              <a:srgbClr val="999999"/>
            </a:solidFill>
          </p:spPr>
          <p:txBody>
            <a:bodyPr wrap="square" lIns="0" tIns="0" rIns="0" bIns="0" rtlCol="0"/>
            <a:lstStyle/>
            <a:p>
              <a:endParaRPr sz="1092" dirty="0"/>
            </a:p>
          </p:txBody>
        </p:sp>
        <p:sp>
          <p:nvSpPr>
            <p:cNvPr id="679" name="object 679"/>
            <p:cNvSpPr/>
            <p:nvPr/>
          </p:nvSpPr>
          <p:spPr>
            <a:xfrm>
              <a:off x="6506526" y="3770921"/>
              <a:ext cx="146319" cy="153197"/>
            </a:xfrm>
            <a:prstGeom prst="rect">
              <a:avLst/>
            </a:prstGeom>
            <a:blipFill>
              <a:blip r:embed="rId26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80" name="object 680"/>
            <p:cNvSpPr/>
            <p:nvPr/>
          </p:nvSpPr>
          <p:spPr>
            <a:xfrm>
              <a:off x="6442647" y="3750023"/>
              <a:ext cx="211015" cy="112054"/>
            </a:xfrm>
            <a:custGeom>
              <a:avLst/>
              <a:gdLst/>
              <a:ahLst/>
              <a:cxnLst/>
              <a:rect l="l" t="t" r="r" b="b"/>
              <a:pathLst>
                <a:path w="347979" h="184785">
                  <a:moveTo>
                    <a:pt x="147534" y="0"/>
                  </a:moveTo>
                  <a:lnTo>
                    <a:pt x="0" y="74479"/>
                  </a:lnTo>
                  <a:lnTo>
                    <a:pt x="199836" y="184413"/>
                  </a:lnTo>
                  <a:lnTo>
                    <a:pt x="347601" y="110405"/>
                  </a:lnTo>
                  <a:lnTo>
                    <a:pt x="147534" y="0"/>
                  </a:lnTo>
                  <a:close/>
                </a:path>
              </a:pathLst>
            </a:custGeom>
            <a:solidFill>
              <a:srgbClr val="FFFFFF"/>
            </a:solidFill>
          </p:spPr>
          <p:txBody>
            <a:bodyPr wrap="square" lIns="0" tIns="0" rIns="0" bIns="0" rtlCol="0"/>
            <a:lstStyle/>
            <a:p>
              <a:endParaRPr sz="1092" dirty="0"/>
            </a:p>
          </p:txBody>
        </p:sp>
        <p:sp>
          <p:nvSpPr>
            <p:cNvPr id="681" name="object 681"/>
            <p:cNvSpPr/>
            <p:nvPr/>
          </p:nvSpPr>
          <p:spPr>
            <a:xfrm>
              <a:off x="6563826" y="3816968"/>
              <a:ext cx="89720" cy="152101"/>
            </a:xfrm>
            <a:custGeom>
              <a:avLst/>
              <a:gdLst/>
              <a:ahLst/>
              <a:cxnLst/>
              <a:rect l="l" t="t" r="r" b="b"/>
              <a:pathLst>
                <a:path w="147954" h="250825">
                  <a:moveTo>
                    <a:pt x="147765" y="0"/>
                  </a:moveTo>
                  <a:lnTo>
                    <a:pt x="0" y="74018"/>
                  </a:lnTo>
                  <a:lnTo>
                    <a:pt x="0" y="250704"/>
                  </a:lnTo>
                  <a:lnTo>
                    <a:pt x="147765" y="176204"/>
                  </a:lnTo>
                  <a:lnTo>
                    <a:pt x="147765" y="0"/>
                  </a:lnTo>
                  <a:close/>
                </a:path>
              </a:pathLst>
            </a:custGeom>
            <a:solidFill>
              <a:srgbClr val="999999"/>
            </a:solidFill>
          </p:spPr>
          <p:txBody>
            <a:bodyPr wrap="square" lIns="0" tIns="0" rIns="0" bIns="0" rtlCol="0"/>
            <a:lstStyle/>
            <a:p>
              <a:endParaRPr sz="1092" dirty="0"/>
            </a:p>
          </p:txBody>
        </p:sp>
        <p:sp>
          <p:nvSpPr>
            <p:cNvPr id="682" name="object 682"/>
            <p:cNvSpPr/>
            <p:nvPr/>
          </p:nvSpPr>
          <p:spPr>
            <a:xfrm>
              <a:off x="6442648" y="3795185"/>
              <a:ext cx="121295" cy="174049"/>
            </a:xfrm>
            <a:custGeom>
              <a:avLst/>
              <a:gdLst/>
              <a:ahLst/>
              <a:cxnLst/>
              <a:rect l="l" t="t" r="r" b="b"/>
              <a:pathLst>
                <a:path w="200025" h="287020">
                  <a:moveTo>
                    <a:pt x="0" y="0"/>
                  </a:moveTo>
                  <a:lnTo>
                    <a:pt x="0" y="176465"/>
                  </a:lnTo>
                  <a:lnTo>
                    <a:pt x="199836" y="286630"/>
                  </a:lnTo>
                  <a:lnTo>
                    <a:pt x="199836" y="109933"/>
                  </a:lnTo>
                  <a:lnTo>
                    <a:pt x="0" y="0"/>
                  </a:lnTo>
                  <a:close/>
                </a:path>
              </a:pathLst>
            </a:custGeom>
            <a:solidFill>
              <a:srgbClr val="CCCCCC"/>
            </a:solidFill>
          </p:spPr>
          <p:txBody>
            <a:bodyPr wrap="square" lIns="0" tIns="0" rIns="0" bIns="0" rtlCol="0"/>
            <a:lstStyle/>
            <a:p>
              <a:endParaRPr sz="1092" dirty="0"/>
            </a:p>
          </p:txBody>
        </p:sp>
        <p:sp>
          <p:nvSpPr>
            <p:cNvPr id="683" name="object 683"/>
            <p:cNvSpPr/>
            <p:nvPr/>
          </p:nvSpPr>
          <p:spPr>
            <a:xfrm>
              <a:off x="6461652" y="3840066"/>
              <a:ext cx="79323" cy="113209"/>
            </a:xfrm>
            <a:custGeom>
              <a:avLst/>
              <a:gdLst/>
              <a:ahLst/>
              <a:cxnLst/>
              <a:rect l="l" t="t" r="r" b="b"/>
              <a:pathLst>
                <a:path w="130809" h="186690">
                  <a:moveTo>
                    <a:pt x="0" y="0"/>
                  </a:moveTo>
                  <a:lnTo>
                    <a:pt x="0" y="114739"/>
                  </a:lnTo>
                  <a:lnTo>
                    <a:pt x="130645" y="186580"/>
                  </a:lnTo>
                  <a:lnTo>
                    <a:pt x="130645" y="72081"/>
                  </a:lnTo>
                  <a:lnTo>
                    <a:pt x="0" y="0"/>
                  </a:lnTo>
                  <a:close/>
                </a:path>
              </a:pathLst>
            </a:custGeom>
            <a:solidFill>
              <a:srgbClr val="F2F2F2"/>
            </a:solidFill>
          </p:spPr>
          <p:txBody>
            <a:bodyPr wrap="square" lIns="0" tIns="0" rIns="0" bIns="0" rtlCol="0"/>
            <a:lstStyle/>
            <a:p>
              <a:endParaRPr sz="1092" dirty="0"/>
            </a:p>
          </p:txBody>
        </p:sp>
        <p:sp>
          <p:nvSpPr>
            <p:cNvPr id="684" name="object 684"/>
            <p:cNvSpPr/>
            <p:nvPr/>
          </p:nvSpPr>
          <p:spPr>
            <a:xfrm>
              <a:off x="6809150" y="3716235"/>
              <a:ext cx="39197" cy="50676"/>
            </a:xfrm>
            <a:prstGeom prst="rect">
              <a:avLst/>
            </a:prstGeom>
            <a:blipFill>
              <a:blip r:embed="rId26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85" name="object 685"/>
            <p:cNvSpPr/>
            <p:nvPr/>
          </p:nvSpPr>
          <p:spPr>
            <a:xfrm>
              <a:off x="6743619" y="3738039"/>
              <a:ext cx="88950" cy="37351"/>
            </a:xfrm>
            <a:custGeom>
              <a:avLst/>
              <a:gdLst/>
              <a:ahLst/>
              <a:cxnLst/>
              <a:rect l="l" t="t" r="r" b="b"/>
              <a:pathLst>
                <a:path w="146684" h="61595">
                  <a:moveTo>
                    <a:pt x="0" y="7476"/>
                  </a:moveTo>
                  <a:lnTo>
                    <a:pt x="12139" y="44949"/>
                  </a:lnTo>
                  <a:lnTo>
                    <a:pt x="73043" y="61437"/>
                  </a:lnTo>
                  <a:lnTo>
                    <a:pt x="100507" y="56964"/>
                  </a:lnTo>
                  <a:lnTo>
                    <a:pt x="122997" y="46992"/>
                  </a:lnTo>
                  <a:lnTo>
                    <a:pt x="73043" y="46992"/>
                  </a:lnTo>
                  <a:lnTo>
                    <a:pt x="45577" y="45164"/>
                  </a:lnTo>
                  <a:lnTo>
                    <a:pt x="21454" y="36878"/>
                  </a:lnTo>
                  <a:lnTo>
                    <a:pt x="12103" y="30451"/>
                  </a:lnTo>
                  <a:lnTo>
                    <a:pt x="5395" y="23257"/>
                  </a:lnTo>
                  <a:lnTo>
                    <a:pt x="1352" y="15523"/>
                  </a:lnTo>
                  <a:lnTo>
                    <a:pt x="0" y="7476"/>
                  </a:lnTo>
                  <a:close/>
                </a:path>
                <a:path w="146684" h="61595">
                  <a:moveTo>
                    <a:pt x="146079" y="0"/>
                  </a:moveTo>
                  <a:lnTo>
                    <a:pt x="124624" y="31810"/>
                  </a:lnTo>
                  <a:lnTo>
                    <a:pt x="73043" y="46992"/>
                  </a:lnTo>
                  <a:lnTo>
                    <a:pt x="122997" y="46992"/>
                  </a:lnTo>
                  <a:lnTo>
                    <a:pt x="146079" y="14219"/>
                  </a:lnTo>
                  <a:lnTo>
                    <a:pt x="146079" y="0"/>
                  </a:lnTo>
                  <a:close/>
                </a:path>
              </a:pathLst>
            </a:custGeom>
            <a:solidFill>
              <a:srgbClr val="999999"/>
            </a:solidFill>
          </p:spPr>
          <p:txBody>
            <a:bodyPr wrap="square" lIns="0" tIns="0" rIns="0" bIns="0" rtlCol="0"/>
            <a:lstStyle/>
            <a:p>
              <a:endParaRPr sz="1092" dirty="0"/>
            </a:p>
          </p:txBody>
        </p:sp>
        <p:sp>
          <p:nvSpPr>
            <p:cNvPr id="686" name="object 686"/>
            <p:cNvSpPr/>
            <p:nvPr/>
          </p:nvSpPr>
          <p:spPr>
            <a:xfrm>
              <a:off x="6743694" y="3714064"/>
              <a:ext cx="88565" cy="52754"/>
            </a:xfrm>
            <a:custGeom>
              <a:avLst/>
              <a:gdLst/>
              <a:ahLst/>
              <a:cxnLst/>
              <a:rect l="l" t="t" r="r" b="b"/>
              <a:pathLst>
                <a:path w="146050" h="86995">
                  <a:moveTo>
                    <a:pt x="72916" y="0"/>
                  </a:moveTo>
                  <a:lnTo>
                    <a:pt x="45454" y="4494"/>
                  </a:lnTo>
                  <a:lnTo>
                    <a:pt x="21337" y="15180"/>
                  </a:lnTo>
                  <a:lnTo>
                    <a:pt x="5334" y="30283"/>
                  </a:lnTo>
                  <a:lnTo>
                    <a:pt x="0" y="46827"/>
                  </a:lnTo>
                  <a:lnTo>
                    <a:pt x="5334" y="62913"/>
                  </a:lnTo>
                  <a:lnTo>
                    <a:pt x="21337" y="76644"/>
                  </a:lnTo>
                  <a:lnTo>
                    <a:pt x="45454" y="84948"/>
                  </a:lnTo>
                  <a:lnTo>
                    <a:pt x="72916" y="86782"/>
                  </a:lnTo>
                  <a:lnTo>
                    <a:pt x="100379" y="82283"/>
                  </a:lnTo>
                  <a:lnTo>
                    <a:pt x="124496" y="71586"/>
                  </a:lnTo>
                  <a:lnTo>
                    <a:pt x="140498" y="56459"/>
                  </a:lnTo>
                  <a:lnTo>
                    <a:pt x="145833" y="39861"/>
                  </a:lnTo>
                  <a:lnTo>
                    <a:pt x="140498" y="23759"/>
                  </a:lnTo>
                  <a:lnTo>
                    <a:pt x="124496" y="10122"/>
                  </a:lnTo>
                  <a:lnTo>
                    <a:pt x="100379" y="1830"/>
                  </a:lnTo>
                  <a:lnTo>
                    <a:pt x="72916" y="0"/>
                  </a:lnTo>
                  <a:close/>
                </a:path>
              </a:pathLst>
            </a:custGeom>
            <a:solidFill>
              <a:srgbClr val="FFFFFF"/>
            </a:solidFill>
          </p:spPr>
          <p:txBody>
            <a:bodyPr wrap="square" lIns="0" tIns="0" rIns="0" bIns="0" rtlCol="0"/>
            <a:lstStyle/>
            <a:p>
              <a:endParaRPr sz="1092" dirty="0"/>
            </a:p>
          </p:txBody>
        </p:sp>
        <p:sp>
          <p:nvSpPr>
            <p:cNvPr id="687" name="object 687"/>
            <p:cNvSpPr/>
            <p:nvPr/>
          </p:nvSpPr>
          <p:spPr>
            <a:xfrm>
              <a:off x="6660814" y="3759317"/>
              <a:ext cx="88439" cy="52771"/>
            </a:xfrm>
            <a:prstGeom prst="rect">
              <a:avLst/>
            </a:prstGeom>
            <a:blipFill>
              <a:blip r:embed="rId27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88" name="object 688"/>
            <p:cNvSpPr/>
            <p:nvPr/>
          </p:nvSpPr>
          <p:spPr>
            <a:xfrm>
              <a:off x="6644662" y="3781155"/>
              <a:ext cx="88565" cy="37351"/>
            </a:xfrm>
            <a:custGeom>
              <a:avLst/>
              <a:gdLst/>
              <a:ahLst/>
              <a:cxnLst/>
              <a:rect l="l" t="t" r="r" b="b"/>
              <a:pathLst>
                <a:path w="146050" h="61595">
                  <a:moveTo>
                    <a:pt x="0" y="7486"/>
                  </a:moveTo>
                  <a:lnTo>
                    <a:pt x="12234" y="44960"/>
                  </a:lnTo>
                  <a:lnTo>
                    <a:pt x="72948" y="61538"/>
                  </a:lnTo>
                  <a:lnTo>
                    <a:pt x="100396" y="57076"/>
                  </a:lnTo>
                  <a:lnTo>
                    <a:pt x="122987" y="47006"/>
                  </a:lnTo>
                  <a:lnTo>
                    <a:pt x="72948" y="47006"/>
                  </a:lnTo>
                  <a:lnTo>
                    <a:pt x="45542" y="45176"/>
                  </a:lnTo>
                  <a:lnTo>
                    <a:pt x="21454" y="36888"/>
                  </a:lnTo>
                  <a:lnTo>
                    <a:pt x="12234" y="30460"/>
                  </a:lnTo>
                  <a:lnTo>
                    <a:pt x="5571" y="23263"/>
                  </a:lnTo>
                  <a:lnTo>
                    <a:pt x="1486" y="15529"/>
                  </a:lnTo>
                  <a:lnTo>
                    <a:pt x="0" y="7486"/>
                  </a:lnTo>
                  <a:close/>
                </a:path>
                <a:path w="146050" h="61595">
                  <a:moveTo>
                    <a:pt x="145838" y="0"/>
                  </a:moveTo>
                  <a:lnTo>
                    <a:pt x="124614" y="31821"/>
                  </a:lnTo>
                  <a:lnTo>
                    <a:pt x="72948" y="47006"/>
                  </a:lnTo>
                  <a:lnTo>
                    <a:pt x="122987" y="47006"/>
                  </a:lnTo>
                  <a:lnTo>
                    <a:pt x="145838" y="14219"/>
                  </a:lnTo>
                  <a:lnTo>
                    <a:pt x="145838" y="0"/>
                  </a:lnTo>
                  <a:close/>
                </a:path>
              </a:pathLst>
            </a:custGeom>
            <a:solidFill>
              <a:srgbClr val="999999"/>
            </a:solidFill>
          </p:spPr>
          <p:txBody>
            <a:bodyPr wrap="square" lIns="0" tIns="0" rIns="0" bIns="0" rtlCol="0"/>
            <a:lstStyle/>
            <a:p>
              <a:endParaRPr sz="1092" dirty="0"/>
            </a:p>
          </p:txBody>
        </p:sp>
        <p:sp>
          <p:nvSpPr>
            <p:cNvPr id="689" name="object 689"/>
            <p:cNvSpPr/>
            <p:nvPr/>
          </p:nvSpPr>
          <p:spPr>
            <a:xfrm>
              <a:off x="6644474" y="3757186"/>
              <a:ext cx="88565" cy="52754"/>
            </a:xfrm>
            <a:custGeom>
              <a:avLst/>
              <a:gdLst/>
              <a:ahLst/>
              <a:cxnLst/>
              <a:rect l="l" t="t" r="r" b="b"/>
              <a:pathLst>
                <a:path w="146050" h="86995">
                  <a:moveTo>
                    <a:pt x="73013" y="0"/>
                  </a:moveTo>
                  <a:lnTo>
                    <a:pt x="45600" y="4497"/>
                  </a:lnTo>
                  <a:lnTo>
                    <a:pt x="21509" y="15184"/>
                  </a:lnTo>
                  <a:lnTo>
                    <a:pt x="5377" y="30277"/>
                  </a:lnTo>
                  <a:lnTo>
                    <a:pt x="0" y="46819"/>
                  </a:lnTo>
                  <a:lnTo>
                    <a:pt x="5377" y="62909"/>
                  </a:lnTo>
                  <a:lnTo>
                    <a:pt x="21509" y="76648"/>
                  </a:lnTo>
                  <a:lnTo>
                    <a:pt x="45600" y="84948"/>
                  </a:lnTo>
                  <a:lnTo>
                    <a:pt x="73013" y="86778"/>
                  </a:lnTo>
                  <a:lnTo>
                    <a:pt x="100469" y="82278"/>
                  </a:lnTo>
                  <a:lnTo>
                    <a:pt x="124689" y="71590"/>
                  </a:lnTo>
                  <a:lnTo>
                    <a:pt x="140692" y="56429"/>
                  </a:lnTo>
                  <a:lnTo>
                    <a:pt x="146026" y="39774"/>
                  </a:lnTo>
                  <a:lnTo>
                    <a:pt x="140692" y="23661"/>
                  </a:lnTo>
                  <a:lnTo>
                    <a:pt x="124689" y="10126"/>
                  </a:lnTo>
                  <a:lnTo>
                    <a:pt x="100469" y="1830"/>
                  </a:lnTo>
                  <a:lnTo>
                    <a:pt x="73013" y="0"/>
                  </a:lnTo>
                  <a:close/>
                </a:path>
              </a:pathLst>
            </a:custGeom>
            <a:solidFill>
              <a:srgbClr val="FFFFFF"/>
            </a:solidFill>
          </p:spPr>
          <p:txBody>
            <a:bodyPr wrap="square" lIns="0" tIns="0" rIns="0" bIns="0" rtlCol="0"/>
            <a:lstStyle/>
            <a:p>
              <a:endParaRPr sz="1092" dirty="0"/>
            </a:p>
          </p:txBody>
        </p:sp>
        <p:sp>
          <p:nvSpPr>
            <p:cNvPr id="690" name="object 690"/>
            <p:cNvSpPr/>
            <p:nvPr/>
          </p:nvSpPr>
          <p:spPr>
            <a:xfrm>
              <a:off x="6525458" y="3776505"/>
              <a:ext cx="88488" cy="52758"/>
            </a:xfrm>
            <a:prstGeom prst="rect">
              <a:avLst/>
            </a:prstGeom>
            <a:blipFill>
              <a:blip r:embed="rId27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91" name="object 691"/>
            <p:cNvSpPr/>
            <p:nvPr/>
          </p:nvSpPr>
          <p:spPr>
            <a:xfrm>
              <a:off x="6509451" y="3798414"/>
              <a:ext cx="88565" cy="37351"/>
            </a:xfrm>
            <a:custGeom>
              <a:avLst/>
              <a:gdLst/>
              <a:ahLst/>
              <a:cxnLst/>
              <a:rect l="l" t="t" r="r" b="b"/>
              <a:pathLst>
                <a:path w="146050" h="61595">
                  <a:moveTo>
                    <a:pt x="0" y="7696"/>
                  </a:moveTo>
                  <a:lnTo>
                    <a:pt x="11891" y="44833"/>
                  </a:lnTo>
                  <a:lnTo>
                    <a:pt x="72793" y="61428"/>
                  </a:lnTo>
                  <a:lnTo>
                    <a:pt x="100260" y="56962"/>
                  </a:lnTo>
                  <a:lnTo>
                    <a:pt x="122784" y="46989"/>
                  </a:lnTo>
                  <a:lnTo>
                    <a:pt x="72793" y="46989"/>
                  </a:lnTo>
                  <a:lnTo>
                    <a:pt x="45326" y="45162"/>
                  </a:lnTo>
                  <a:lnTo>
                    <a:pt x="21203" y="36867"/>
                  </a:lnTo>
                  <a:lnTo>
                    <a:pt x="11997" y="30584"/>
                  </a:lnTo>
                  <a:lnTo>
                    <a:pt x="5363" y="23460"/>
                  </a:lnTo>
                  <a:lnTo>
                    <a:pt x="1348" y="15746"/>
                  </a:lnTo>
                  <a:lnTo>
                    <a:pt x="0" y="7696"/>
                  </a:lnTo>
                  <a:close/>
                </a:path>
                <a:path w="146050" h="61595">
                  <a:moveTo>
                    <a:pt x="145838" y="0"/>
                  </a:moveTo>
                  <a:lnTo>
                    <a:pt x="124383" y="31800"/>
                  </a:lnTo>
                  <a:lnTo>
                    <a:pt x="72793" y="46989"/>
                  </a:lnTo>
                  <a:lnTo>
                    <a:pt x="122784" y="46989"/>
                  </a:lnTo>
                  <a:lnTo>
                    <a:pt x="145838" y="13957"/>
                  </a:lnTo>
                  <a:lnTo>
                    <a:pt x="145838" y="0"/>
                  </a:lnTo>
                  <a:close/>
                </a:path>
              </a:pathLst>
            </a:custGeom>
            <a:solidFill>
              <a:srgbClr val="999999"/>
            </a:solidFill>
          </p:spPr>
          <p:txBody>
            <a:bodyPr wrap="square" lIns="0" tIns="0" rIns="0" bIns="0" rtlCol="0"/>
            <a:lstStyle/>
            <a:p>
              <a:endParaRPr sz="1092" dirty="0"/>
            </a:p>
          </p:txBody>
        </p:sp>
        <p:sp>
          <p:nvSpPr>
            <p:cNvPr id="692" name="object 692"/>
            <p:cNvSpPr/>
            <p:nvPr/>
          </p:nvSpPr>
          <p:spPr>
            <a:xfrm>
              <a:off x="6509379" y="3774450"/>
              <a:ext cx="88565" cy="52754"/>
            </a:xfrm>
            <a:custGeom>
              <a:avLst/>
              <a:gdLst/>
              <a:ahLst/>
              <a:cxnLst/>
              <a:rect l="l" t="t" r="r" b="b"/>
              <a:pathLst>
                <a:path w="146050" h="86995">
                  <a:moveTo>
                    <a:pt x="72910" y="0"/>
                  </a:moveTo>
                  <a:lnTo>
                    <a:pt x="45446" y="4469"/>
                  </a:lnTo>
                  <a:lnTo>
                    <a:pt x="21329" y="15151"/>
                  </a:lnTo>
                  <a:lnTo>
                    <a:pt x="5332" y="30293"/>
                  </a:lnTo>
                  <a:lnTo>
                    <a:pt x="0" y="46892"/>
                  </a:lnTo>
                  <a:lnTo>
                    <a:pt x="5332" y="62987"/>
                  </a:lnTo>
                  <a:lnTo>
                    <a:pt x="21329" y="76615"/>
                  </a:lnTo>
                  <a:lnTo>
                    <a:pt x="45446" y="84919"/>
                  </a:lnTo>
                  <a:lnTo>
                    <a:pt x="72910" y="86753"/>
                  </a:lnTo>
                  <a:lnTo>
                    <a:pt x="100375" y="82255"/>
                  </a:lnTo>
                  <a:lnTo>
                    <a:pt x="124498" y="71558"/>
                  </a:lnTo>
                  <a:lnTo>
                    <a:pt x="140501" y="56469"/>
                  </a:lnTo>
                  <a:lnTo>
                    <a:pt x="145835" y="39955"/>
                  </a:lnTo>
                  <a:lnTo>
                    <a:pt x="140501" y="23933"/>
                  </a:lnTo>
                  <a:lnTo>
                    <a:pt x="124498" y="10324"/>
                  </a:lnTo>
                  <a:lnTo>
                    <a:pt x="100375" y="1899"/>
                  </a:lnTo>
                  <a:lnTo>
                    <a:pt x="72910" y="0"/>
                  </a:lnTo>
                  <a:close/>
                </a:path>
              </a:pathLst>
            </a:custGeom>
            <a:solidFill>
              <a:srgbClr val="FFFFFF"/>
            </a:solidFill>
          </p:spPr>
          <p:txBody>
            <a:bodyPr wrap="square" lIns="0" tIns="0" rIns="0" bIns="0" rtlCol="0"/>
            <a:lstStyle/>
            <a:p>
              <a:endParaRPr sz="1092" dirty="0"/>
            </a:p>
          </p:txBody>
        </p:sp>
        <p:sp>
          <p:nvSpPr>
            <p:cNvPr id="693" name="object 693"/>
            <p:cNvSpPr/>
            <p:nvPr/>
          </p:nvSpPr>
          <p:spPr>
            <a:xfrm>
              <a:off x="7040652" y="3834515"/>
              <a:ext cx="137468" cy="100502"/>
            </a:xfrm>
            <a:custGeom>
              <a:avLst/>
              <a:gdLst/>
              <a:ahLst/>
              <a:cxnLst/>
              <a:rect l="l" t="t" r="r" b="b"/>
              <a:pathLst>
                <a:path w="226695" h="165735">
                  <a:moveTo>
                    <a:pt x="87976" y="0"/>
                  </a:moveTo>
                  <a:lnTo>
                    <a:pt x="26260" y="55904"/>
                  </a:lnTo>
                  <a:lnTo>
                    <a:pt x="0" y="165345"/>
                  </a:lnTo>
                  <a:lnTo>
                    <a:pt x="101232" y="149461"/>
                  </a:lnTo>
                  <a:lnTo>
                    <a:pt x="226338" y="76887"/>
                  </a:lnTo>
                  <a:lnTo>
                    <a:pt x="87976" y="0"/>
                  </a:lnTo>
                  <a:close/>
                </a:path>
              </a:pathLst>
            </a:custGeom>
            <a:solidFill>
              <a:srgbClr val="BABABB"/>
            </a:solidFill>
          </p:spPr>
          <p:txBody>
            <a:bodyPr wrap="square" lIns="0" tIns="0" rIns="0" bIns="0" rtlCol="0"/>
            <a:lstStyle/>
            <a:p>
              <a:endParaRPr sz="1092" dirty="0"/>
            </a:p>
          </p:txBody>
        </p:sp>
        <p:sp>
          <p:nvSpPr>
            <p:cNvPr id="694" name="object 694"/>
            <p:cNvSpPr/>
            <p:nvPr/>
          </p:nvSpPr>
          <p:spPr>
            <a:xfrm>
              <a:off x="6966099" y="3796498"/>
              <a:ext cx="74702" cy="138623"/>
            </a:xfrm>
            <a:custGeom>
              <a:avLst/>
              <a:gdLst/>
              <a:ahLst/>
              <a:cxnLst/>
              <a:rect l="l" t="t" r="r" b="b"/>
              <a:pathLst>
                <a:path w="123190" h="228600">
                  <a:moveTo>
                    <a:pt x="0" y="0"/>
                  </a:moveTo>
                  <a:lnTo>
                    <a:pt x="0" y="155723"/>
                  </a:lnTo>
                  <a:lnTo>
                    <a:pt x="122938" y="228034"/>
                  </a:lnTo>
                  <a:lnTo>
                    <a:pt x="122697" y="72081"/>
                  </a:lnTo>
                  <a:lnTo>
                    <a:pt x="0" y="0"/>
                  </a:lnTo>
                  <a:close/>
                </a:path>
              </a:pathLst>
            </a:custGeom>
            <a:solidFill>
              <a:srgbClr val="F7F1F1"/>
            </a:solidFill>
          </p:spPr>
          <p:txBody>
            <a:bodyPr wrap="square" lIns="0" tIns="0" rIns="0" bIns="0" rtlCol="0"/>
            <a:lstStyle/>
            <a:p>
              <a:endParaRPr sz="1092" dirty="0"/>
            </a:p>
          </p:txBody>
        </p:sp>
        <p:sp>
          <p:nvSpPr>
            <p:cNvPr id="695" name="object 695"/>
            <p:cNvSpPr/>
            <p:nvPr/>
          </p:nvSpPr>
          <p:spPr>
            <a:xfrm>
              <a:off x="7040497" y="3796355"/>
              <a:ext cx="75473" cy="138623"/>
            </a:xfrm>
            <a:custGeom>
              <a:avLst/>
              <a:gdLst/>
              <a:ahLst/>
              <a:cxnLst/>
              <a:rect l="l" t="t" r="r" b="b"/>
              <a:pathLst>
                <a:path w="124459" h="228600">
                  <a:moveTo>
                    <a:pt x="123912" y="0"/>
                  </a:moveTo>
                  <a:lnTo>
                    <a:pt x="0" y="72322"/>
                  </a:lnTo>
                  <a:lnTo>
                    <a:pt x="251" y="228275"/>
                  </a:lnTo>
                  <a:lnTo>
                    <a:pt x="123912" y="155963"/>
                  </a:lnTo>
                  <a:lnTo>
                    <a:pt x="123912" y="0"/>
                  </a:lnTo>
                  <a:close/>
                </a:path>
              </a:pathLst>
            </a:custGeom>
            <a:solidFill>
              <a:srgbClr val="CAC4C4"/>
            </a:solidFill>
          </p:spPr>
          <p:txBody>
            <a:bodyPr wrap="square" lIns="0" tIns="0" rIns="0" bIns="0" rtlCol="0"/>
            <a:lstStyle/>
            <a:p>
              <a:endParaRPr sz="1092" dirty="0"/>
            </a:p>
          </p:txBody>
        </p:sp>
        <p:sp>
          <p:nvSpPr>
            <p:cNvPr id="696" name="object 696"/>
            <p:cNvSpPr/>
            <p:nvPr/>
          </p:nvSpPr>
          <p:spPr>
            <a:xfrm>
              <a:off x="7046052" y="3809218"/>
              <a:ext cx="65774" cy="110076"/>
            </a:xfrm>
            <a:prstGeom prst="rect">
              <a:avLst/>
            </a:prstGeom>
            <a:blipFill>
              <a:blip r:embed="rId27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697" name="object 697"/>
            <p:cNvSpPr/>
            <p:nvPr/>
          </p:nvSpPr>
          <p:spPr>
            <a:xfrm>
              <a:off x="7046055" y="3879680"/>
              <a:ext cx="65846" cy="39662"/>
            </a:xfrm>
            <a:custGeom>
              <a:avLst/>
              <a:gdLst/>
              <a:ahLst/>
              <a:cxnLst/>
              <a:rect l="l" t="t" r="r" b="b"/>
              <a:pathLst>
                <a:path w="108584" h="65404">
                  <a:moveTo>
                    <a:pt x="108467" y="0"/>
                  </a:moveTo>
                  <a:lnTo>
                    <a:pt x="0" y="62427"/>
                  </a:lnTo>
                  <a:lnTo>
                    <a:pt x="0" y="64856"/>
                  </a:lnTo>
                  <a:lnTo>
                    <a:pt x="108467" y="1696"/>
                  </a:lnTo>
                  <a:lnTo>
                    <a:pt x="108467" y="0"/>
                  </a:lnTo>
                  <a:close/>
                </a:path>
              </a:pathLst>
            </a:custGeom>
            <a:solidFill>
              <a:srgbClr val="8B8787"/>
            </a:solidFill>
          </p:spPr>
          <p:txBody>
            <a:bodyPr wrap="square" lIns="0" tIns="0" rIns="0" bIns="0" rtlCol="0"/>
            <a:lstStyle/>
            <a:p>
              <a:endParaRPr sz="1092" dirty="0"/>
            </a:p>
          </p:txBody>
        </p:sp>
        <p:sp>
          <p:nvSpPr>
            <p:cNvPr id="698" name="object 698"/>
            <p:cNvSpPr/>
            <p:nvPr/>
          </p:nvSpPr>
          <p:spPr>
            <a:xfrm>
              <a:off x="7046055" y="3864334"/>
              <a:ext cx="65846" cy="39662"/>
            </a:xfrm>
            <a:custGeom>
              <a:avLst/>
              <a:gdLst/>
              <a:ahLst/>
              <a:cxnLst/>
              <a:rect l="l" t="t" r="r" b="b"/>
              <a:pathLst>
                <a:path w="108584" h="65404">
                  <a:moveTo>
                    <a:pt x="108467" y="0"/>
                  </a:moveTo>
                  <a:lnTo>
                    <a:pt x="0" y="62668"/>
                  </a:lnTo>
                  <a:lnTo>
                    <a:pt x="0" y="65087"/>
                  </a:lnTo>
                  <a:lnTo>
                    <a:pt x="108467" y="1926"/>
                  </a:lnTo>
                  <a:lnTo>
                    <a:pt x="108467" y="0"/>
                  </a:lnTo>
                  <a:close/>
                </a:path>
              </a:pathLst>
            </a:custGeom>
            <a:solidFill>
              <a:srgbClr val="8B8787"/>
            </a:solidFill>
          </p:spPr>
          <p:txBody>
            <a:bodyPr wrap="square" lIns="0" tIns="0" rIns="0" bIns="0" rtlCol="0"/>
            <a:lstStyle/>
            <a:p>
              <a:endParaRPr sz="1092" dirty="0"/>
            </a:p>
          </p:txBody>
        </p:sp>
        <p:sp>
          <p:nvSpPr>
            <p:cNvPr id="699" name="object 699"/>
            <p:cNvSpPr/>
            <p:nvPr/>
          </p:nvSpPr>
          <p:spPr>
            <a:xfrm>
              <a:off x="7046055" y="3849133"/>
              <a:ext cx="65846" cy="39662"/>
            </a:xfrm>
            <a:custGeom>
              <a:avLst/>
              <a:gdLst/>
              <a:ahLst/>
              <a:cxnLst/>
              <a:rect l="l" t="t" r="r" b="b"/>
              <a:pathLst>
                <a:path w="108584" h="65404">
                  <a:moveTo>
                    <a:pt x="108467" y="0"/>
                  </a:moveTo>
                  <a:lnTo>
                    <a:pt x="0" y="62427"/>
                  </a:lnTo>
                  <a:lnTo>
                    <a:pt x="0" y="65087"/>
                  </a:lnTo>
                  <a:lnTo>
                    <a:pt x="108467" y="1926"/>
                  </a:lnTo>
                  <a:lnTo>
                    <a:pt x="108467" y="0"/>
                  </a:lnTo>
                  <a:close/>
                </a:path>
              </a:pathLst>
            </a:custGeom>
            <a:solidFill>
              <a:srgbClr val="8B8787"/>
            </a:solidFill>
          </p:spPr>
          <p:txBody>
            <a:bodyPr wrap="square" lIns="0" tIns="0" rIns="0" bIns="0" rtlCol="0"/>
            <a:lstStyle/>
            <a:p>
              <a:endParaRPr sz="1092" dirty="0"/>
            </a:p>
          </p:txBody>
        </p:sp>
        <p:sp>
          <p:nvSpPr>
            <p:cNvPr id="700" name="object 700"/>
            <p:cNvSpPr/>
            <p:nvPr/>
          </p:nvSpPr>
          <p:spPr>
            <a:xfrm>
              <a:off x="7046055" y="3833930"/>
              <a:ext cx="65846" cy="39662"/>
            </a:xfrm>
            <a:custGeom>
              <a:avLst/>
              <a:gdLst/>
              <a:ahLst/>
              <a:cxnLst/>
              <a:rect l="l" t="t" r="r" b="b"/>
              <a:pathLst>
                <a:path w="108584" h="65404">
                  <a:moveTo>
                    <a:pt x="108467" y="0"/>
                  </a:moveTo>
                  <a:lnTo>
                    <a:pt x="0" y="62427"/>
                  </a:lnTo>
                  <a:lnTo>
                    <a:pt x="0" y="65087"/>
                  </a:lnTo>
                  <a:lnTo>
                    <a:pt x="108467" y="1696"/>
                  </a:lnTo>
                  <a:lnTo>
                    <a:pt x="108467" y="0"/>
                  </a:lnTo>
                  <a:close/>
                </a:path>
              </a:pathLst>
            </a:custGeom>
            <a:solidFill>
              <a:srgbClr val="8B8787"/>
            </a:solidFill>
          </p:spPr>
          <p:txBody>
            <a:bodyPr wrap="square" lIns="0" tIns="0" rIns="0" bIns="0" rtlCol="0"/>
            <a:lstStyle/>
            <a:p>
              <a:endParaRPr sz="1092" dirty="0"/>
            </a:p>
          </p:txBody>
        </p:sp>
        <p:sp>
          <p:nvSpPr>
            <p:cNvPr id="701" name="object 701"/>
            <p:cNvSpPr/>
            <p:nvPr/>
          </p:nvSpPr>
          <p:spPr>
            <a:xfrm>
              <a:off x="7046055" y="3818727"/>
              <a:ext cx="65846" cy="39662"/>
            </a:xfrm>
            <a:custGeom>
              <a:avLst/>
              <a:gdLst/>
              <a:ahLst/>
              <a:cxnLst/>
              <a:rect l="l" t="t" r="r" b="b"/>
              <a:pathLst>
                <a:path w="108584" h="65404">
                  <a:moveTo>
                    <a:pt x="108467" y="0"/>
                  </a:moveTo>
                  <a:lnTo>
                    <a:pt x="0" y="62427"/>
                  </a:lnTo>
                  <a:lnTo>
                    <a:pt x="0" y="64835"/>
                  </a:lnTo>
                  <a:lnTo>
                    <a:pt x="108467" y="1696"/>
                  </a:lnTo>
                  <a:lnTo>
                    <a:pt x="108467" y="0"/>
                  </a:lnTo>
                  <a:close/>
                </a:path>
              </a:pathLst>
            </a:custGeom>
            <a:solidFill>
              <a:srgbClr val="8B8787"/>
            </a:solidFill>
          </p:spPr>
          <p:txBody>
            <a:bodyPr wrap="square" lIns="0" tIns="0" rIns="0" bIns="0" rtlCol="0"/>
            <a:lstStyle/>
            <a:p>
              <a:endParaRPr sz="1092" dirty="0"/>
            </a:p>
          </p:txBody>
        </p:sp>
        <p:sp>
          <p:nvSpPr>
            <p:cNvPr id="702" name="object 702"/>
            <p:cNvSpPr/>
            <p:nvPr/>
          </p:nvSpPr>
          <p:spPr>
            <a:xfrm>
              <a:off x="7050734" y="3844751"/>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03" name="object 703"/>
            <p:cNvSpPr/>
            <p:nvPr/>
          </p:nvSpPr>
          <p:spPr>
            <a:xfrm>
              <a:off x="7055775" y="3841824"/>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04" name="object 704"/>
            <p:cNvSpPr/>
            <p:nvPr/>
          </p:nvSpPr>
          <p:spPr>
            <a:xfrm>
              <a:off x="7060889" y="3838897"/>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05" name="object 705"/>
            <p:cNvSpPr/>
            <p:nvPr/>
          </p:nvSpPr>
          <p:spPr>
            <a:xfrm>
              <a:off x="7066081" y="3835971"/>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06" name="object 706"/>
            <p:cNvSpPr/>
            <p:nvPr/>
          </p:nvSpPr>
          <p:spPr>
            <a:xfrm>
              <a:off x="7071198" y="3833045"/>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07" name="object 707"/>
            <p:cNvSpPr/>
            <p:nvPr/>
          </p:nvSpPr>
          <p:spPr>
            <a:xfrm>
              <a:off x="7076166" y="3829976"/>
              <a:ext cx="0" cy="72392"/>
            </a:xfrm>
            <a:custGeom>
              <a:avLst/>
              <a:gdLst/>
              <a:ahLst/>
              <a:cxnLst/>
              <a:rect l="l" t="t" r="r" b="b"/>
              <a:pathLst>
                <a:path h="119379">
                  <a:moveTo>
                    <a:pt x="0" y="0"/>
                  </a:moveTo>
                  <a:lnTo>
                    <a:pt x="0" y="118855"/>
                  </a:lnTo>
                </a:path>
              </a:pathLst>
            </a:custGeom>
            <a:ln w="3175">
              <a:solidFill>
                <a:srgbClr val="8B8787"/>
              </a:solidFill>
            </a:ln>
          </p:spPr>
          <p:txBody>
            <a:bodyPr wrap="square" lIns="0" tIns="0" rIns="0" bIns="0" rtlCol="0"/>
            <a:lstStyle/>
            <a:p>
              <a:endParaRPr sz="1092" dirty="0"/>
            </a:p>
          </p:txBody>
        </p:sp>
        <p:sp>
          <p:nvSpPr>
            <p:cNvPr id="708" name="object 708"/>
            <p:cNvSpPr/>
            <p:nvPr/>
          </p:nvSpPr>
          <p:spPr>
            <a:xfrm>
              <a:off x="7081283" y="3827063"/>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09" name="object 709"/>
            <p:cNvSpPr/>
            <p:nvPr/>
          </p:nvSpPr>
          <p:spPr>
            <a:xfrm>
              <a:off x="7086400" y="3824137"/>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10" name="object 710"/>
            <p:cNvSpPr/>
            <p:nvPr/>
          </p:nvSpPr>
          <p:spPr>
            <a:xfrm>
              <a:off x="7091519" y="3821210"/>
              <a:ext cx="0" cy="72007"/>
            </a:xfrm>
            <a:custGeom>
              <a:avLst/>
              <a:gdLst/>
              <a:ahLst/>
              <a:cxnLst/>
              <a:rect l="l" t="t" r="r" b="b"/>
              <a:pathLst>
                <a:path h="118745">
                  <a:moveTo>
                    <a:pt x="0" y="0"/>
                  </a:moveTo>
                  <a:lnTo>
                    <a:pt x="0" y="118362"/>
                  </a:lnTo>
                </a:path>
              </a:pathLst>
            </a:custGeom>
            <a:ln w="3175">
              <a:solidFill>
                <a:srgbClr val="8B8787"/>
              </a:solidFill>
            </a:ln>
          </p:spPr>
          <p:txBody>
            <a:bodyPr wrap="square" lIns="0" tIns="0" rIns="0" bIns="0" rtlCol="0"/>
            <a:lstStyle/>
            <a:p>
              <a:endParaRPr sz="1092" dirty="0"/>
            </a:p>
          </p:txBody>
        </p:sp>
        <p:sp>
          <p:nvSpPr>
            <p:cNvPr id="711" name="object 711"/>
            <p:cNvSpPr/>
            <p:nvPr/>
          </p:nvSpPr>
          <p:spPr>
            <a:xfrm>
              <a:off x="7096556" y="3818284"/>
              <a:ext cx="0" cy="72007"/>
            </a:xfrm>
            <a:custGeom>
              <a:avLst/>
              <a:gdLst/>
              <a:ahLst/>
              <a:cxnLst/>
              <a:rect l="l" t="t" r="r" b="b"/>
              <a:pathLst>
                <a:path h="118745">
                  <a:moveTo>
                    <a:pt x="0" y="0"/>
                  </a:moveTo>
                  <a:lnTo>
                    <a:pt x="0" y="118362"/>
                  </a:lnTo>
                </a:path>
              </a:pathLst>
            </a:custGeom>
            <a:ln w="3175">
              <a:solidFill>
                <a:srgbClr val="8B8787"/>
              </a:solidFill>
            </a:ln>
          </p:spPr>
          <p:txBody>
            <a:bodyPr wrap="square" lIns="0" tIns="0" rIns="0" bIns="0" rtlCol="0"/>
            <a:lstStyle/>
            <a:p>
              <a:endParaRPr sz="1092" dirty="0"/>
            </a:p>
          </p:txBody>
        </p:sp>
        <p:sp>
          <p:nvSpPr>
            <p:cNvPr id="712" name="object 712"/>
            <p:cNvSpPr/>
            <p:nvPr/>
          </p:nvSpPr>
          <p:spPr>
            <a:xfrm>
              <a:off x="7101744" y="3815216"/>
              <a:ext cx="0" cy="72007"/>
            </a:xfrm>
            <a:custGeom>
              <a:avLst/>
              <a:gdLst/>
              <a:ahLst/>
              <a:cxnLst/>
              <a:rect l="l" t="t" r="r" b="b"/>
              <a:pathLst>
                <a:path h="118745">
                  <a:moveTo>
                    <a:pt x="0" y="0"/>
                  </a:moveTo>
                  <a:lnTo>
                    <a:pt x="0" y="118362"/>
                  </a:lnTo>
                </a:path>
              </a:pathLst>
            </a:custGeom>
            <a:ln w="3175">
              <a:solidFill>
                <a:srgbClr val="8B8787"/>
              </a:solidFill>
            </a:ln>
          </p:spPr>
          <p:txBody>
            <a:bodyPr wrap="square" lIns="0" tIns="0" rIns="0" bIns="0" rtlCol="0"/>
            <a:lstStyle/>
            <a:p>
              <a:endParaRPr sz="1092" dirty="0"/>
            </a:p>
          </p:txBody>
        </p:sp>
        <p:sp>
          <p:nvSpPr>
            <p:cNvPr id="713" name="object 713"/>
            <p:cNvSpPr/>
            <p:nvPr/>
          </p:nvSpPr>
          <p:spPr>
            <a:xfrm>
              <a:off x="7106787" y="3812290"/>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14" name="object 714"/>
            <p:cNvSpPr/>
            <p:nvPr/>
          </p:nvSpPr>
          <p:spPr>
            <a:xfrm>
              <a:off x="6969463" y="3809218"/>
              <a:ext cx="65622" cy="109790"/>
            </a:xfrm>
            <a:prstGeom prst="rect">
              <a:avLst/>
            </a:prstGeom>
            <a:blipFill>
              <a:blip r:embed="rId27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715" name="object 715"/>
            <p:cNvSpPr/>
            <p:nvPr/>
          </p:nvSpPr>
          <p:spPr>
            <a:xfrm>
              <a:off x="6969459" y="3879682"/>
              <a:ext cx="65846" cy="39662"/>
            </a:xfrm>
            <a:custGeom>
              <a:avLst/>
              <a:gdLst/>
              <a:ahLst/>
              <a:cxnLst/>
              <a:rect l="l" t="t" r="r" b="b"/>
              <a:pathLst>
                <a:path w="108584" h="65404">
                  <a:moveTo>
                    <a:pt x="0" y="0"/>
                  </a:moveTo>
                  <a:lnTo>
                    <a:pt x="0" y="1696"/>
                  </a:lnTo>
                  <a:lnTo>
                    <a:pt x="108227" y="64856"/>
                  </a:lnTo>
                  <a:lnTo>
                    <a:pt x="108227" y="62427"/>
                  </a:lnTo>
                  <a:lnTo>
                    <a:pt x="0" y="0"/>
                  </a:lnTo>
                  <a:close/>
                </a:path>
              </a:pathLst>
            </a:custGeom>
            <a:solidFill>
              <a:srgbClr val="B8B4B4"/>
            </a:solidFill>
          </p:spPr>
          <p:txBody>
            <a:bodyPr wrap="square" lIns="0" tIns="0" rIns="0" bIns="0" rtlCol="0"/>
            <a:lstStyle/>
            <a:p>
              <a:endParaRPr sz="1092" dirty="0"/>
            </a:p>
          </p:txBody>
        </p:sp>
        <p:sp>
          <p:nvSpPr>
            <p:cNvPr id="716" name="object 716"/>
            <p:cNvSpPr/>
            <p:nvPr/>
          </p:nvSpPr>
          <p:spPr>
            <a:xfrm>
              <a:off x="6969459" y="3864332"/>
              <a:ext cx="65846" cy="39662"/>
            </a:xfrm>
            <a:custGeom>
              <a:avLst/>
              <a:gdLst/>
              <a:ahLst/>
              <a:cxnLst/>
              <a:rect l="l" t="t" r="r" b="b"/>
              <a:pathLst>
                <a:path w="108584" h="65404">
                  <a:moveTo>
                    <a:pt x="0" y="0"/>
                  </a:moveTo>
                  <a:lnTo>
                    <a:pt x="0" y="2167"/>
                  </a:lnTo>
                  <a:lnTo>
                    <a:pt x="108227" y="65097"/>
                  </a:lnTo>
                  <a:lnTo>
                    <a:pt x="108227" y="62668"/>
                  </a:lnTo>
                  <a:lnTo>
                    <a:pt x="0" y="0"/>
                  </a:lnTo>
                  <a:close/>
                </a:path>
              </a:pathLst>
            </a:custGeom>
            <a:solidFill>
              <a:srgbClr val="B8B4B4"/>
            </a:solidFill>
          </p:spPr>
          <p:txBody>
            <a:bodyPr wrap="square" lIns="0" tIns="0" rIns="0" bIns="0" rtlCol="0"/>
            <a:lstStyle/>
            <a:p>
              <a:endParaRPr sz="1092" dirty="0"/>
            </a:p>
          </p:txBody>
        </p:sp>
        <p:sp>
          <p:nvSpPr>
            <p:cNvPr id="717" name="object 717"/>
            <p:cNvSpPr/>
            <p:nvPr/>
          </p:nvSpPr>
          <p:spPr>
            <a:xfrm>
              <a:off x="6969459" y="3849133"/>
              <a:ext cx="65846" cy="39662"/>
            </a:xfrm>
            <a:custGeom>
              <a:avLst/>
              <a:gdLst/>
              <a:ahLst/>
              <a:cxnLst/>
              <a:rect l="l" t="t" r="r" b="b"/>
              <a:pathLst>
                <a:path w="108584" h="65404">
                  <a:moveTo>
                    <a:pt x="0" y="0"/>
                  </a:moveTo>
                  <a:lnTo>
                    <a:pt x="0" y="1926"/>
                  </a:lnTo>
                  <a:lnTo>
                    <a:pt x="108227" y="65087"/>
                  </a:lnTo>
                  <a:lnTo>
                    <a:pt x="108227" y="62427"/>
                  </a:lnTo>
                  <a:lnTo>
                    <a:pt x="0" y="0"/>
                  </a:lnTo>
                  <a:close/>
                </a:path>
              </a:pathLst>
            </a:custGeom>
            <a:solidFill>
              <a:srgbClr val="B8B4B4"/>
            </a:solidFill>
          </p:spPr>
          <p:txBody>
            <a:bodyPr wrap="square" lIns="0" tIns="0" rIns="0" bIns="0" rtlCol="0"/>
            <a:lstStyle/>
            <a:p>
              <a:endParaRPr sz="1092" dirty="0"/>
            </a:p>
          </p:txBody>
        </p:sp>
        <p:sp>
          <p:nvSpPr>
            <p:cNvPr id="718" name="object 718"/>
            <p:cNvSpPr/>
            <p:nvPr/>
          </p:nvSpPr>
          <p:spPr>
            <a:xfrm>
              <a:off x="6969459" y="3833930"/>
              <a:ext cx="65846" cy="39662"/>
            </a:xfrm>
            <a:custGeom>
              <a:avLst/>
              <a:gdLst/>
              <a:ahLst/>
              <a:cxnLst/>
              <a:rect l="l" t="t" r="r" b="b"/>
              <a:pathLst>
                <a:path w="108584" h="65404">
                  <a:moveTo>
                    <a:pt x="0" y="0"/>
                  </a:moveTo>
                  <a:lnTo>
                    <a:pt x="0" y="1696"/>
                  </a:lnTo>
                  <a:lnTo>
                    <a:pt x="108227" y="65087"/>
                  </a:lnTo>
                  <a:lnTo>
                    <a:pt x="108227" y="62427"/>
                  </a:lnTo>
                  <a:lnTo>
                    <a:pt x="0" y="0"/>
                  </a:lnTo>
                  <a:close/>
                </a:path>
              </a:pathLst>
            </a:custGeom>
            <a:solidFill>
              <a:srgbClr val="B8B4B4"/>
            </a:solidFill>
          </p:spPr>
          <p:txBody>
            <a:bodyPr wrap="square" lIns="0" tIns="0" rIns="0" bIns="0" rtlCol="0"/>
            <a:lstStyle/>
            <a:p>
              <a:endParaRPr sz="1092" dirty="0"/>
            </a:p>
          </p:txBody>
        </p:sp>
        <p:sp>
          <p:nvSpPr>
            <p:cNvPr id="719" name="object 719"/>
            <p:cNvSpPr/>
            <p:nvPr/>
          </p:nvSpPr>
          <p:spPr>
            <a:xfrm>
              <a:off x="6969459" y="3818729"/>
              <a:ext cx="65846" cy="39662"/>
            </a:xfrm>
            <a:custGeom>
              <a:avLst/>
              <a:gdLst/>
              <a:ahLst/>
              <a:cxnLst/>
              <a:rect l="l" t="t" r="r" b="b"/>
              <a:pathLst>
                <a:path w="108584" h="65404">
                  <a:moveTo>
                    <a:pt x="0" y="0"/>
                  </a:moveTo>
                  <a:lnTo>
                    <a:pt x="0" y="1696"/>
                  </a:lnTo>
                  <a:lnTo>
                    <a:pt x="108227" y="64825"/>
                  </a:lnTo>
                  <a:lnTo>
                    <a:pt x="108227" y="62427"/>
                  </a:lnTo>
                  <a:lnTo>
                    <a:pt x="0" y="0"/>
                  </a:lnTo>
                  <a:close/>
                </a:path>
              </a:pathLst>
            </a:custGeom>
            <a:solidFill>
              <a:srgbClr val="B8B4B4"/>
            </a:solidFill>
          </p:spPr>
          <p:txBody>
            <a:bodyPr wrap="square" lIns="0" tIns="0" rIns="0" bIns="0" rtlCol="0"/>
            <a:lstStyle/>
            <a:p>
              <a:endParaRPr sz="1092" dirty="0"/>
            </a:p>
          </p:txBody>
        </p:sp>
        <p:sp>
          <p:nvSpPr>
            <p:cNvPr id="720" name="object 720"/>
            <p:cNvSpPr/>
            <p:nvPr/>
          </p:nvSpPr>
          <p:spPr>
            <a:xfrm>
              <a:off x="7030489" y="3844748"/>
              <a:ext cx="0" cy="72007"/>
            </a:xfrm>
            <a:custGeom>
              <a:avLst/>
              <a:gdLst/>
              <a:ahLst/>
              <a:cxnLst/>
              <a:rect l="l" t="t" r="r" b="b"/>
              <a:pathLst>
                <a:path h="118745">
                  <a:moveTo>
                    <a:pt x="0" y="0"/>
                  </a:moveTo>
                  <a:lnTo>
                    <a:pt x="0" y="118341"/>
                  </a:lnTo>
                </a:path>
              </a:pathLst>
            </a:custGeom>
            <a:ln w="3175">
              <a:solidFill>
                <a:srgbClr val="B8B4B4"/>
              </a:solidFill>
            </a:ln>
          </p:spPr>
          <p:txBody>
            <a:bodyPr wrap="square" lIns="0" tIns="0" rIns="0" bIns="0" rtlCol="0"/>
            <a:lstStyle/>
            <a:p>
              <a:endParaRPr sz="1092" dirty="0"/>
            </a:p>
          </p:txBody>
        </p:sp>
        <p:sp>
          <p:nvSpPr>
            <p:cNvPr id="721" name="object 721"/>
            <p:cNvSpPr/>
            <p:nvPr/>
          </p:nvSpPr>
          <p:spPr>
            <a:xfrm>
              <a:off x="7025371" y="3841822"/>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722" name="object 722"/>
            <p:cNvSpPr/>
            <p:nvPr/>
          </p:nvSpPr>
          <p:spPr>
            <a:xfrm>
              <a:off x="7020254" y="3838895"/>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723" name="object 723"/>
            <p:cNvSpPr/>
            <p:nvPr/>
          </p:nvSpPr>
          <p:spPr>
            <a:xfrm>
              <a:off x="7015212" y="3835972"/>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724" name="object 724"/>
            <p:cNvSpPr/>
            <p:nvPr/>
          </p:nvSpPr>
          <p:spPr>
            <a:xfrm>
              <a:off x="7010095" y="3833047"/>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725" name="object 725"/>
            <p:cNvSpPr/>
            <p:nvPr/>
          </p:nvSpPr>
          <p:spPr>
            <a:xfrm>
              <a:off x="7005050" y="3829975"/>
              <a:ext cx="0" cy="72007"/>
            </a:xfrm>
            <a:custGeom>
              <a:avLst/>
              <a:gdLst/>
              <a:ahLst/>
              <a:cxnLst/>
              <a:rect l="l" t="t" r="r" b="b"/>
              <a:pathLst>
                <a:path h="118745">
                  <a:moveTo>
                    <a:pt x="0" y="0"/>
                  </a:moveTo>
                  <a:lnTo>
                    <a:pt x="0" y="118593"/>
                  </a:lnTo>
                </a:path>
              </a:pathLst>
            </a:custGeom>
            <a:ln w="3175">
              <a:solidFill>
                <a:srgbClr val="B8B4B4"/>
              </a:solidFill>
            </a:ln>
          </p:spPr>
          <p:txBody>
            <a:bodyPr wrap="square" lIns="0" tIns="0" rIns="0" bIns="0" rtlCol="0"/>
            <a:lstStyle/>
            <a:p>
              <a:endParaRPr sz="1092" dirty="0"/>
            </a:p>
          </p:txBody>
        </p:sp>
        <p:sp>
          <p:nvSpPr>
            <p:cNvPr id="726" name="object 726"/>
            <p:cNvSpPr/>
            <p:nvPr/>
          </p:nvSpPr>
          <p:spPr>
            <a:xfrm>
              <a:off x="6999936" y="3827204"/>
              <a:ext cx="0" cy="71622"/>
            </a:xfrm>
            <a:custGeom>
              <a:avLst/>
              <a:gdLst/>
              <a:ahLst/>
              <a:cxnLst/>
              <a:rect l="l" t="t" r="r" b="b"/>
              <a:pathLst>
                <a:path h="118110">
                  <a:moveTo>
                    <a:pt x="0" y="0"/>
                  </a:moveTo>
                  <a:lnTo>
                    <a:pt x="0" y="118101"/>
                  </a:lnTo>
                </a:path>
              </a:pathLst>
            </a:custGeom>
            <a:ln w="3175">
              <a:solidFill>
                <a:srgbClr val="B8B4B4"/>
              </a:solidFill>
            </a:ln>
          </p:spPr>
          <p:txBody>
            <a:bodyPr wrap="square" lIns="0" tIns="0" rIns="0" bIns="0" rtlCol="0"/>
            <a:lstStyle/>
            <a:p>
              <a:endParaRPr sz="1092" dirty="0"/>
            </a:p>
          </p:txBody>
        </p:sp>
        <p:sp>
          <p:nvSpPr>
            <p:cNvPr id="727" name="object 727"/>
            <p:cNvSpPr/>
            <p:nvPr/>
          </p:nvSpPr>
          <p:spPr>
            <a:xfrm>
              <a:off x="6994819" y="3824138"/>
              <a:ext cx="0" cy="72007"/>
            </a:xfrm>
            <a:custGeom>
              <a:avLst/>
              <a:gdLst/>
              <a:ahLst/>
              <a:cxnLst/>
              <a:rect l="l" t="t" r="r" b="b"/>
              <a:pathLst>
                <a:path h="118745">
                  <a:moveTo>
                    <a:pt x="0" y="0"/>
                  </a:moveTo>
                  <a:lnTo>
                    <a:pt x="0" y="118593"/>
                  </a:lnTo>
                </a:path>
              </a:pathLst>
            </a:custGeom>
            <a:ln w="3175">
              <a:solidFill>
                <a:srgbClr val="B8B4B4"/>
              </a:solidFill>
            </a:ln>
          </p:spPr>
          <p:txBody>
            <a:bodyPr wrap="square" lIns="0" tIns="0" rIns="0" bIns="0" rtlCol="0"/>
            <a:lstStyle/>
            <a:p>
              <a:endParaRPr sz="1092" dirty="0"/>
            </a:p>
          </p:txBody>
        </p:sp>
        <p:sp>
          <p:nvSpPr>
            <p:cNvPr id="728" name="object 728"/>
            <p:cNvSpPr/>
            <p:nvPr/>
          </p:nvSpPr>
          <p:spPr>
            <a:xfrm>
              <a:off x="6989705" y="3821213"/>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729" name="object 729"/>
            <p:cNvSpPr/>
            <p:nvPr/>
          </p:nvSpPr>
          <p:spPr>
            <a:xfrm>
              <a:off x="6984587" y="3818286"/>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730" name="object 730"/>
            <p:cNvSpPr/>
            <p:nvPr/>
          </p:nvSpPr>
          <p:spPr>
            <a:xfrm>
              <a:off x="6979470" y="3815213"/>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731" name="object 731"/>
            <p:cNvSpPr/>
            <p:nvPr/>
          </p:nvSpPr>
          <p:spPr>
            <a:xfrm>
              <a:off x="6974430" y="3812448"/>
              <a:ext cx="0" cy="71622"/>
            </a:xfrm>
            <a:custGeom>
              <a:avLst/>
              <a:gdLst/>
              <a:ahLst/>
              <a:cxnLst/>
              <a:rect l="l" t="t" r="r" b="b"/>
              <a:pathLst>
                <a:path h="118110">
                  <a:moveTo>
                    <a:pt x="0" y="0"/>
                  </a:moveTo>
                  <a:lnTo>
                    <a:pt x="0" y="118101"/>
                  </a:lnTo>
                </a:path>
              </a:pathLst>
            </a:custGeom>
            <a:ln w="3175">
              <a:solidFill>
                <a:srgbClr val="B8B4B4"/>
              </a:solidFill>
            </a:ln>
          </p:spPr>
          <p:txBody>
            <a:bodyPr wrap="square" lIns="0" tIns="0" rIns="0" bIns="0" rtlCol="0"/>
            <a:lstStyle/>
            <a:p>
              <a:endParaRPr sz="1092" dirty="0"/>
            </a:p>
          </p:txBody>
        </p:sp>
        <p:sp>
          <p:nvSpPr>
            <p:cNvPr id="732" name="object 732"/>
            <p:cNvSpPr/>
            <p:nvPr/>
          </p:nvSpPr>
          <p:spPr>
            <a:xfrm>
              <a:off x="6966100" y="3752657"/>
              <a:ext cx="149790" cy="87795"/>
            </a:xfrm>
            <a:custGeom>
              <a:avLst/>
              <a:gdLst/>
              <a:ahLst/>
              <a:cxnLst/>
              <a:rect l="l" t="t" r="r" b="b"/>
              <a:pathLst>
                <a:path w="247015" h="144779">
                  <a:moveTo>
                    <a:pt x="123179" y="0"/>
                  </a:moveTo>
                  <a:lnTo>
                    <a:pt x="0" y="72301"/>
                  </a:lnTo>
                  <a:lnTo>
                    <a:pt x="123179" y="144383"/>
                  </a:lnTo>
                  <a:lnTo>
                    <a:pt x="246599" y="72060"/>
                  </a:lnTo>
                  <a:lnTo>
                    <a:pt x="123179" y="0"/>
                  </a:lnTo>
                  <a:close/>
                </a:path>
              </a:pathLst>
            </a:custGeom>
            <a:solidFill>
              <a:srgbClr val="ECECEC"/>
            </a:solidFill>
          </p:spPr>
          <p:txBody>
            <a:bodyPr wrap="square" lIns="0" tIns="0" rIns="0" bIns="0" rtlCol="0"/>
            <a:lstStyle/>
            <a:p>
              <a:endParaRPr sz="1092" dirty="0"/>
            </a:p>
          </p:txBody>
        </p:sp>
        <p:sp>
          <p:nvSpPr>
            <p:cNvPr id="733" name="object 733"/>
            <p:cNvSpPr/>
            <p:nvPr/>
          </p:nvSpPr>
          <p:spPr>
            <a:xfrm>
              <a:off x="6975449" y="3758358"/>
              <a:ext cx="130922" cy="76627"/>
            </a:xfrm>
            <a:custGeom>
              <a:avLst/>
              <a:gdLst/>
              <a:ahLst/>
              <a:cxnLst/>
              <a:rect l="l" t="t" r="r" b="b"/>
              <a:pathLst>
                <a:path w="215900" h="126364">
                  <a:moveTo>
                    <a:pt x="107755" y="0"/>
                  </a:moveTo>
                  <a:lnTo>
                    <a:pt x="0" y="62898"/>
                  </a:lnTo>
                  <a:lnTo>
                    <a:pt x="107755" y="126058"/>
                  </a:lnTo>
                  <a:lnTo>
                    <a:pt x="215511" y="62898"/>
                  </a:lnTo>
                  <a:lnTo>
                    <a:pt x="107755" y="0"/>
                  </a:lnTo>
                  <a:close/>
                </a:path>
              </a:pathLst>
            </a:custGeom>
            <a:solidFill>
              <a:srgbClr val="DADADA"/>
            </a:solidFill>
          </p:spPr>
          <p:txBody>
            <a:bodyPr wrap="square" lIns="0" tIns="0" rIns="0" bIns="0" rtlCol="0"/>
            <a:lstStyle/>
            <a:p>
              <a:endParaRPr sz="1092" dirty="0"/>
            </a:p>
          </p:txBody>
        </p:sp>
        <p:sp>
          <p:nvSpPr>
            <p:cNvPr id="734" name="object 734"/>
            <p:cNvSpPr/>
            <p:nvPr/>
          </p:nvSpPr>
          <p:spPr>
            <a:xfrm>
              <a:off x="6898565" y="3928647"/>
              <a:ext cx="137468" cy="100502"/>
            </a:xfrm>
            <a:custGeom>
              <a:avLst/>
              <a:gdLst/>
              <a:ahLst/>
              <a:cxnLst/>
              <a:rect l="l" t="t" r="r" b="b"/>
              <a:pathLst>
                <a:path w="226695" h="165734">
                  <a:moveTo>
                    <a:pt x="87986" y="0"/>
                  </a:moveTo>
                  <a:lnTo>
                    <a:pt x="26271" y="56155"/>
                  </a:lnTo>
                  <a:lnTo>
                    <a:pt x="0" y="165597"/>
                  </a:lnTo>
                  <a:lnTo>
                    <a:pt x="101253" y="149681"/>
                  </a:lnTo>
                  <a:lnTo>
                    <a:pt x="226349" y="77139"/>
                  </a:lnTo>
                  <a:lnTo>
                    <a:pt x="87986" y="0"/>
                  </a:lnTo>
                  <a:close/>
                </a:path>
              </a:pathLst>
            </a:custGeom>
            <a:solidFill>
              <a:srgbClr val="BABABB"/>
            </a:solidFill>
          </p:spPr>
          <p:txBody>
            <a:bodyPr wrap="square" lIns="0" tIns="0" rIns="0" bIns="0" rtlCol="0"/>
            <a:lstStyle/>
            <a:p>
              <a:endParaRPr sz="1092" dirty="0"/>
            </a:p>
          </p:txBody>
        </p:sp>
        <p:sp>
          <p:nvSpPr>
            <p:cNvPr id="735" name="object 735"/>
            <p:cNvSpPr/>
            <p:nvPr/>
          </p:nvSpPr>
          <p:spPr>
            <a:xfrm>
              <a:off x="6824014" y="3890787"/>
              <a:ext cx="74702" cy="138623"/>
            </a:xfrm>
            <a:custGeom>
              <a:avLst/>
              <a:gdLst/>
              <a:ahLst/>
              <a:cxnLst/>
              <a:rect l="l" t="t" r="r" b="b"/>
              <a:pathLst>
                <a:path w="123190" h="228600">
                  <a:moveTo>
                    <a:pt x="0" y="0"/>
                  </a:moveTo>
                  <a:lnTo>
                    <a:pt x="0" y="155482"/>
                  </a:lnTo>
                  <a:lnTo>
                    <a:pt x="122938" y="228034"/>
                  </a:lnTo>
                  <a:lnTo>
                    <a:pt x="122938" y="72081"/>
                  </a:lnTo>
                  <a:lnTo>
                    <a:pt x="0" y="0"/>
                  </a:lnTo>
                  <a:close/>
                </a:path>
              </a:pathLst>
            </a:custGeom>
            <a:solidFill>
              <a:srgbClr val="F7F1F1"/>
            </a:solidFill>
          </p:spPr>
          <p:txBody>
            <a:bodyPr wrap="square" lIns="0" tIns="0" rIns="0" bIns="0" rtlCol="0"/>
            <a:lstStyle/>
            <a:p>
              <a:endParaRPr sz="1092" dirty="0"/>
            </a:p>
          </p:txBody>
        </p:sp>
        <p:sp>
          <p:nvSpPr>
            <p:cNvPr id="736" name="object 736"/>
            <p:cNvSpPr/>
            <p:nvPr/>
          </p:nvSpPr>
          <p:spPr>
            <a:xfrm>
              <a:off x="6898565" y="3890640"/>
              <a:ext cx="75473" cy="138623"/>
            </a:xfrm>
            <a:custGeom>
              <a:avLst/>
              <a:gdLst/>
              <a:ahLst/>
              <a:cxnLst/>
              <a:rect l="l" t="t" r="r" b="b"/>
              <a:pathLst>
                <a:path w="124459" h="228600">
                  <a:moveTo>
                    <a:pt x="123661" y="0"/>
                  </a:moveTo>
                  <a:lnTo>
                    <a:pt x="0" y="72322"/>
                  </a:lnTo>
                  <a:lnTo>
                    <a:pt x="0" y="228275"/>
                  </a:lnTo>
                  <a:lnTo>
                    <a:pt x="123901" y="155963"/>
                  </a:lnTo>
                  <a:lnTo>
                    <a:pt x="123661" y="0"/>
                  </a:lnTo>
                  <a:close/>
                </a:path>
              </a:pathLst>
            </a:custGeom>
            <a:solidFill>
              <a:srgbClr val="CAC4C4"/>
            </a:solidFill>
          </p:spPr>
          <p:txBody>
            <a:bodyPr wrap="square" lIns="0" tIns="0" rIns="0" bIns="0" rtlCol="0"/>
            <a:lstStyle/>
            <a:p>
              <a:endParaRPr sz="1092" dirty="0"/>
            </a:p>
          </p:txBody>
        </p:sp>
        <p:sp>
          <p:nvSpPr>
            <p:cNvPr id="737" name="object 737"/>
            <p:cNvSpPr/>
            <p:nvPr/>
          </p:nvSpPr>
          <p:spPr>
            <a:xfrm>
              <a:off x="6903981" y="3903503"/>
              <a:ext cx="65774" cy="110076"/>
            </a:xfrm>
            <a:prstGeom prst="rect">
              <a:avLst/>
            </a:prstGeom>
            <a:blipFill>
              <a:blip r:embed="rId27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738" name="object 738"/>
            <p:cNvSpPr/>
            <p:nvPr/>
          </p:nvSpPr>
          <p:spPr>
            <a:xfrm>
              <a:off x="6904118" y="3973965"/>
              <a:ext cx="65846" cy="39662"/>
            </a:xfrm>
            <a:custGeom>
              <a:avLst/>
              <a:gdLst/>
              <a:ahLst/>
              <a:cxnLst/>
              <a:rect l="l" t="t" r="r" b="b"/>
              <a:pathLst>
                <a:path w="108584" h="65404">
                  <a:moveTo>
                    <a:pt x="108237" y="0"/>
                  </a:moveTo>
                  <a:lnTo>
                    <a:pt x="0" y="62427"/>
                  </a:lnTo>
                  <a:lnTo>
                    <a:pt x="0" y="65087"/>
                  </a:lnTo>
                  <a:lnTo>
                    <a:pt x="108237" y="1675"/>
                  </a:lnTo>
                  <a:lnTo>
                    <a:pt x="108237" y="0"/>
                  </a:lnTo>
                  <a:close/>
                </a:path>
              </a:pathLst>
            </a:custGeom>
            <a:solidFill>
              <a:srgbClr val="8B8787"/>
            </a:solidFill>
          </p:spPr>
          <p:txBody>
            <a:bodyPr wrap="square" lIns="0" tIns="0" rIns="0" bIns="0" rtlCol="0"/>
            <a:lstStyle/>
            <a:p>
              <a:endParaRPr sz="1092" dirty="0"/>
            </a:p>
          </p:txBody>
        </p:sp>
        <p:sp>
          <p:nvSpPr>
            <p:cNvPr id="739" name="object 739"/>
            <p:cNvSpPr/>
            <p:nvPr/>
          </p:nvSpPr>
          <p:spPr>
            <a:xfrm>
              <a:off x="6903979" y="3958763"/>
              <a:ext cx="65846" cy="39662"/>
            </a:xfrm>
            <a:custGeom>
              <a:avLst/>
              <a:gdLst/>
              <a:ahLst/>
              <a:cxnLst/>
              <a:rect l="l" t="t" r="r" b="b"/>
              <a:pathLst>
                <a:path w="108584" h="65404">
                  <a:moveTo>
                    <a:pt x="108467" y="0"/>
                  </a:moveTo>
                  <a:lnTo>
                    <a:pt x="0" y="62427"/>
                  </a:lnTo>
                  <a:lnTo>
                    <a:pt x="0" y="64835"/>
                  </a:lnTo>
                  <a:lnTo>
                    <a:pt x="108467" y="1675"/>
                  </a:lnTo>
                  <a:lnTo>
                    <a:pt x="108467" y="0"/>
                  </a:lnTo>
                  <a:close/>
                </a:path>
              </a:pathLst>
            </a:custGeom>
            <a:solidFill>
              <a:srgbClr val="8B8787"/>
            </a:solidFill>
          </p:spPr>
          <p:txBody>
            <a:bodyPr wrap="square" lIns="0" tIns="0" rIns="0" bIns="0" rtlCol="0"/>
            <a:lstStyle/>
            <a:p>
              <a:endParaRPr sz="1092" dirty="0"/>
            </a:p>
          </p:txBody>
        </p:sp>
        <p:sp>
          <p:nvSpPr>
            <p:cNvPr id="740" name="object 740"/>
            <p:cNvSpPr/>
            <p:nvPr/>
          </p:nvSpPr>
          <p:spPr>
            <a:xfrm>
              <a:off x="6903979" y="3943417"/>
              <a:ext cx="65846" cy="39662"/>
            </a:xfrm>
            <a:custGeom>
              <a:avLst/>
              <a:gdLst/>
              <a:ahLst/>
              <a:cxnLst/>
              <a:rect l="l" t="t" r="r" b="b"/>
              <a:pathLst>
                <a:path w="108584" h="65404">
                  <a:moveTo>
                    <a:pt x="108467" y="0"/>
                  </a:moveTo>
                  <a:lnTo>
                    <a:pt x="0" y="62668"/>
                  </a:lnTo>
                  <a:lnTo>
                    <a:pt x="0" y="65066"/>
                  </a:lnTo>
                  <a:lnTo>
                    <a:pt x="108467" y="1926"/>
                  </a:lnTo>
                  <a:lnTo>
                    <a:pt x="108467" y="0"/>
                  </a:lnTo>
                  <a:close/>
                </a:path>
              </a:pathLst>
            </a:custGeom>
            <a:solidFill>
              <a:srgbClr val="8B8787"/>
            </a:solidFill>
          </p:spPr>
          <p:txBody>
            <a:bodyPr wrap="square" lIns="0" tIns="0" rIns="0" bIns="0" rtlCol="0"/>
            <a:lstStyle/>
            <a:p>
              <a:endParaRPr sz="1092" dirty="0"/>
            </a:p>
          </p:txBody>
        </p:sp>
        <p:sp>
          <p:nvSpPr>
            <p:cNvPr id="741" name="object 741"/>
            <p:cNvSpPr/>
            <p:nvPr/>
          </p:nvSpPr>
          <p:spPr>
            <a:xfrm>
              <a:off x="6903979" y="3928215"/>
              <a:ext cx="65846" cy="39662"/>
            </a:xfrm>
            <a:custGeom>
              <a:avLst/>
              <a:gdLst/>
              <a:ahLst/>
              <a:cxnLst/>
              <a:rect l="l" t="t" r="r" b="b"/>
              <a:pathLst>
                <a:path w="108584" h="65404">
                  <a:moveTo>
                    <a:pt x="108467" y="0"/>
                  </a:moveTo>
                  <a:lnTo>
                    <a:pt x="0" y="62427"/>
                  </a:lnTo>
                  <a:lnTo>
                    <a:pt x="0" y="65066"/>
                  </a:lnTo>
                  <a:lnTo>
                    <a:pt x="108467" y="1675"/>
                  </a:lnTo>
                  <a:lnTo>
                    <a:pt x="108467" y="0"/>
                  </a:lnTo>
                  <a:close/>
                </a:path>
              </a:pathLst>
            </a:custGeom>
            <a:solidFill>
              <a:srgbClr val="8B8787"/>
            </a:solidFill>
          </p:spPr>
          <p:txBody>
            <a:bodyPr wrap="square" lIns="0" tIns="0" rIns="0" bIns="0" rtlCol="0"/>
            <a:lstStyle/>
            <a:p>
              <a:endParaRPr sz="1092" dirty="0"/>
            </a:p>
          </p:txBody>
        </p:sp>
        <p:sp>
          <p:nvSpPr>
            <p:cNvPr id="742" name="object 742"/>
            <p:cNvSpPr/>
            <p:nvPr/>
          </p:nvSpPr>
          <p:spPr>
            <a:xfrm>
              <a:off x="6903979" y="3913012"/>
              <a:ext cx="65846" cy="39662"/>
            </a:xfrm>
            <a:custGeom>
              <a:avLst/>
              <a:gdLst/>
              <a:ahLst/>
              <a:cxnLst/>
              <a:rect l="l" t="t" r="r" b="b"/>
              <a:pathLst>
                <a:path w="108584" h="65404">
                  <a:moveTo>
                    <a:pt x="108467" y="0"/>
                  </a:moveTo>
                  <a:lnTo>
                    <a:pt x="0" y="62427"/>
                  </a:lnTo>
                  <a:lnTo>
                    <a:pt x="0" y="64835"/>
                  </a:lnTo>
                  <a:lnTo>
                    <a:pt x="108467" y="1675"/>
                  </a:lnTo>
                  <a:lnTo>
                    <a:pt x="108467" y="0"/>
                  </a:lnTo>
                  <a:close/>
                </a:path>
              </a:pathLst>
            </a:custGeom>
            <a:solidFill>
              <a:srgbClr val="8B8787"/>
            </a:solidFill>
          </p:spPr>
          <p:txBody>
            <a:bodyPr wrap="square" lIns="0" tIns="0" rIns="0" bIns="0" rtlCol="0"/>
            <a:lstStyle/>
            <a:p>
              <a:endParaRPr sz="1092" dirty="0"/>
            </a:p>
          </p:txBody>
        </p:sp>
        <p:sp>
          <p:nvSpPr>
            <p:cNvPr id="743" name="object 743"/>
            <p:cNvSpPr/>
            <p:nvPr/>
          </p:nvSpPr>
          <p:spPr>
            <a:xfrm>
              <a:off x="6908651" y="3939179"/>
              <a:ext cx="0" cy="72007"/>
            </a:xfrm>
            <a:custGeom>
              <a:avLst/>
              <a:gdLst/>
              <a:ahLst/>
              <a:cxnLst/>
              <a:rect l="l" t="t" r="r" b="b"/>
              <a:pathLst>
                <a:path h="118745">
                  <a:moveTo>
                    <a:pt x="0" y="0"/>
                  </a:moveTo>
                  <a:lnTo>
                    <a:pt x="0" y="118331"/>
                  </a:lnTo>
                </a:path>
              </a:pathLst>
            </a:custGeom>
            <a:ln w="3175">
              <a:solidFill>
                <a:srgbClr val="8B8787"/>
              </a:solidFill>
            </a:ln>
          </p:spPr>
          <p:txBody>
            <a:bodyPr wrap="square" lIns="0" tIns="0" rIns="0" bIns="0" rtlCol="0"/>
            <a:lstStyle/>
            <a:p>
              <a:endParaRPr sz="1092" dirty="0"/>
            </a:p>
          </p:txBody>
        </p:sp>
        <p:sp>
          <p:nvSpPr>
            <p:cNvPr id="744" name="object 744"/>
            <p:cNvSpPr/>
            <p:nvPr/>
          </p:nvSpPr>
          <p:spPr>
            <a:xfrm>
              <a:off x="6913769" y="3936109"/>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45" name="object 745"/>
            <p:cNvSpPr/>
            <p:nvPr/>
          </p:nvSpPr>
          <p:spPr>
            <a:xfrm>
              <a:off x="6918809" y="3933183"/>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46" name="object 746"/>
            <p:cNvSpPr/>
            <p:nvPr/>
          </p:nvSpPr>
          <p:spPr>
            <a:xfrm>
              <a:off x="6923926" y="3930113"/>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47" name="object 747"/>
            <p:cNvSpPr/>
            <p:nvPr/>
          </p:nvSpPr>
          <p:spPr>
            <a:xfrm>
              <a:off x="6929041" y="3927330"/>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48" name="object 748"/>
            <p:cNvSpPr/>
            <p:nvPr/>
          </p:nvSpPr>
          <p:spPr>
            <a:xfrm>
              <a:off x="6934158" y="3924260"/>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49" name="object 749"/>
            <p:cNvSpPr/>
            <p:nvPr/>
          </p:nvSpPr>
          <p:spPr>
            <a:xfrm>
              <a:off x="6939271" y="3921335"/>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50" name="object 750"/>
            <p:cNvSpPr/>
            <p:nvPr/>
          </p:nvSpPr>
          <p:spPr>
            <a:xfrm>
              <a:off x="6944317" y="3918422"/>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51" name="object 751"/>
            <p:cNvSpPr/>
            <p:nvPr/>
          </p:nvSpPr>
          <p:spPr>
            <a:xfrm>
              <a:off x="6949434" y="3915495"/>
              <a:ext cx="0" cy="72007"/>
            </a:xfrm>
            <a:custGeom>
              <a:avLst/>
              <a:gdLst/>
              <a:ahLst/>
              <a:cxnLst/>
              <a:rect l="l" t="t" r="r" b="b"/>
              <a:pathLst>
                <a:path h="118745">
                  <a:moveTo>
                    <a:pt x="0" y="0"/>
                  </a:moveTo>
                  <a:lnTo>
                    <a:pt x="0" y="118362"/>
                  </a:lnTo>
                </a:path>
              </a:pathLst>
            </a:custGeom>
            <a:ln w="3175">
              <a:solidFill>
                <a:srgbClr val="8B8787"/>
              </a:solidFill>
            </a:ln>
          </p:spPr>
          <p:txBody>
            <a:bodyPr wrap="square" lIns="0" tIns="0" rIns="0" bIns="0" rtlCol="0"/>
            <a:lstStyle/>
            <a:p>
              <a:endParaRPr sz="1092" dirty="0"/>
            </a:p>
          </p:txBody>
        </p:sp>
        <p:sp>
          <p:nvSpPr>
            <p:cNvPr id="752" name="object 752"/>
            <p:cNvSpPr/>
            <p:nvPr/>
          </p:nvSpPr>
          <p:spPr>
            <a:xfrm>
              <a:off x="6954551" y="3912569"/>
              <a:ext cx="0" cy="72007"/>
            </a:xfrm>
            <a:custGeom>
              <a:avLst/>
              <a:gdLst/>
              <a:ahLst/>
              <a:cxnLst/>
              <a:rect l="l" t="t" r="r" b="b"/>
              <a:pathLst>
                <a:path h="118745">
                  <a:moveTo>
                    <a:pt x="0" y="0"/>
                  </a:moveTo>
                  <a:lnTo>
                    <a:pt x="0" y="118362"/>
                  </a:lnTo>
                </a:path>
              </a:pathLst>
            </a:custGeom>
            <a:ln w="3175">
              <a:solidFill>
                <a:srgbClr val="8B8787"/>
              </a:solidFill>
            </a:ln>
          </p:spPr>
          <p:txBody>
            <a:bodyPr wrap="square" lIns="0" tIns="0" rIns="0" bIns="0" rtlCol="0"/>
            <a:lstStyle/>
            <a:p>
              <a:endParaRPr sz="1092" dirty="0"/>
            </a:p>
          </p:txBody>
        </p:sp>
        <p:sp>
          <p:nvSpPr>
            <p:cNvPr id="753" name="object 753"/>
            <p:cNvSpPr/>
            <p:nvPr/>
          </p:nvSpPr>
          <p:spPr>
            <a:xfrm>
              <a:off x="6959669" y="3909501"/>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54" name="object 754"/>
            <p:cNvSpPr/>
            <p:nvPr/>
          </p:nvSpPr>
          <p:spPr>
            <a:xfrm>
              <a:off x="6964711" y="3906718"/>
              <a:ext cx="0" cy="72007"/>
            </a:xfrm>
            <a:custGeom>
              <a:avLst/>
              <a:gdLst/>
              <a:ahLst/>
              <a:cxnLst/>
              <a:rect l="l" t="t" r="r" b="b"/>
              <a:pathLst>
                <a:path h="118745">
                  <a:moveTo>
                    <a:pt x="0" y="0"/>
                  </a:moveTo>
                  <a:lnTo>
                    <a:pt x="0" y="118362"/>
                  </a:lnTo>
                </a:path>
              </a:pathLst>
            </a:custGeom>
            <a:ln w="3175">
              <a:solidFill>
                <a:srgbClr val="8B8787"/>
              </a:solidFill>
            </a:ln>
          </p:spPr>
          <p:txBody>
            <a:bodyPr wrap="square" lIns="0" tIns="0" rIns="0" bIns="0" rtlCol="0"/>
            <a:lstStyle/>
            <a:p>
              <a:endParaRPr sz="1092" dirty="0"/>
            </a:p>
          </p:txBody>
        </p:sp>
        <p:sp>
          <p:nvSpPr>
            <p:cNvPr id="755" name="object 755"/>
            <p:cNvSpPr/>
            <p:nvPr/>
          </p:nvSpPr>
          <p:spPr>
            <a:xfrm>
              <a:off x="6827379" y="3903649"/>
              <a:ext cx="65774" cy="109631"/>
            </a:xfrm>
            <a:prstGeom prst="rect">
              <a:avLst/>
            </a:prstGeom>
            <a:blipFill>
              <a:blip r:embed="rId27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756" name="object 756"/>
            <p:cNvSpPr/>
            <p:nvPr/>
          </p:nvSpPr>
          <p:spPr>
            <a:xfrm>
              <a:off x="6827380" y="3973967"/>
              <a:ext cx="65846" cy="39662"/>
            </a:xfrm>
            <a:custGeom>
              <a:avLst/>
              <a:gdLst/>
              <a:ahLst/>
              <a:cxnLst/>
              <a:rect l="l" t="t" r="r" b="b"/>
              <a:pathLst>
                <a:path w="108584" h="65404">
                  <a:moveTo>
                    <a:pt x="0" y="0"/>
                  </a:moveTo>
                  <a:lnTo>
                    <a:pt x="0" y="1675"/>
                  </a:lnTo>
                  <a:lnTo>
                    <a:pt x="108467" y="65087"/>
                  </a:lnTo>
                  <a:lnTo>
                    <a:pt x="108467" y="62427"/>
                  </a:lnTo>
                  <a:lnTo>
                    <a:pt x="0" y="0"/>
                  </a:lnTo>
                  <a:close/>
                </a:path>
              </a:pathLst>
            </a:custGeom>
            <a:solidFill>
              <a:srgbClr val="B8B4B4"/>
            </a:solidFill>
          </p:spPr>
          <p:txBody>
            <a:bodyPr wrap="square" lIns="0" tIns="0" rIns="0" bIns="0" rtlCol="0"/>
            <a:lstStyle/>
            <a:p>
              <a:endParaRPr sz="1092" dirty="0"/>
            </a:p>
          </p:txBody>
        </p:sp>
        <p:sp>
          <p:nvSpPr>
            <p:cNvPr id="757" name="object 757"/>
            <p:cNvSpPr/>
            <p:nvPr/>
          </p:nvSpPr>
          <p:spPr>
            <a:xfrm>
              <a:off x="6827380" y="3958763"/>
              <a:ext cx="65846" cy="39662"/>
            </a:xfrm>
            <a:custGeom>
              <a:avLst/>
              <a:gdLst/>
              <a:ahLst/>
              <a:cxnLst/>
              <a:rect l="l" t="t" r="r" b="b"/>
              <a:pathLst>
                <a:path w="108584" h="65404">
                  <a:moveTo>
                    <a:pt x="0" y="0"/>
                  </a:moveTo>
                  <a:lnTo>
                    <a:pt x="0" y="1675"/>
                  </a:lnTo>
                  <a:lnTo>
                    <a:pt x="108467" y="65087"/>
                  </a:lnTo>
                  <a:lnTo>
                    <a:pt x="108467" y="62427"/>
                  </a:lnTo>
                  <a:lnTo>
                    <a:pt x="0" y="0"/>
                  </a:lnTo>
                  <a:close/>
                </a:path>
              </a:pathLst>
            </a:custGeom>
            <a:solidFill>
              <a:srgbClr val="B8B4B4"/>
            </a:solidFill>
          </p:spPr>
          <p:txBody>
            <a:bodyPr wrap="square" lIns="0" tIns="0" rIns="0" bIns="0" rtlCol="0"/>
            <a:lstStyle/>
            <a:p>
              <a:endParaRPr sz="1092" dirty="0"/>
            </a:p>
          </p:txBody>
        </p:sp>
        <p:sp>
          <p:nvSpPr>
            <p:cNvPr id="758" name="object 758"/>
            <p:cNvSpPr/>
            <p:nvPr/>
          </p:nvSpPr>
          <p:spPr>
            <a:xfrm>
              <a:off x="6827380" y="3943414"/>
              <a:ext cx="65846" cy="39662"/>
            </a:xfrm>
            <a:custGeom>
              <a:avLst/>
              <a:gdLst/>
              <a:ahLst/>
              <a:cxnLst/>
              <a:rect l="l" t="t" r="r" b="b"/>
              <a:pathLst>
                <a:path w="108584" h="65404">
                  <a:moveTo>
                    <a:pt x="0" y="0"/>
                  </a:moveTo>
                  <a:lnTo>
                    <a:pt x="0" y="1937"/>
                  </a:lnTo>
                  <a:lnTo>
                    <a:pt x="108467" y="65066"/>
                  </a:lnTo>
                  <a:lnTo>
                    <a:pt x="108467" y="62668"/>
                  </a:lnTo>
                  <a:lnTo>
                    <a:pt x="0" y="0"/>
                  </a:lnTo>
                  <a:close/>
                </a:path>
              </a:pathLst>
            </a:custGeom>
            <a:solidFill>
              <a:srgbClr val="B8B4B4"/>
            </a:solidFill>
          </p:spPr>
          <p:txBody>
            <a:bodyPr wrap="square" lIns="0" tIns="0" rIns="0" bIns="0" rtlCol="0"/>
            <a:lstStyle/>
            <a:p>
              <a:endParaRPr sz="1092" dirty="0"/>
            </a:p>
          </p:txBody>
        </p:sp>
        <p:sp>
          <p:nvSpPr>
            <p:cNvPr id="759" name="object 759"/>
            <p:cNvSpPr/>
            <p:nvPr/>
          </p:nvSpPr>
          <p:spPr>
            <a:xfrm>
              <a:off x="6827380" y="3928215"/>
              <a:ext cx="65846" cy="39662"/>
            </a:xfrm>
            <a:custGeom>
              <a:avLst/>
              <a:gdLst/>
              <a:ahLst/>
              <a:cxnLst/>
              <a:rect l="l" t="t" r="r" b="b"/>
              <a:pathLst>
                <a:path w="108584" h="65404">
                  <a:moveTo>
                    <a:pt x="0" y="0"/>
                  </a:moveTo>
                  <a:lnTo>
                    <a:pt x="0" y="1675"/>
                  </a:lnTo>
                  <a:lnTo>
                    <a:pt x="108467" y="65066"/>
                  </a:lnTo>
                  <a:lnTo>
                    <a:pt x="108467" y="62427"/>
                  </a:lnTo>
                  <a:lnTo>
                    <a:pt x="0" y="0"/>
                  </a:lnTo>
                  <a:close/>
                </a:path>
              </a:pathLst>
            </a:custGeom>
            <a:solidFill>
              <a:srgbClr val="B8B4B4"/>
            </a:solidFill>
          </p:spPr>
          <p:txBody>
            <a:bodyPr wrap="square" lIns="0" tIns="0" rIns="0" bIns="0" rtlCol="0"/>
            <a:lstStyle/>
            <a:p>
              <a:endParaRPr sz="1092" dirty="0"/>
            </a:p>
          </p:txBody>
        </p:sp>
        <p:sp>
          <p:nvSpPr>
            <p:cNvPr id="760" name="object 760"/>
            <p:cNvSpPr/>
            <p:nvPr/>
          </p:nvSpPr>
          <p:spPr>
            <a:xfrm>
              <a:off x="6827380" y="3913013"/>
              <a:ext cx="65846" cy="39662"/>
            </a:xfrm>
            <a:custGeom>
              <a:avLst/>
              <a:gdLst/>
              <a:ahLst/>
              <a:cxnLst/>
              <a:rect l="l" t="t" r="r" b="b"/>
              <a:pathLst>
                <a:path w="108584" h="65404">
                  <a:moveTo>
                    <a:pt x="0" y="0"/>
                  </a:moveTo>
                  <a:lnTo>
                    <a:pt x="0" y="1675"/>
                  </a:lnTo>
                  <a:lnTo>
                    <a:pt x="108467" y="64825"/>
                  </a:lnTo>
                  <a:lnTo>
                    <a:pt x="108467" y="62427"/>
                  </a:lnTo>
                  <a:lnTo>
                    <a:pt x="0" y="0"/>
                  </a:lnTo>
                  <a:close/>
                </a:path>
              </a:pathLst>
            </a:custGeom>
            <a:solidFill>
              <a:srgbClr val="B8B4B4"/>
            </a:solidFill>
          </p:spPr>
          <p:txBody>
            <a:bodyPr wrap="square" lIns="0" tIns="0" rIns="0" bIns="0" rtlCol="0"/>
            <a:lstStyle/>
            <a:p>
              <a:endParaRPr sz="1092" dirty="0"/>
            </a:p>
          </p:txBody>
        </p:sp>
        <p:sp>
          <p:nvSpPr>
            <p:cNvPr id="761" name="object 761"/>
            <p:cNvSpPr/>
            <p:nvPr/>
          </p:nvSpPr>
          <p:spPr>
            <a:xfrm>
              <a:off x="6888480" y="3939179"/>
              <a:ext cx="0" cy="72007"/>
            </a:xfrm>
            <a:custGeom>
              <a:avLst/>
              <a:gdLst/>
              <a:ahLst/>
              <a:cxnLst/>
              <a:rect l="l" t="t" r="r" b="b"/>
              <a:pathLst>
                <a:path h="118745">
                  <a:moveTo>
                    <a:pt x="0" y="0"/>
                  </a:moveTo>
                  <a:lnTo>
                    <a:pt x="0" y="118331"/>
                  </a:lnTo>
                </a:path>
              </a:pathLst>
            </a:custGeom>
            <a:ln w="3175">
              <a:solidFill>
                <a:srgbClr val="B8B4B4"/>
              </a:solidFill>
            </a:ln>
          </p:spPr>
          <p:txBody>
            <a:bodyPr wrap="square" lIns="0" tIns="0" rIns="0" bIns="0" rtlCol="0"/>
            <a:lstStyle/>
            <a:p>
              <a:endParaRPr sz="1092" dirty="0"/>
            </a:p>
          </p:txBody>
        </p:sp>
        <p:sp>
          <p:nvSpPr>
            <p:cNvPr id="762" name="object 762"/>
            <p:cNvSpPr/>
            <p:nvPr/>
          </p:nvSpPr>
          <p:spPr>
            <a:xfrm>
              <a:off x="6883364" y="3936110"/>
              <a:ext cx="0" cy="72007"/>
            </a:xfrm>
            <a:custGeom>
              <a:avLst/>
              <a:gdLst/>
              <a:ahLst/>
              <a:cxnLst/>
              <a:rect l="l" t="t" r="r" b="b"/>
              <a:pathLst>
                <a:path h="118745">
                  <a:moveTo>
                    <a:pt x="0" y="0"/>
                  </a:moveTo>
                  <a:lnTo>
                    <a:pt x="0" y="118331"/>
                  </a:lnTo>
                </a:path>
              </a:pathLst>
            </a:custGeom>
            <a:ln w="3175">
              <a:solidFill>
                <a:srgbClr val="B8B4B4"/>
              </a:solidFill>
            </a:ln>
          </p:spPr>
          <p:txBody>
            <a:bodyPr wrap="square" lIns="0" tIns="0" rIns="0" bIns="0" rtlCol="0"/>
            <a:lstStyle/>
            <a:p>
              <a:endParaRPr sz="1092" dirty="0"/>
            </a:p>
          </p:txBody>
        </p:sp>
        <p:sp>
          <p:nvSpPr>
            <p:cNvPr id="763" name="object 763"/>
            <p:cNvSpPr/>
            <p:nvPr/>
          </p:nvSpPr>
          <p:spPr>
            <a:xfrm>
              <a:off x="6878246" y="3933181"/>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764" name="object 764"/>
            <p:cNvSpPr/>
            <p:nvPr/>
          </p:nvSpPr>
          <p:spPr>
            <a:xfrm>
              <a:off x="6873201" y="3930111"/>
              <a:ext cx="0" cy="72007"/>
            </a:xfrm>
            <a:custGeom>
              <a:avLst/>
              <a:gdLst/>
              <a:ahLst/>
              <a:cxnLst/>
              <a:rect l="l" t="t" r="r" b="b"/>
              <a:pathLst>
                <a:path h="118745">
                  <a:moveTo>
                    <a:pt x="0" y="0"/>
                  </a:moveTo>
                  <a:lnTo>
                    <a:pt x="0" y="118603"/>
                  </a:lnTo>
                </a:path>
              </a:pathLst>
            </a:custGeom>
            <a:ln w="3175">
              <a:solidFill>
                <a:srgbClr val="B8B4B4"/>
              </a:solidFill>
            </a:ln>
          </p:spPr>
          <p:txBody>
            <a:bodyPr wrap="square" lIns="0" tIns="0" rIns="0" bIns="0" rtlCol="0"/>
            <a:lstStyle/>
            <a:p>
              <a:endParaRPr sz="1092" dirty="0"/>
            </a:p>
          </p:txBody>
        </p:sp>
        <p:sp>
          <p:nvSpPr>
            <p:cNvPr id="765" name="object 765"/>
            <p:cNvSpPr/>
            <p:nvPr/>
          </p:nvSpPr>
          <p:spPr>
            <a:xfrm>
              <a:off x="6868018" y="3927328"/>
              <a:ext cx="0" cy="72007"/>
            </a:xfrm>
            <a:custGeom>
              <a:avLst/>
              <a:gdLst/>
              <a:ahLst/>
              <a:cxnLst/>
              <a:rect l="l" t="t" r="r" b="b"/>
              <a:pathLst>
                <a:path h="118745">
                  <a:moveTo>
                    <a:pt x="0" y="0"/>
                  </a:moveTo>
                  <a:lnTo>
                    <a:pt x="0" y="118132"/>
                  </a:lnTo>
                </a:path>
              </a:pathLst>
            </a:custGeom>
            <a:ln w="3175">
              <a:solidFill>
                <a:srgbClr val="B8B4B4"/>
              </a:solidFill>
            </a:ln>
          </p:spPr>
          <p:txBody>
            <a:bodyPr wrap="square" lIns="0" tIns="0" rIns="0" bIns="0" rtlCol="0"/>
            <a:lstStyle/>
            <a:p>
              <a:endParaRPr sz="1092" dirty="0"/>
            </a:p>
          </p:txBody>
        </p:sp>
        <p:sp>
          <p:nvSpPr>
            <p:cNvPr id="766" name="object 766"/>
            <p:cNvSpPr/>
            <p:nvPr/>
          </p:nvSpPr>
          <p:spPr>
            <a:xfrm>
              <a:off x="6862970" y="3924259"/>
              <a:ext cx="0" cy="72007"/>
            </a:xfrm>
            <a:custGeom>
              <a:avLst/>
              <a:gdLst/>
              <a:ahLst/>
              <a:cxnLst/>
              <a:rect l="l" t="t" r="r" b="b"/>
              <a:pathLst>
                <a:path h="118745">
                  <a:moveTo>
                    <a:pt x="0" y="0"/>
                  </a:moveTo>
                  <a:lnTo>
                    <a:pt x="0" y="118603"/>
                  </a:lnTo>
                </a:path>
              </a:pathLst>
            </a:custGeom>
            <a:ln w="3175">
              <a:solidFill>
                <a:srgbClr val="B8B4B4"/>
              </a:solidFill>
            </a:ln>
          </p:spPr>
          <p:txBody>
            <a:bodyPr wrap="square" lIns="0" tIns="0" rIns="0" bIns="0" rtlCol="0"/>
            <a:lstStyle/>
            <a:p>
              <a:endParaRPr sz="1092" dirty="0"/>
            </a:p>
          </p:txBody>
        </p:sp>
        <p:sp>
          <p:nvSpPr>
            <p:cNvPr id="767" name="object 767"/>
            <p:cNvSpPr/>
            <p:nvPr/>
          </p:nvSpPr>
          <p:spPr>
            <a:xfrm>
              <a:off x="6857856" y="3921334"/>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768" name="object 768"/>
            <p:cNvSpPr/>
            <p:nvPr/>
          </p:nvSpPr>
          <p:spPr>
            <a:xfrm>
              <a:off x="6852739" y="3918424"/>
              <a:ext cx="0" cy="72007"/>
            </a:xfrm>
            <a:custGeom>
              <a:avLst/>
              <a:gdLst/>
              <a:ahLst/>
              <a:cxnLst/>
              <a:rect l="l" t="t" r="r" b="b"/>
              <a:pathLst>
                <a:path h="118745">
                  <a:moveTo>
                    <a:pt x="0" y="0"/>
                  </a:moveTo>
                  <a:lnTo>
                    <a:pt x="0" y="118593"/>
                  </a:lnTo>
                </a:path>
              </a:pathLst>
            </a:custGeom>
            <a:ln w="3175">
              <a:solidFill>
                <a:srgbClr val="B8B4B4"/>
              </a:solidFill>
            </a:ln>
          </p:spPr>
          <p:txBody>
            <a:bodyPr wrap="square" lIns="0" tIns="0" rIns="0" bIns="0" rtlCol="0"/>
            <a:lstStyle/>
            <a:p>
              <a:endParaRPr sz="1092" dirty="0"/>
            </a:p>
          </p:txBody>
        </p:sp>
        <p:sp>
          <p:nvSpPr>
            <p:cNvPr id="769" name="object 769"/>
            <p:cNvSpPr/>
            <p:nvPr/>
          </p:nvSpPr>
          <p:spPr>
            <a:xfrm>
              <a:off x="6847697" y="3915498"/>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770" name="object 770"/>
            <p:cNvSpPr/>
            <p:nvPr/>
          </p:nvSpPr>
          <p:spPr>
            <a:xfrm>
              <a:off x="6842580" y="3912571"/>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771" name="object 771"/>
            <p:cNvSpPr/>
            <p:nvPr/>
          </p:nvSpPr>
          <p:spPr>
            <a:xfrm>
              <a:off x="6837463" y="3909641"/>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772" name="object 772"/>
            <p:cNvSpPr/>
            <p:nvPr/>
          </p:nvSpPr>
          <p:spPr>
            <a:xfrm>
              <a:off x="6832349" y="3906714"/>
              <a:ext cx="0" cy="72007"/>
            </a:xfrm>
            <a:custGeom>
              <a:avLst/>
              <a:gdLst/>
              <a:ahLst/>
              <a:cxnLst/>
              <a:rect l="l" t="t" r="r" b="b"/>
              <a:pathLst>
                <a:path h="118745">
                  <a:moveTo>
                    <a:pt x="0" y="0"/>
                  </a:moveTo>
                  <a:lnTo>
                    <a:pt x="0" y="118132"/>
                  </a:lnTo>
                </a:path>
              </a:pathLst>
            </a:custGeom>
            <a:ln w="3175">
              <a:solidFill>
                <a:srgbClr val="B8B4B4"/>
              </a:solidFill>
            </a:ln>
          </p:spPr>
          <p:txBody>
            <a:bodyPr wrap="square" lIns="0" tIns="0" rIns="0" bIns="0" rtlCol="0"/>
            <a:lstStyle/>
            <a:p>
              <a:endParaRPr sz="1092" dirty="0"/>
            </a:p>
          </p:txBody>
        </p:sp>
        <p:sp>
          <p:nvSpPr>
            <p:cNvPr id="773" name="object 773"/>
            <p:cNvSpPr/>
            <p:nvPr/>
          </p:nvSpPr>
          <p:spPr>
            <a:xfrm>
              <a:off x="6824014" y="3846936"/>
              <a:ext cx="149790" cy="87795"/>
            </a:xfrm>
            <a:custGeom>
              <a:avLst/>
              <a:gdLst/>
              <a:ahLst/>
              <a:cxnLst/>
              <a:rect l="l" t="t" r="r" b="b"/>
              <a:pathLst>
                <a:path w="247015" h="144779">
                  <a:moveTo>
                    <a:pt x="123420" y="0"/>
                  </a:moveTo>
                  <a:lnTo>
                    <a:pt x="0" y="72311"/>
                  </a:lnTo>
                  <a:lnTo>
                    <a:pt x="123420" y="144393"/>
                  </a:lnTo>
                  <a:lnTo>
                    <a:pt x="246599" y="72071"/>
                  </a:lnTo>
                  <a:lnTo>
                    <a:pt x="123420" y="0"/>
                  </a:lnTo>
                  <a:close/>
                </a:path>
              </a:pathLst>
            </a:custGeom>
            <a:solidFill>
              <a:srgbClr val="ECECEC"/>
            </a:solidFill>
          </p:spPr>
          <p:txBody>
            <a:bodyPr wrap="square" lIns="0" tIns="0" rIns="0" bIns="0" rtlCol="0"/>
            <a:lstStyle/>
            <a:p>
              <a:endParaRPr sz="1092" dirty="0"/>
            </a:p>
          </p:txBody>
        </p:sp>
        <p:sp>
          <p:nvSpPr>
            <p:cNvPr id="774" name="object 774"/>
            <p:cNvSpPr/>
            <p:nvPr/>
          </p:nvSpPr>
          <p:spPr>
            <a:xfrm>
              <a:off x="6833514" y="3852643"/>
              <a:ext cx="130922" cy="76627"/>
            </a:xfrm>
            <a:custGeom>
              <a:avLst/>
              <a:gdLst/>
              <a:ahLst/>
              <a:cxnLst/>
              <a:rect l="l" t="t" r="r" b="b"/>
              <a:pathLst>
                <a:path w="215900" h="126364">
                  <a:moveTo>
                    <a:pt x="107755" y="0"/>
                  </a:moveTo>
                  <a:lnTo>
                    <a:pt x="0" y="62898"/>
                  </a:lnTo>
                  <a:lnTo>
                    <a:pt x="107755" y="125828"/>
                  </a:lnTo>
                  <a:lnTo>
                    <a:pt x="215511" y="62668"/>
                  </a:lnTo>
                  <a:lnTo>
                    <a:pt x="107755" y="0"/>
                  </a:lnTo>
                  <a:close/>
                </a:path>
              </a:pathLst>
            </a:custGeom>
            <a:solidFill>
              <a:srgbClr val="DADADA"/>
            </a:solidFill>
          </p:spPr>
          <p:txBody>
            <a:bodyPr wrap="square" lIns="0" tIns="0" rIns="0" bIns="0" rtlCol="0"/>
            <a:lstStyle/>
            <a:p>
              <a:endParaRPr sz="1092" dirty="0"/>
            </a:p>
          </p:txBody>
        </p:sp>
        <p:sp>
          <p:nvSpPr>
            <p:cNvPr id="775" name="object 775"/>
            <p:cNvSpPr/>
            <p:nvPr/>
          </p:nvSpPr>
          <p:spPr>
            <a:xfrm>
              <a:off x="6750931" y="4015477"/>
              <a:ext cx="137468" cy="100502"/>
            </a:xfrm>
            <a:custGeom>
              <a:avLst/>
              <a:gdLst/>
              <a:ahLst/>
              <a:cxnLst/>
              <a:rect l="l" t="t" r="r" b="b"/>
              <a:pathLst>
                <a:path w="226695" h="165734">
                  <a:moveTo>
                    <a:pt x="87976" y="0"/>
                  </a:moveTo>
                  <a:lnTo>
                    <a:pt x="26281" y="55935"/>
                  </a:lnTo>
                  <a:lnTo>
                    <a:pt x="0" y="165366"/>
                  </a:lnTo>
                  <a:lnTo>
                    <a:pt x="101232" y="149461"/>
                  </a:lnTo>
                  <a:lnTo>
                    <a:pt x="226349" y="77139"/>
                  </a:lnTo>
                  <a:lnTo>
                    <a:pt x="87976" y="0"/>
                  </a:lnTo>
                  <a:close/>
                </a:path>
              </a:pathLst>
            </a:custGeom>
            <a:solidFill>
              <a:srgbClr val="BABABB"/>
            </a:solidFill>
          </p:spPr>
          <p:txBody>
            <a:bodyPr wrap="square" lIns="0" tIns="0" rIns="0" bIns="0" rtlCol="0"/>
            <a:lstStyle/>
            <a:p>
              <a:endParaRPr sz="1092" dirty="0"/>
            </a:p>
          </p:txBody>
        </p:sp>
        <p:sp>
          <p:nvSpPr>
            <p:cNvPr id="776" name="object 776"/>
            <p:cNvSpPr/>
            <p:nvPr/>
          </p:nvSpPr>
          <p:spPr>
            <a:xfrm>
              <a:off x="6676377" y="3977476"/>
              <a:ext cx="74702" cy="138623"/>
            </a:xfrm>
            <a:custGeom>
              <a:avLst/>
              <a:gdLst/>
              <a:ahLst/>
              <a:cxnLst/>
              <a:rect l="l" t="t" r="r" b="b"/>
              <a:pathLst>
                <a:path w="123190" h="228600">
                  <a:moveTo>
                    <a:pt x="0" y="0"/>
                  </a:moveTo>
                  <a:lnTo>
                    <a:pt x="0" y="155461"/>
                  </a:lnTo>
                  <a:lnTo>
                    <a:pt x="122938" y="228034"/>
                  </a:lnTo>
                  <a:lnTo>
                    <a:pt x="122697" y="72322"/>
                  </a:lnTo>
                  <a:lnTo>
                    <a:pt x="0" y="0"/>
                  </a:lnTo>
                  <a:close/>
                </a:path>
              </a:pathLst>
            </a:custGeom>
            <a:solidFill>
              <a:srgbClr val="F7F1F1"/>
            </a:solidFill>
          </p:spPr>
          <p:txBody>
            <a:bodyPr wrap="square" lIns="0" tIns="0" rIns="0" bIns="0" rtlCol="0"/>
            <a:lstStyle/>
            <a:p>
              <a:endParaRPr sz="1092" dirty="0"/>
            </a:p>
          </p:txBody>
        </p:sp>
        <p:sp>
          <p:nvSpPr>
            <p:cNvPr id="777" name="object 777"/>
            <p:cNvSpPr/>
            <p:nvPr/>
          </p:nvSpPr>
          <p:spPr>
            <a:xfrm>
              <a:off x="6750781" y="3977318"/>
              <a:ext cx="75473" cy="138623"/>
            </a:xfrm>
            <a:custGeom>
              <a:avLst/>
              <a:gdLst/>
              <a:ahLst/>
              <a:cxnLst/>
              <a:rect l="l" t="t" r="r" b="b"/>
              <a:pathLst>
                <a:path w="124459" h="228600">
                  <a:moveTo>
                    <a:pt x="123901" y="0"/>
                  </a:moveTo>
                  <a:lnTo>
                    <a:pt x="0" y="72584"/>
                  </a:lnTo>
                  <a:lnTo>
                    <a:pt x="240" y="228296"/>
                  </a:lnTo>
                  <a:lnTo>
                    <a:pt x="123901" y="155723"/>
                  </a:lnTo>
                  <a:lnTo>
                    <a:pt x="123901" y="0"/>
                  </a:lnTo>
                  <a:close/>
                </a:path>
              </a:pathLst>
            </a:custGeom>
            <a:solidFill>
              <a:srgbClr val="CAC4C4"/>
            </a:solidFill>
          </p:spPr>
          <p:txBody>
            <a:bodyPr wrap="square" lIns="0" tIns="0" rIns="0" bIns="0" rtlCol="0"/>
            <a:lstStyle/>
            <a:p>
              <a:endParaRPr sz="1092" dirty="0"/>
            </a:p>
          </p:txBody>
        </p:sp>
        <p:sp>
          <p:nvSpPr>
            <p:cNvPr id="778" name="object 778"/>
            <p:cNvSpPr/>
            <p:nvPr/>
          </p:nvSpPr>
          <p:spPr>
            <a:xfrm>
              <a:off x="6756334" y="3990186"/>
              <a:ext cx="65781" cy="110069"/>
            </a:xfrm>
            <a:prstGeom prst="rect">
              <a:avLst/>
            </a:prstGeom>
            <a:blipFill>
              <a:blip r:embed="rId27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779" name="object 779"/>
            <p:cNvSpPr/>
            <p:nvPr/>
          </p:nvSpPr>
          <p:spPr>
            <a:xfrm>
              <a:off x="6756342" y="4060642"/>
              <a:ext cx="65846" cy="39662"/>
            </a:xfrm>
            <a:custGeom>
              <a:avLst/>
              <a:gdLst/>
              <a:ahLst/>
              <a:cxnLst/>
              <a:rect l="l" t="t" r="r" b="b"/>
              <a:pathLst>
                <a:path w="108584" h="65404">
                  <a:moveTo>
                    <a:pt x="108467" y="0"/>
                  </a:moveTo>
                  <a:lnTo>
                    <a:pt x="0" y="62427"/>
                  </a:lnTo>
                  <a:lnTo>
                    <a:pt x="0" y="65087"/>
                  </a:lnTo>
                  <a:lnTo>
                    <a:pt x="108467" y="1696"/>
                  </a:lnTo>
                  <a:lnTo>
                    <a:pt x="108467" y="0"/>
                  </a:lnTo>
                  <a:close/>
                </a:path>
              </a:pathLst>
            </a:custGeom>
            <a:solidFill>
              <a:srgbClr val="8B8787"/>
            </a:solidFill>
          </p:spPr>
          <p:txBody>
            <a:bodyPr wrap="square" lIns="0" tIns="0" rIns="0" bIns="0" rtlCol="0"/>
            <a:lstStyle/>
            <a:p>
              <a:endParaRPr sz="1092" dirty="0"/>
            </a:p>
          </p:txBody>
        </p:sp>
        <p:sp>
          <p:nvSpPr>
            <p:cNvPr id="780" name="object 780"/>
            <p:cNvSpPr/>
            <p:nvPr/>
          </p:nvSpPr>
          <p:spPr>
            <a:xfrm>
              <a:off x="6756342" y="4045296"/>
              <a:ext cx="65846" cy="39662"/>
            </a:xfrm>
            <a:custGeom>
              <a:avLst/>
              <a:gdLst/>
              <a:ahLst/>
              <a:cxnLst/>
              <a:rect l="l" t="t" r="r" b="b"/>
              <a:pathLst>
                <a:path w="108584" h="65404">
                  <a:moveTo>
                    <a:pt x="108467" y="0"/>
                  </a:moveTo>
                  <a:lnTo>
                    <a:pt x="0" y="62668"/>
                  </a:lnTo>
                  <a:lnTo>
                    <a:pt x="0" y="65087"/>
                  </a:lnTo>
                  <a:lnTo>
                    <a:pt x="108467" y="1926"/>
                  </a:lnTo>
                  <a:lnTo>
                    <a:pt x="108467" y="0"/>
                  </a:lnTo>
                  <a:close/>
                </a:path>
              </a:pathLst>
            </a:custGeom>
            <a:solidFill>
              <a:srgbClr val="8B8787"/>
            </a:solidFill>
          </p:spPr>
          <p:txBody>
            <a:bodyPr wrap="square" lIns="0" tIns="0" rIns="0" bIns="0" rtlCol="0"/>
            <a:lstStyle/>
            <a:p>
              <a:endParaRPr sz="1092" dirty="0"/>
            </a:p>
          </p:txBody>
        </p:sp>
        <p:sp>
          <p:nvSpPr>
            <p:cNvPr id="781" name="object 781"/>
            <p:cNvSpPr/>
            <p:nvPr/>
          </p:nvSpPr>
          <p:spPr>
            <a:xfrm>
              <a:off x="6756342" y="4030094"/>
              <a:ext cx="65846" cy="39662"/>
            </a:xfrm>
            <a:custGeom>
              <a:avLst/>
              <a:gdLst/>
              <a:ahLst/>
              <a:cxnLst/>
              <a:rect l="l" t="t" r="r" b="b"/>
              <a:pathLst>
                <a:path w="108584" h="65404">
                  <a:moveTo>
                    <a:pt x="108467" y="0"/>
                  </a:moveTo>
                  <a:lnTo>
                    <a:pt x="0" y="62427"/>
                  </a:lnTo>
                  <a:lnTo>
                    <a:pt x="0" y="65087"/>
                  </a:lnTo>
                  <a:lnTo>
                    <a:pt x="108467" y="1926"/>
                  </a:lnTo>
                  <a:lnTo>
                    <a:pt x="108467" y="0"/>
                  </a:lnTo>
                  <a:close/>
                </a:path>
              </a:pathLst>
            </a:custGeom>
            <a:solidFill>
              <a:srgbClr val="8B8787"/>
            </a:solidFill>
          </p:spPr>
          <p:txBody>
            <a:bodyPr wrap="square" lIns="0" tIns="0" rIns="0" bIns="0" rtlCol="0"/>
            <a:lstStyle/>
            <a:p>
              <a:endParaRPr sz="1092" dirty="0"/>
            </a:p>
          </p:txBody>
        </p:sp>
        <p:sp>
          <p:nvSpPr>
            <p:cNvPr id="782" name="object 782"/>
            <p:cNvSpPr/>
            <p:nvPr/>
          </p:nvSpPr>
          <p:spPr>
            <a:xfrm>
              <a:off x="6756342" y="4014891"/>
              <a:ext cx="65846" cy="39662"/>
            </a:xfrm>
            <a:custGeom>
              <a:avLst/>
              <a:gdLst/>
              <a:ahLst/>
              <a:cxnLst/>
              <a:rect l="l" t="t" r="r" b="b"/>
              <a:pathLst>
                <a:path w="108584" h="65404">
                  <a:moveTo>
                    <a:pt x="108467" y="0"/>
                  </a:moveTo>
                  <a:lnTo>
                    <a:pt x="0" y="62427"/>
                  </a:lnTo>
                  <a:lnTo>
                    <a:pt x="0" y="65087"/>
                  </a:lnTo>
                  <a:lnTo>
                    <a:pt x="108467" y="1696"/>
                  </a:lnTo>
                  <a:lnTo>
                    <a:pt x="108467" y="0"/>
                  </a:lnTo>
                  <a:close/>
                </a:path>
              </a:pathLst>
            </a:custGeom>
            <a:solidFill>
              <a:srgbClr val="8B8787"/>
            </a:solidFill>
          </p:spPr>
          <p:txBody>
            <a:bodyPr wrap="square" lIns="0" tIns="0" rIns="0" bIns="0" rtlCol="0"/>
            <a:lstStyle/>
            <a:p>
              <a:endParaRPr sz="1092" dirty="0"/>
            </a:p>
          </p:txBody>
        </p:sp>
        <p:sp>
          <p:nvSpPr>
            <p:cNvPr id="783" name="object 783"/>
            <p:cNvSpPr/>
            <p:nvPr/>
          </p:nvSpPr>
          <p:spPr>
            <a:xfrm>
              <a:off x="6756342" y="3999689"/>
              <a:ext cx="65846" cy="39662"/>
            </a:xfrm>
            <a:custGeom>
              <a:avLst/>
              <a:gdLst/>
              <a:ahLst/>
              <a:cxnLst/>
              <a:rect l="l" t="t" r="r" b="b"/>
              <a:pathLst>
                <a:path w="108584" h="65404">
                  <a:moveTo>
                    <a:pt x="108467" y="0"/>
                  </a:moveTo>
                  <a:lnTo>
                    <a:pt x="0" y="62427"/>
                  </a:lnTo>
                  <a:lnTo>
                    <a:pt x="0" y="64856"/>
                  </a:lnTo>
                  <a:lnTo>
                    <a:pt x="108467" y="1696"/>
                  </a:lnTo>
                  <a:lnTo>
                    <a:pt x="108467" y="0"/>
                  </a:lnTo>
                  <a:close/>
                </a:path>
              </a:pathLst>
            </a:custGeom>
            <a:solidFill>
              <a:srgbClr val="8B8787"/>
            </a:solidFill>
          </p:spPr>
          <p:txBody>
            <a:bodyPr wrap="square" lIns="0" tIns="0" rIns="0" bIns="0" rtlCol="0"/>
            <a:lstStyle/>
            <a:p>
              <a:endParaRPr sz="1092" dirty="0"/>
            </a:p>
          </p:txBody>
        </p:sp>
        <p:sp>
          <p:nvSpPr>
            <p:cNvPr id="784" name="object 784"/>
            <p:cNvSpPr/>
            <p:nvPr/>
          </p:nvSpPr>
          <p:spPr>
            <a:xfrm>
              <a:off x="6760940" y="4025712"/>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85" name="object 785"/>
            <p:cNvSpPr/>
            <p:nvPr/>
          </p:nvSpPr>
          <p:spPr>
            <a:xfrm>
              <a:off x="6766132" y="4022785"/>
              <a:ext cx="0" cy="72392"/>
            </a:xfrm>
            <a:custGeom>
              <a:avLst/>
              <a:gdLst/>
              <a:ahLst/>
              <a:cxnLst/>
              <a:rect l="l" t="t" r="r" b="b"/>
              <a:pathLst>
                <a:path h="119379">
                  <a:moveTo>
                    <a:pt x="0" y="0"/>
                  </a:moveTo>
                  <a:lnTo>
                    <a:pt x="0" y="118834"/>
                  </a:lnTo>
                </a:path>
              </a:pathLst>
            </a:custGeom>
            <a:ln w="3175">
              <a:solidFill>
                <a:srgbClr val="8B8787"/>
              </a:solidFill>
            </a:ln>
          </p:spPr>
          <p:txBody>
            <a:bodyPr wrap="square" lIns="0" tIns="0" rIns="0" bIns="0" rtlCol="0"/>
            <a:lstStyle/>
            <a:p>
              <a:endParaRPr sz="1092" dirty="0"/>
            </a:p>
          </p:txBody>
        </p:sp>
        <p:sp>
          <p:nvSpPr>
            <p:cNvPr id="786" name="object 786"/>
            <p:cNvSpPr/>
            <p:nvPr/>
          </p:nvSpPr>
          <p:spPr>
            <a:xfrm>
              <a:off x="6771172" y="4019860"/>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87" name="object 787"/>
            <p:cNvSpPr/>
            <p:nvPr/>
          </p:nvSpPr>
          <p:spPr>
            <a:xfrm>
              <a:off x="6776289" y="4016933"/>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88" name="object 788"/>
            <p:cNvSpPr/>
            <p:nvPr/>
          </p:nvSpPr>
          <p:spPr>
            <a:xfrm>
              <a:off x="6781334" y="4014021"/>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89" name="object 789"/>
            <p:cNvSpPr/>
            <p:nvPr/>
          </p:nvSpPr>
          <p:spPr>
            <a:xfrm>
              <a:off x="6786452" y="4010937"/>
              <a:ext cx="0" cy="72007"/>
            </a:xfrm>
            <a:custGeom>
              <a:avLst/>
              <a:gdLst/>
              <a:ahLst/>
              <a:cxnLst/>
              <a:rect l="l" t="t" r="r" b="b"/>
              <a:pathLst>
                <a:path h="118745">
                  <a:moveTo>
                    <a:pt x="0" y="0"/>
                  </a:moveTo>
                  <a:lnTo>
                    <a:pt x="0" y="118614"/>
                  </a:lnTo>
                </a:path>
              </a:pathLst>
            </a:custGeom>
            <a:ln w="3175">
              <a:solidFill>
                <a:srgbClr val="8B8787"/>
              </a:solidFill>
            </a:ln>
          </p:spPr>
          <p:txBody>
            <a:bodyPr wrap="square" lIns="0" tIns="0" rIns="0" bIns="0" rtlCol="0"/>
            <a:lstStyle/>
            <a:p>
              <a:endParaRPr sz="1092" dirty="0"/>
            </a:p>
          </p:txBody>
        </p:sp>
        <p:sp>
          <p:nvSpPr>
            <p:cNvPr id="790" name="object 790"/>
            <p:cNvSpPr/>
            <p:nvPr/>
          </p:nvSpPr>
          <p:spPr>
            <a:xfrm>
              <a:off x="6791569" y="4008168"/>
              <a:ext cx="0" cy="72007"/>
            </a:xfrm>
            <a:custGeom>
              <a:avLst/>
              <a:gdLst/>
              <a:ahLst/>
              <a:cxnLst/>
              <a:rect l="l" t="t" r="r" b="b"/>
              <a:pathLst>
                <a:path h="118745">
                  <a:moveTo>
                    <a:pt x="0" y="0"/>
                  </a:moveTo>
                  <a:lnTo>
                    <a:pt x="0" y="118362"/>
                  </a:lnTo>
                </a:path>
              </a:pathLst>
            </a:custGeom>
            <a:ln w="3175">
              <a:solidFill>
                <a:srgbClr val="8B8787"/>
              </a:solidFill>
            </a:ln>
          </p:spPr>
          <p:txBody>
            <a:bodyPr wrap="square" lIns="0" tIns="0" rIns="0" bIns="0" rtlCol="0"/>
            <a:lstStyle/>
            <a:p>
              <a:endParaRPr sz="1092" dirty="0"/>
            </a:p>
          </p:txBody>
        </p:sp>
        <p:sp>
          <p:nvSpPr>
            <p:cNvPr id="791" name="object 791"/>
            <p:cNvSpPr/>
            <p:nvPr/>
          </p:nvSpPr>
          <p:spPr>
            <a:xfrm>
              <a:off x="6796682" y="4005099"/>
              <a:ext cx="0" cy="72007"/>
            </a:xfrm>
            <a:custGeom>
              <a:avLst/>
              <a:gdLst/>
              <a:ahLst/>
              <a:cxnLst/>
              <a:rect l="l" t="t" r="r" b="b"/>
              <a:pathLst>
                <a:path h="118745">
                  <a:moveTo>
                    <a:pt x="0" y="0"/>
                  </a:moveTo>
                  <a:lnTo>
                    <a:pt x="0" y="118362"/>
                  </a:lnTo>
                </a:path>
              </a:pathLst>
            </a:custGeom>
            <a:ln w="3175">
              <a:solidFill>
                <a:srgbClr val="8B8787"/>
              </a:solidFill>
            </a:ln>
          </p:spPr>
          <p:txBody>
            <a:bodyPr wrap="square" lIns="0" tIns="0" rIns="0" bIns="0" rtlCol="0"/>
            <a:lstStyle/>
            <a:p>
              <a:endParaRPr sz="1092" dirty="0"/>
            </a:p>
          </p:txBody>
        </p:sp>
        <p:sp>
          <p:nvSpPr>
            <p:cNvPr id="792" name="object 792"/>
            <p:cNvSpPr/>
            <p:nvPr/>
          </p:nvSpPr>
          <p:spPr>
            <a:xfrm>
              <a:off x="6801726" y="4002172"/>
              <a:ext cx="0" cy="72007"/>
            </a:xfrm>
            <a:custGeom>
              <a:avLst/>
              <a:gdLst/>
              <a:ahLst/>
              <a:cxnLst/>
              <a:rect l="l" t="t" r="r" b="b"/>
              <a:pathLst>
                <a:path h="118745">
                  <a:moveTo>
                    <a:pt x="0" y="0"/>
                  </a:moveTo>
                  <a:lnTo>
                    <a:pt x="0" y="118362"/>
                  </a:lnTo>
                </a:path>
              </a:pathLst>
            </a:custGeom>
            <a:ln w="3175">
              <a:solidFill>
                <a:srgbClr val="8B8787"/>
              </a:solidFill>
            </a:ln>
          </p:spPr>
          <p:txBody>
            <a:bodyPr wrap="square" lIns="0" tIns="0" rIns="0" bIns="0" rtlCol="0"/>
            <a:lstStyle/>
            <a:p>
              <a:endParaRPr sz="1092" dirty="0"/>
            </a:p>
          </p:txBody>
        </p:sp>
        <p:sp>
          <p:nvSpPr>
            <p:cNvPr id="793" name="object 793"/>
            <p:cNvSpPr/>
            <p:nvPr/>
          </p:nvSpPr>
          <p:spPr>
            <a:xfrm>
              <a:off x="6806839" y="3999246"/>
              <a:ext cx="0" cy="72007"/>
            </a:xfrm>
            <a:custGeom>
              <a:avLst/>
              <a:gdLst/>
              <a:ahLst/>
              <a:cxnLst/>
              <a:rect l="l" t="t" r="r" b="b"/>
              <a:pathLst>
                <a:path h="118745">
                  <a:moveTo>
                    <a:pt x="0" y="0"/>
                  </a:moveTo>
                  <a:lnTo>
                    <a:pt x="0" y="118362"/>
                  </a:lnTo>
                </a:path>
              </a:pathLst>
            </a:custGeom>
            <a:ln w="3175">
              <a:solidFill>
                <a:srgbClr val="8B8787"/>
              </a:solidFill>
            </a:ln>
          </p:spPr>
          <p:txBody>
            <a:bodyPr wrap="square" lIns="0" tIns="0" rIns="0" bIns="0" rtlCol="0"/>
            <a:lstStyle/>
            <a:p>
              <a:endParaRPr sz="1092" dirty="0"/>
            </a:p>
          </p:txBody>
        </p:sp>
        <p:sp>
          <p:nvSpPr>
            <p:cNvPr id="794" name="object 794"/>
            <p:cNvSpPr/>
            <p:nvPr/>
          </p:nvSpPr>
          <p:spPr>
            <a:xfrm>
              <a:off x="6811956" y="3996178"/>
              <a:ext cx="0" cy="72007"/>
            </a:xfrm>
            <a:custGeom>
              <a:avLst/>
              <a:gdLst/>
              <a:ahLst/>
              <a:cxnLst/>
              <a:rect l="l" t="t" r="r" b="b"/>
              <a:pathLst>
                <a:path h="118745">
                  <a:moveTo>
                    <a:pt x="0" y="0"/>
                  </a:moveTo>
                  <a:lnTo>
                    <a:pt x="0" y="118593"/>
                  </a:lnTo>
                </a:path>
              </a:pathLst>
            </a:custGeom>
            <a:ln w="3175">
              <a:solidFill>
                <a:srgbClr val="8B8787"/>
              </a:solidFill>
            </a:ln>
          </p:spPr>
          <p:txBody>
            <a:bodyPr wrap="square" lIns="0" tIns="0" rIns="0" bIns="0" rtlCol="0"/>
            <a:lstStyle/>
            <a:p>
              <a:endParaRPr sz="1092" dirty="0"/>
            </a:p>
          </p:txBody>
        </p:sp>
        <p:sp>
          <p:nvSpPr>
            <p:cNvPr id="795" name="object 795"/>
            <p:cNvSpPr/>
            <p:nvPr/>
          </p:nvSpPr>
          <p:spPr>
            <a:xfrm>
              <a:off x="6817074" y="3993252"/>
              <a:ext cx="0" cy="72007"/>
            </a:xfrm>
            <a:custGeom>
              <a:avLst/>
              <a:gdLst/>
              <a:ahLst/>
              <a:cxnLst/>
              <a:rect l="l" t="t" r="r" b="b"/>
              <a:pathLst>
                <a:path h="118745">
                  <a:moveTo>
                    <a:pt x="0" y="0"/>
                  </a:moveTo>
                  <a:lnTo>
                    <a:pt x="0" y="118614"/>
                  </a:lnTo>
                </a:path>
              </a:pathLst>
            </a:custGeom>
            <a:ln w="3175">
              <a:solidFill>
                <a:srgbClr val="8B8787"/>
              </a:solidFill>
            </a:ln>
          </p:spPr>
          <p:txBody>
            <a:bodyPr wrap="square" lIns="0" tIns="0" rIns="0" bIns="0" rtlCol="0"/>
            <a:lstStyle/>
            <a:p>
              <a:endParaRPr sz="1092" dirty="0"/>
            </a:p>
          </p:txBody>
        </p:sp>
        <p:sp>
          <p:nvSpPr>
            <p:cNvPr id="796" name="object 796"/>
            <p:cNvSpPr/>
            <p:nvPr/>
          </p:nvSpPr>
          <p:spPr>
            <a:xfrm>
              <a:off x="6679594" y="3990339"/>
              <a:ext cx="65781" cy="109631"/>
            </a:xfrm>
            <a:prstGeom prst="rect">
              <a:avLst/>
            </a:prstGeom>
            <a:blipFill>
              <a:blip r:embed="rId27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797" name="object 797"/>
            <p:cNvSpPr/>
            <p:nvPr/>
          </p:nvSpPr>
          <p:spPr>
            <a:xfrm>
              <a:off x="6679740" y="4060644"/>
              <a:ext cx="65846" cy="39662"/>
            </a:xfrm>
            <a:custGeom>
              <a:avLst/>
              <a:gdLst/>
              <a:ahLst/>
              <a:cxnLst/>
              <a:rect l="l" t="t" r="r" b="b"/>
              <a:pathLst>
                <a:path w="108584" h="65404">
                  <a:moveTo>
                    <a:pt x="0" y="0"/>
                  </a:moveTo>
                  <a:lnTo>
                    <a:pt x="0" y="1926"/>
                  </a:lnTo>
                  <a:lnTo>
                    <a:pt x="108237" y="65087"/>
                  </a:lnTo>
                  <a:lnTo>
                    <a:pt x="108237" y="62427"/>
                  </a:lnTo>
                  <a:lnTo>
                    <a:pt x="0" y="0"/>
                  </a:lnTo>
                  <a:close/>
                </a:path>
              </a:pathLst>
            </a:custGeom>
            <a:solidFill>
              <a:srgbClr val="B8B4B4"/>
            </a:solidFill>
          </p:spPr>
          <p:txBody>
            <a:bodyPr wrap="square" lIns="0" tIns="0" rIns="0" bIns="0" rtlCol="0"/>
            <a:lstStyle/>
            <a:p>
              <a:endParaRPr sz="1092" dirty="0"/>
            </a:p>
          </p:txBody>
        </p:sp>
        <p:sp>
          <p:nvSpPr>
            <p:cNvPr id="798" name="object 798"/>
            <p:cNvSpPr/>
            <p:nvPr/>
          </p:nvSpPr>
          <p:spPr>
            <a:xfrm>
              <a:off x="6679740" y="4045294"/>
              <a:ext cx="65846" cy="39662"/>
            </a:xfrm>
            <a:custGeom>
              <a:avLst/>
              <a:gdLst/>
              <a:ahLst/>
              <a:cxnLst/>
              <a:rect l="l" t="t" r="r" b="b"/>
              <a:pathLst>
                <a:path w="108584" h="65404">
                  <a:moveTo>
                    <a:pt x="0" y="0"/>
                  </a:moveTo>
                  <a:lnTo>
                    <a:pt x="0" y="2167"/>
                  </a:lnTo>
                  <a:lnTo>
                    <a:pt x="108237" y="65097"/>
                  </a:lnTo>
                  <a:lnTo>
                    <a:pt x="108237" y="62668"/>
                  </a:lnTo>
                  <a:lnTo>
                    <a:pt x="0" y="0"/>
                  </a:lnTo>
                  <a:close/>
                </a:path>
              </a:pathLst>
            </a:custGeom>
            <a:solidFill>
              <a:srgbClr val="B8B4B4"/>
            </a:solidFill>
          </p:spPr>
          <p:txBody>
            <a:bodyPr wrap="square" lIns="0" tIns="0" rIns="0" bIns="0" rtlCol="0"/>
            <a:lstStyle/>
            <a:p>
              <a:endParaRPr sz="1092" dirty="0"/>
            </a:p>
          </p:txBody>
        </p:sp>
        <p:sp>
          <p:nvSpPr>
            <p:cNvPr id="799" name="object 799"/>
            <p:cNvSpPr/>
            <p:nvPr/>
          </p:nvSpPr>
          <p:spPr>
            <a:xfrm>
              <a:off x="6679594" y="4030094"/>
              <a:ext cx="65846" cy="39662"/>
            </a:xfrm>
            <a:custGeom>
              <a:avLst/>
              <a:gdLst/>
              <a:ahLst/>
              <a:cxnLst/>
              <a:rect l="l" t="t" r="r" b="b"/>
              <a:pathLst>
                <a:path w="108584" h="65404">
                  <a:moveTo>
                    <a:pt x="0" y="0"/>
                  </a:moveTo>
                  <a:lnTo>
                    <a:pt x="0" y="1926"/>
                  </a:lnTo>
                  <a:lnTo>
                    <a:pt x="108478" y="65317"/>
                  </a:lnTo>
                  <a:lnTo>
                    <a:pt x="108478" y="62427"/>
                  </a:lnTo>
                  <a:lnTo>
                    <a:pt x="0" y="0"/>
                  </a:lnTo>
                  <a:close/>
                </a:path>
              </a:pathLst>
            </a:custGeom>
            <a:solidFill>
              <a:srgbClr val="B8B4B4"/>
            </a:solidFill>
          </p:spPr>
          <p:txBody>
            <a:bodyPr wrap="square" lIns="0" tIns="0" rIns="0" bIns="0" rtlCol="0"/>
            <a:lstStyle/>
            <a:p>
              <a:endParaRPr sz="1092" dirty="0"/>
            </a:p>
          </p:txBody>
        </p:sp>
        <p:sp>
          <p:nvSpPr>
            <p:cNvPr id="800" name="object 800"/>
            <p:cNvSpPr/>
            <p:nvPr/>
          </p:nvSpPr>
          <p:spPr>
            <a:xfrm>
              <a:off x="6679594" y="4014892"/>
              <a:ext cx="65846" cy="39662"/>
            </a:xfrm>
            <a:custGeom>
              <a:avLst/>
              <a:gdLst/>
              <a:ahLst/>
              <a:cxnLst/>
              <a:rect l="l" t="t" r="r" b="b"/>
              <a:pathLst>
                <a:path w="108584" h="65404">
                  <a:moveTo>
                    <a:pt x="0" y="0"/>
                  </a:moveTo>
                  <a:lnTo>
                    <a:pt x="0" y="1696"/>
                  </a:lnTo>
                  <a:lnTo>
                    <a:pt x="108478" y="65087"/>
                  </a:lnTo>
                  <a:lnTo>
                    <a:pt x="108478" y="62427"/>
                  </a:lnTo>
                  <a:lnTo>
                    <a:pt x="0" y="0"/>
                  </a:lnTo>
                  <a:close/>
                </a:path>
              </a:pathLst>
            </a:custGeom>
            <a:solidFill>
              <a:srgbClr val="B8B4B4"/>
            </a:solidFill>
          </p:spPr>
          <p:txBody>
            <a:bodyPr wrap="square" lIns="0" tIns="0" rIns="0" bIns="0" rtlCol="0"/>
            <a:lstStyle/>
            <a:p>
              <a:endParaRPr sz="1092" dirty="0"/>
            </a:p>
          </p:txBody>
        </p:sp>
        <p:sp>
          <p:nvSpPr>
            <p:cNvPr id="801" name="object 801"/>
            <p:cNvSpPr/>
            <p:nvPr/>
          </p:nvSpPr>
          <p:spPr>
            <a:xfrm>
              <a:off x="6679594" y="3999689"/>
              <a:ext cx="65846" cy="39662"/>
            </a:xfrm>
            <a:custGeom>
              <a:avLst/>
              <a:gdLst/>
              <a:ahLst/>
              <a:cxnLst/>
              <a:rect l="l" t="t" r="r" b="b"/>
              <a:pathLst>
                <a:path w="108584" h="65404">
                  <a:moveTo>
                    <a:pt x="0" y="0"/>
                  </a:moveTo>
                  <a:lnTo>
                    <a:pt x="0" y="1696"/>
                  </a:lnTo>
                  <a:lnTo>
                    <a:pt x="108478" y="64856"/>
                  </a:lnTo>
                  <a:lnTo>
                    <a:pt x="108478" y="62427"/>
                  </a:lnTo>
                  <a:lnTo>
                    <a:pt x="0" y="0"/>
                  </a:lnTo>
                  <a:close/>
                </a:path>
              </a:pathLst>
            </a:custGeom>
            <a:solidFill>
              <a:srgbClr val="B8B4B4"/>
            </a:solidFill>
          </p:spPr>
          <p:txBody>
            <a:bodyPr wrap="square" lIns="0" tIns="0" rIns="0" bIns="0" rtlCol="0"/>
            <a:lstStyle/>
            <a:p>
              <a:endParaRPr sz="1092" dirty="0"/>
            </a:p>
          </p:txBody>
        </p:sp>
        <p:sp>
          <p:nvSpPr>
            <p:cNvPr id="802" name="object 802"/>
            <p:cNvSpPr/>
            <p:nvPr/>
          </p:nvSpPr>
          <p:spPr>
            <a:xfrm>
              <a:off x="6740770" y="4025710"/>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803" name="object 803"/>
            <p:cNvSpPr/>
            <p:nvPr/>
          </p:nvSpPr>
          <p:spPr>
            <a:xfrm>
              <a:off x="6735652" y="4022926"/>
              <a:ext cx="0" cy="72007"/>
            </a:xfrm>
            <a:custGeom>
              <a:avLst/>
              <a:gdLst/>
              <a:ahLst/>
              <a:cxnLst/>
              <a:rect l="l" t="t" r="r" b="b"/>
              <a:pathLst>
                <a:path h="118745">
                  <a:moveTo>
                    <a:pt x="0" y="0"/>
                  </a:moveTo>
                  <a:lnTo>
                    <a:pt x="0" y="118132"/>
                  </a:lnTo>
                </a:path>
              </a:pathLst>
            </a:custGeom>
            <a:ln w="3175">
              <a:solidFill>
                <a:srgbClr val="B8B4B4"/>
              </a:solidFill>
            </a:ln>
          </p:spPr>
          <p:txBody>
            <a:bodyPr wrap="square" lIns="0" tIns="0" rIns="0" bIns="0" rtlCol="0"/>
            <a:lstStyle/>
            <a:p>
              <a:endParaRPr sz="1092" dirty="0"/>
            </a:p>
          </p:txBody>
        </p:sp>
        <p:sp>
          <p:nvSpPr>
            <p:cNvPr id="804" name="object 804"/>
            <p:cNvSpPr/>
            <p:nvPr/>
          </p:nvSpPr>
          <p:spPr>
            <a:xfrm>
              <a:off x="6730539" y="4019857"/>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805" name="object 805"/>
            <p:cNvSpPr/>
            <p:nvPr/>
          </p:nvSpPr>
          <p:spPr>
            <a:xfrm>
              <a:off x="6725497" y="4016932"/>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806" name="object 806"/>
            <p:cNvSpPr/>
            <p:nvPr/>
          </p:nvSpPr>
          <p:spPr>
            <a:xfrm>
              <a:off x="6720381" y="4014020"/>
              <a:ext cx="0" cy="72007"/>
            </a:xfrm>
            <a:custGeom>
              <a:avLst/>
              <a:gdLst/>
              <a:ahLst/>
              <a:cxnLst/>
              <a:rect l="l" t="t" r="r" b="b"/>
              <a:pathLst>
                <a:path h="118745">
                  <a:moveTo>
                    <a:pt x="0" y="0"/>
                  </a:moveTo>
                  <a:lnTo>
                    <a:pt x="0" y="118341"/>
                  </a:lnTo>
                </a:path>
              </a:pathLst>
            </a:custGeom>
            <a:ln w="3175">
              <a:solidFill>
                <a:srgbClr val="B8B4B4"/>
              </a:solidFill>
            </a:ln>
          </p:spPr>
          <p:txBody>
            <a:bodyPr wrap="square" lIns="0" tIns="0" rIns="0" bIns="0" rtlCol="0"/>
            <a:lstStyle/>
            <a:p>
              <a:endParaRPr sz="1092" dirty="0"/>
            </a:p>
          </p:txBody>
        </p:sp>
        <p:sp>
          <p:nvSpPr>
            <p:cNvPr id="807" name="object 807"/>
            <p:cNvSpPr/>
            <p:nvPr/>
          </p:nvSpPr>
          <p:spPr>
            <a:xfrm>
              <a:off x="6715264" y="4010937"/>
              <a:ext cx="0" cy="72007"/>
            </a:xfrm>
            <a:custGeom>
              <a:avLst/>
              <a:gdLst/>
              <a:ahLst/>
              <a:cxnLst/>
              <a:rect l="l" t="t" r="r" b="b"/>
              <a:pathLst>
                <a:path h="118745">
                  <a:moveTo>
                    <a:pt x="0" y="0"/>
                  </a:moveTo>
                  <a:lnTo>
                    <a:pt x="0" y="118624"/>
                  </a:lnTo>
                </a:path>
              </a:pathLst>
            </a:custGeom>
            <a:ln w="3175">
              <a:solidFill>
                <a:srgbClr val="B8B4B4"/>
              </a:solidFill>
            </a:ln>
          </p:spPr>
          <p:txBody>
            <a:bodyPr wrap="square" lIns="0" tIns="0" rIns="0" bIns="0" rtlCol="0"/>
            <a:lstStyle/>
            <a:p>
              <a:endParaRPr sz="1092" dirty="0"/>
            </a:p>
          </p:txBody>
        </p:sp>
        <p:sp>
          <p:nvSpPr>
            <p:cNvPr id="808" name="object 808"/>
            <p:cNvSpPr/>
            <p:nvPr/>
          </p:nvSpPr>
          <p:spPr>
            <a:xfrm>
              <a:off x="6710146" y="4008169"/>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809" name="object 809"/>
            <p:cNvSpPr/>
            <p:nvPr/>
          </p:nvSpPr>
          <p:spPr>
            <a:xfrm>
              <a:off x="6705031" y="4005101"/>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810" name="object 810"/>
            <p:cNvSpPr/>
            <p:nvPr/>
          </p:nvSpPr>
          <p:spPr>
            <a:xfrm>
              <a:off x="6699918" y="4002174"/>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811" name="object 811"/>
            <p:cNvSpPr/>
            <p:nvPr/>
          </p:nvSpPr>
          <p:spPr>
            <a:xfrm>
              <a:off x="6694800" y="3999248"/>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812" name="object 812"/>
            <p:cNvSpPr/>
            <p:nvPr/>
          </p:nvSpPr>
          <p:spPr>
            <a:xfrm>
              <a:off x="6689756" y="3996321"/>
              <a:ext cx="0" cy="72007"/>
            </a:xfrm>
            <a:custGeom>
              <a:avLst/>
              <a:gdLst/>
              <a:ahLst/>
              <a:cxnLst/>
              <a:rect l="l" t="t" r="r" b="b"/>
              <a:pathLst>
                <a:path h="118745">
                  <a:moveTo>
                    <a:pt x="0" y="0"/>
                  </a:moveTo>
                  <a:lnTo>
                    <a:pt x="0" y="118122"/>
                  </a:lnTo>
                </a:path>
              </a:pathLst>
            </a:custGeom>
            <a:ln w="3175">
              <a:solidFill>
                <a:srgbClr val="B8B4B4"/>
              </a:solidFill>
            </a:ln>
          </p:spPr>
          <p:txBody>
            <a:bodyPr wrap="square" lIns="0" tIns="0" rIns="0" bIns="0" rtlCol="0"/>
            <a:lstStyle/>
            <a:p>
              <a:endParaRPr sz="1092" dirty="0"/>
            </a:p>
          </p:txBody>
        </p:sp>
        <p:sp>
          <p:nvSpPr>
            <p:cNvPr id="813" name="object 813"/>
            <p:cNvSpPr/>
            <p:nvPr/>
          </p:nvSpPr>
          <p:spPr>
            <a:xfrm>
              <a:off x="6684638" y="3993252"/>
              <a:ext cx="0" cy="72007"/>
            </a:xfrm>
            <a:custGeom>
              <a:avLst/>
              <a:gdLst/>
              <a:ahLst/>
              <a:cxnLst/>
              <a:rect l="l" t="t" r="r" b="b"/>
              <a:pathLst>
                <a:path h="118745">
                  <a:moveTo>
                    <a:pt x="0" y="0"/>
                  </a:moveTo>
                  <a:lnTo>
                    <a:pt x="0" y="118362"/>
                  </a:lnTo>
                </a:path>
              </a:pathLst>
            </a:custGeom>
            <a:ln w="3175">
              <a:solidFill>
                <a:srgbClr val="B8B4B4"/>
              </a:solidFill>
            </a:ln>
          </p:spPr>
          <p:txBody>
            <a:bodyPr wrap="square" lIns="0" tIns="0" rIns="0" bIns="0" rtlCol="0"/>
            <a:lstStyle/>
            <a:p>
              <a:endParaRPr sz="1092" dirty="0"/>
            </a:p>
          </p:txBody>
        </p:sp>
        <p:sp>
          <p:nvSpPr>
            <p:cNvPr id="814" name="object 814"/>
            <p:cNvSpPr/>
            <p:nvPr/>
          </p:nvSpPr>
          <p:spPr>
            <a:xfrm>
              <a:off x="6676378" y="3933627"/>
              <a:ext cx="149790" cy="87795"/>
            </a:xfrm>
            <a:custGeom>
              <a:avLst/>
              <a:gdLst/>
              <a:ahLst/>
              <a:cxnLst/>
              <a:rect l="l" t="t" r="r" b="b"/>
              <a:pathLst>
                <a:path w="247015" h="144779">
                  <a:moveTo>
                    <a:pt x="123189" y="0"/>
                  </a:moveTo>
                  <a:lnTo>
                    <a:pt x="0" y="72311"/>
                  </a:lnTo>
                  <a:lnTo>
                    <a:pt x="123189" y="144623"/>
                  </a:lnTo>
                  <a:lnTo>
                    <a:pt x="246599" y="72050"/>
                  </a:lnTo>
                  <a:lnTo>
                    <a:pt x="123189" y="0"/>
                  </a:lnTo>
                  <a:close/>
                </a:path>
              </a:pathLst>
            </a:custGeom>
            <a:solidFill>
              <a:srgbClr val="ECECEC"/>
            </a:solidFill>
          </p:spPr>
          <p:txBody>
            <a:bodyPr wrap="square" lIns="0" tIns="0" rIns="0" bIns="0" rtlCol="0"/>
            <a:lstStyle/>
            <a:p>
              <a:endParaRPr sz="1092" dirty="0"/>
            </a:p>
          </p:txBody>
        </p:sp>
        <p:sp>
          <p:nvSpPr>
            <p:cNvPr id="815" name="object 815"/>
            <p:cNvSpPr/>
            <p:nvPr/>
          </p:nvSpPr>
          <p:spPr>
            <a:xfrm>
              <a:off x="6685735" y="3939320"/>
              <a:ext cx="130922" cy="76627"/>
            </a:xfrm>
            <a:custGeom>
              <a:avLst/>
              <a:gdLst/>
              <a:ahLst/>
              <a:cxnLst/>
              <a:rect l="l" t="t" r="r" b="b"/>
              <a:pathLst>
                <a:path w="215900" h="126365">
                  <a:moveTo>
                    <a:pt x="107755" y="0"/>
                  </a:moveTo>
                  <a:lnTo>
                    <a:pt x="0" y="62919"/>
                  </a:lnTo>
                  <a:lnTo>
                    <a:pt x="107755" y="125818"/>
                  </a:lnTo>
                  <a:lnTo>
                    <a:pt x="215501" y="62668"/>
                  </a:lnTo>
                  <a:lnTo>
                    <a:pt x="107755" y="0"/>
                  </a:lnTo>
                  <a:close/>
                </a:path>
              </a:pathLst>
            </a:custGeom>
            <a:solidFill>
              <a:srgbClr val="DADADA"/>
            </a:solidFill>
          </p:spPr>
          <p:txBody>
            <a:bodyPr wrap="square" lIns="0" tIns="0" rIns="0" bIns="0" rtlCol="0"/>
            <a:lstStyle/>
            <a:p>
              <a:endParaRPr sz="1092" dirty="0"/>
            </a:p>
          </p:txBody>
        </p:sp>
        <p:sp>
          <p:nvSpPr>
            <p:cNvPr id="816" name="object 816"/>
            <p:cNvSpPr/>
            <p:nvPr/>
          </p:nvSpPr>
          <p:spPr>
            <a:xfrm>
              <a:off x="5016576" y="4745619"/>
              <a:ext cx="2552593" cy="1562207"/>
            </a:xfrm>
            <a:custGeom>
              <a:avLst/>
              <a:gdLst/>
              <a:ahLst/>
              <a:cxnLst/>
              <a:rect l="l" t="t" r="r" b="b"/>
              <a:pathLst>
                <a:path w="4209415" h="2576195">
                  <a:moveTo>
                    <a:pt x="0" y="0"/>
                  </a:moveTo>
                  <a:lnTo>
                    <a:pt x="0" y="146299"/>
                  </a:lnTo>
                  <a:lnTo>
                    <a:pt x="4209002" y="2576120"/>
                  </a:lnTo>
                  <a:lnTo>
                    <a:pt x="4209002" y="2430994"/>
                  </a:lnTo>
                  <a:lnTo>
                    <a:pt x="0" y="0"/>
                  </a:lnTo>
                  <a:close/>
                </a:path>
              </a:pathLst>
            </a:custGeom>
            <a:solidFill>
              <a:srgbClr val="FBFEFF"/>
            </a:solidFill>
          </p:spPr>
          <p:txBody>
            <a:bodyPr wrap="square" lIns="0" tIns="0" rIns="0" bIns="0" rtlCol="0"/>
            <a:lstStyle/>
            <a:p>
              <a:endParaRPr sz="1092" dirty="0"/>
            </a:p>
          </p:txBody>
        </p:sp>
        <p:sp>
          <p:nvSpPr>
            <p:cNvPr id="817" name="object 817"/>
            <p:cNvSpPr/>
            <p:nvPr/>
          </p:nvSpPr>
          <p:spPr>
            <a:xfrm>
              <a:off x="7568918" y="4750729"/>
              <a:ext cx="2543351" cy="1557201"/>
            </a:xfrm>
            <a:custGeom>
              <a:avLst/>
              <a:gdLst/>
              <a:ahLst/>
              <a:cxnLst/>
              <a:rect l="l" t="t" r="r" b="b"/>
              <a:pathLst>
                <a:path w="4194175" h="2567940">
                  <a:moveTo>
                    <a:pt x="4193579" y="0"/>
                  </a:moveTo>
                  <a:lnTo>
                    <a:pt x="0" y="2422564"/>
                  </a:lnTo>
                  <a:lnTo>
                    <a:pt x="0" y="2567691"/>
                  </a:lnTo>
                  <a:lnTo>
                    <a:pt x="4193579" y="145828"/>
                  </a:lnTo>
                  <a:lnTo>
                    <a:pt x="4193579" y="0"/>
                  </a:lnTo>
                  <a:close/>
                </a:path>
              </a:pathLst>
            </a:custGeom>
            <a:solidFill>
              <a:srgbClr val="D1D2D4"/>
            </a:solidFill>
          </p:spPr>
          <p:txBody>
            <a:bodyPr wrap="square" lIns="0" tIns="0" rIns="0" bIns="0" rtlCol="0"/>
            <a:lstStyle/>
            <a:p>
              <a:endParaRPr sz="1092" dirty="0"/>
            </a:p>
          </p:txBody>
        </p:sp>
        <p:sp>
          <p:nvSpPr>
            <p:cNvPr id="818" name="object 818"/>
            <p:cNvSpPr/>
            <p:nvPr/>
          </p:nvSpPr>
          <p:spPr>
            <a:xfrm>
              <a:off x="5330263" y="1556396"/>
              <a:ext cx="687167" cy="873349"/>
            </a:xfrm>
            <a:prstGeom prst="rect">
              <a:avLst/>
            </a:prstGeom>
            <a:blipFill>
              <a:blip r:embed="rId27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19" name="object 819"/>
            <p:cNvSpPr/>
            <p:nvPr/>
          </p:nvSpPr>
          <p:spPr>
            <a:xfrm>
              <a:off x="5330263" y="1412267"/>
              <a:ext cx="2240263" cy="1824752"/>
            </a:xfrm>
            <a:prstGeom prst="rect">
              <a:avLst/>
            </a:prstGeom>
            <a:blipFill>
              <a:blip r:embed="rId27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20" name="object 820"/>
            <p:cNvSpPr/>
            <p:nvPr/>
          </p:nvSpPr>
          <p:spPr>
            <a:xfrm>
              <a:off x="8598283" y="2059224"/>
              <a:ext cx="545807" cy="736384"/>
            </a:xfrm>
            <a:prstGeom prst="rect">
              <a:avLst/>
            </a:prstGeom>
            <a:blipFill>
              <a:blip r:embed="rId28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21" name="object 821"/>
            <p:cNvSpPr/>
            <p:nvPr/>
          </p:nvSpPr>
          <p:spPr>
            <a:xfrm>
              <a:off x="7844604" y="2147368"/>
              <a:ext cx="724585" cy="959055"/>
            </a:xfrm>
            <a:prstGeom prst="rect">
              <a:avLst/>
            </a:prstGeom>
            <a:blipFill>
              <a:blip r:embed="rId28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22" name="object 822"/>
            <p:cNvSpPr/>
            <p:nvPr/>
          </p:nvSpPr>
          <p:spPr>
            <a:xfrm>
              <a:off x="7928367" y="2063764"/>
              <a:ext cx="1215724" cy="1053994"/>
            </a:xfrm>
            <a:prstGeom prst="rect">
              <a:avLst/>
            </a:prstGeom>
            <a:blipFill>
              <a:blip r:embed="rId28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23" name="object 823"/>
            <p:cNvSpPr/>
            <p:nvPr/>
          </p:nvSpPr>
          <p:spPr>
            <a:xfrm>
              <a:off x="8655044" y="4047089"/>
              <a:ext cx="193302" cy="181365"/>
            </a:xfrm>
            <a:custGeom>
              <a:avLst/>
              <a:gdLst/>
              <a:ahLst/>
              <a:cxnLst/>
              <a:rect l="l" t="t" r="r" b="b"/>
              <a:pathLst>
                <a:path w="318769" h="299084">
                  <a:moveTo>
                    <a:pt x="193837" y="0"/>
                  </a:moveTo>
                  <a:lnTo>
                    <a:pt x="0" y="111849"/>
                  </a:lnTo>
                  <a:lnTo>
                    <a:pt x="317937" y="298619"/>
                  </a:lnTo>
                  <a:lnTo>
                    <a:pt x="318220" y="69725"/>
                  </a:lnTo>
                  <a:lnTo>
                    <a:pt x="193837" y="0"/>
                  </a:lnTo>
                  <a:close/>
                </a:path>
              </a:pathLst>
            </a:custGeom>
            <a:solidFill>
              <a:srgbClr val="BBBBBC"/>
            </a:solidFill>
          </p:spPr>
          <p:txBody>
            <a:bodyPr wrap="square" lIns="0" tIns="0" rIns="0" bIns="0" rtlCol="0"/>
            <a:lstStyle/>
            <a:p>
              <a:endParaRPr sz="1092" dirty="0"/>
            </a:p>
          </p:txBody>
        </p:sp>
        <p:sp>
          <p:nvSpPr>
            <p:cNvPr id="824" name="object 824"/>
            <p:cNvSpPr/>
            <p:nvPr/>
          </p:nvSpPr>
          <p:spPr>
            <a:xfrm>
              <a:off x="8638736" y="4002472"/>
              <a:ext cx="134002" cy="112824"/>
            </a:xfrm>
            <a:custGeom>
              <a:avLst/>
              <a:gdLst/>
              <a:ahLst/>
              <a:cxnLst/>
              <a:rect l="l" t="t" r="r" b="b"/>
              <a:pathLst>
                <a:path w="220980" h="186054">
                  <a:moveTo>
                    <a:pt x="89473" y="0"/>
                  </a:moveTo>
                  <a:lnTo>
                    <a:pt x="0" y="169628"/>
                  </a:lnTo>
                  <a:lnTo>
                    <a:pt x="26889" y="185428"/>
                  </a:lnTo>
                  <a:lnTo>
                    <a:pt x="220726" y="73578"/>
                  </a:lnTo>
                  <a:lnTo>
                    <a:pt x="89473" y="0"/>
                  </a:lnTo>
                  <a:close/>
                </a:path>
              </a:pathLst>
            </a:custGeom>
            <a:solidFill>
              <a:srgbClr val="BBBBBC"/>
            </a:solidFill>
          </p:spPr>
          <p:txBody>
            <a:bodyPr wrap="square" lIns="0" tIns="0" rIns="0" bIns="0" rtlCol="0"/>
            <a:lstStyle/>
            <a:p>
              <a:endParaRPr sz="1092" dirty="0"/>
            </a:p>
          </p:txBody>
        </p:sp>
        <p:sp>
          <p:nvSpPr>
            <p:cNvPr id="825" name="object 825"/>
            <p:cNvSpPr/>
            <p:nvPr/>
          </p:nvSpPr>
          <p:spPr>
            <a:xfrm>
              <a:off x="8428646" y="4379354"/>
              <a:ext cx="65540" cy="124245"/>
            </a:xfrm>
            <a:prstGeom prst="rect">
              <a:avLst/>
            </a:prstGeom>
            <a:blipFill>
              <a:blip r:embed="rId28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26" name="object 826"/>
            <p:cNvSpPr/>
            <p:nvPr/>
          </p:nvSpPr>
          <p:spPr>
            <a:xfrm>
              <a:off x="7948679" y="3411628"/>
              <a:ext cx="867165" cy="514061"/>
            </a:xfrm>
            <a:custGeom>
              <a:avLst/>
              <a:gdLst/>
              <a:ahLst/>
              <a:cxnLst/>
              <a:rect l="l" t="t" r="r" b="b"/>
              <a:pathLst>
                <a:path w="1430019" h="847725">
                  <a:moveTo>
                    <a:pt x="848267" y="0"/>
                  </a:moveTo>
                  <a:lnTo>
                    <a:pt x="0" y="508864"/>
                  </a:lnTo>
                  <a:lnTo>
                    <a:pt x="581416" y="847534"/>
                  </a:lnTo>
                  <a:lnTo>
                    <a:pt x="1429925" y="339403"/>
                  </a:lnTo>
                  <a:lnTo>
                    <a:pt x="848267" y="0"/>
                  </a:lnTo>
                  <a:close/>
                </a:path>
              </a:pathLst>
            </a:custGeom>
            <a:solidFill>
              <a:srgbClr val="FFFFFF"/>
            </a:solidFill>
          </p:spPr>
          <p:txBody>
            <a:bodyPr wrap="square" lIns="0" tIns="0" rIns="0" bIns="0" rtlCol="0"/>
            <a:lstStyle/>
            <a:p>
              <a:endParaRPr sz="1092" dirty="0"/>
            </a:p>
          </p:txBody>
        </p:sp>
        <p:sp>
          <p:nvSpPr>
            <p:cNvPr id="827" name="object 827"/>
            <p:cNvSpPr/>
            <p:nvPr/>
          </p:nvSpPr>
          <p:spPr>
            <a:xfrm>
              <a:off x="7995595" y="3437213"/>
              <a:ext cx="770899" cy="455146"/>
            </a:xfrm>
            <a:custGeom>
              <a:avLst/>
              <a:gdLst/>
              <a:ahLst/>
              <a:cxnLst/>
              <a:rect l="l" t="t" r="r" b="b"/>
              <a:pathLst>
                <a:path w="1271269" h="750570">
                  <a:moveTo>
                    <a:pt x="768730" y="0"/>
                  </a:moveTo>
                  <a:lnTo>
                    <a:pt x="0" y="455347"/>
                  </a:lnTo>
                  <a:lnTo>
                    <a:pt x="502612" y="750395"/>
                  </a:lnTo>
                  <a:lnTo>
                    <a:pt x="1271081" y="296734"/>
                  </a:lnTo>
                  <a:lnTo>
                    <a:pt x="768730" y="0"/>
                  </a:lnTo>
                  <a:close/>
                </a:path>
              </a:pathLst>
            </a:custGeom>
            <a:solidFill>
              <a:srgbClr val="ECECEC"/>
            </a:solidFill>
          </p:spPr>
          <p:txBody>
            <a:bodyPr wrap="square" lIns="0" tIns="0" rIns="0" bIns="0" rtlCol="0"/>
            <a:lstStyle/>
            <a:p>
              <a:endParaRPr sz="1092" dirty="0"/>
            </a:p>
          </p:txBody>
        </p:sp>
        <p:sp>
          <p:nvSpPr>
            <p:cNvPr id="828" name="object 828"/>
            <p:cNvSpPr/>
            <p:nvPr/>
          </p:nvSpPr>
          <p:spPr>
            <a:xfrm>
              <a:off x="7942978" y="3718740"/>
              <a:ext cx="358495" cy="1027352"/>
            </a:xfrm>
            <a:custGeom>
              <a:avLst/>
              <a:gdLst/>
              <a:ahLst/>
              <a:cxnLst/>
              <a:rect l="l" t="t" r="r" b="b"/>
              <a:pathLst>
                <a:path w="591184" h="1694179">
                  <a:moveTo>
                    <a:pt x="10596" y="0"/>
                  </a:moveTo>
                  <a:lnTo>
                    <a:pt x="0" y="1359058"/>
                  </a:lnTo>
                  <a:lnTo>
                    <a:pt x="590348" y="1693875"/>
                  </a:lnTo>
                  <a:lnTo>
                    <a:pt x="590819" y="341089"/>
                  </a:lnTo>
                  <a:lnTo>
                    <a:pt x="10596" y="0"/>
                  </a:lnTo>
                  <a:close/>
                </a:path>
              </a:pathLst>
            </a:custGeom>
            <a:solidFill>
              <a:srgbClr val="F7F1F1"/>
            </a:solidFill>
          </p:spPr>
          <p:txBody>
            <a:bodyPr wrap="square" lIns="0" tIns="0" rIns="0" bIns="0" rtlCol="0"/>
            <a:lstStyle/>
            <a:p>
              <a:endParaRPr sz="1092" dirty="0"/>
            </a:p>
          </p:txBody>
        </p:sp>
        <p:sp>
          <p:nvSpPr>
            <p:cNvPr id="829" name="object 829"/>
            <p:cNvSpPr/>
            <p:nvPr/>
          </p:nvSpPr>
          <p:spPr>
            <a:xfrm>
              <a:off x="8300221" y="3617446"/>
              <a:ext cx="515601" cy="1130165"/>
            </a:xfrm>
            <a:custGeom>
              <a:avLst/>
              <a:gdLst/>
              <a:ahLst/>
              <a:cxnLst/>
              <a:rect l="l" t="t" r="r" b="b"/>
              <a:pathLst>
                <a:path w="850265" h="1863725">
                  <a:moveTo>
                    <a:pt x="850204" y="0"/>
                  </a:moveTo>
                  <a:lnTo>
                    <a:pt x="1696" y="507890"/>
                  </a:lnTo>
                  <a:lnTo>
                    <a:pt x="0" y="1863335"/>
                  </a:lnTo>
                  <a:lnTo>
                    <a:pt x="847544" y="1356398"/>
                  </a:lnTo>
                  <a:lnTo>
                    <a:pt x="850204" y="0"/>
                  </a:lnTo>
                  <a:close/>
                </a:path>
              </a:pathLst>
            </a:custGeom>
            <a:solidFill>
              <a:srgbClr val="CAC4C4"/>
            </a:solidFill>
          </p:spPr>
          <p:txBody>
            <a:bodyPr wrap="square" lIns="0" tIns="0" rIns="0" bIns="0" rtlCol="0"/>
            <a:lstStyle/>
            <a:p>
              <a:endParaRPr sz="1092" dirty="0"/>
            </a:p>
          </p:txBody>
        </p:sp>
        <p:sp>
          <p:nvSpPr>
            <p:cNvPr id="830" name="object 830"/>
            <p:cNvSpPr/>
            <p:nvPr/>
          </p:nvSpPr>
          <p:spPr>
            <a:xfrm>
              <a:off x="8673271" y="3743304"/>
              <a:ext cx="81561" cy="343644"/>
            </a:xfrm>
            <a:prstGeom prst="rect">
              <a:avLst/>
            </a:prstGeom>
            <a:blipFill>
              <a:blip r:embed="rId28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31" name="object 831"/>
            <p:cNvSpPr/>
            <p:nvPr/>
          </p:nvSpPr>
          <p:spPr>
            <a:xfrm>
              <a:off x="8673266" y="3743299"/>
              <a:ext cx="81634" cy="89335"/>
            </a:xfrm>
            <a:custGeom>
              <a:avLst/>
              <a:gdLst/>
              <a:ahLst/>
              <a:cxnLst/>
              <a:rect l="l" t="t" r="r" b="b"/>
              <a:pathLst>
                <a:path w="134619" h="147320">
                  <a:moveTo>
                    <a:pt x="134508" y="0"/>
                  </a:moveTo>
                  <a:lnTo>
                    <a:pt x="113766" y="11821"/>
                  </a:lnTo>
                  <a:lnTo>
                    <a:pt x="114006" y="57862"/>
                  </a:lnTo>
                  <a:lnTo>
                    <a:pt x="0" y="122928"/>
                  </a:lnTo>
                  <a:lnTo>
                    <a:pt x="0" y="147293"/>
                  </a:lnTo>
                  <a:lnTo>
                    <a:pt x="134508" y="70385"/>
                  </a:lnTo>
                  <a:lnTo>
                    <a:pt x="134508" y="0"/>
                  </a:lnTo>
                  <a:close/>
                </a:path>
              </a:pathLst>
            </a:custGeom>
            <a:solidFill>
              <a:srgbClr val="91949E"/>
            </a:solidFill>
          </p:spPr>
          <p:txBody>
            <a:bodyPr wrap="square" lIns="0" tIns="0" rIns="0" bIns="0" rtlCol="0"/>
            <a:lstStyle/>
            <a:p>
              <a:endParaRPr sz="1092" dirty="0"/>
            </a:p>
          </p:txBody>
        </p:sp>
        <p:sp>
          <p:nvSpPr>
            <p:cNvPr id="832" name="object 832"/>
            <p:cNvSpPr/>
            <p:nvPr/>
          </p:nvSpPr>
          <p:spPr>
            <a:xfrm>
              <a:off x="8673268" y="3832756"/>
              <a:ext cx="81634" cy="89335"/>
            </a:xfrm>
            <a:custGeom>
              <a:avLst/>
              <a:gdLst/>
              <a:ahLst/>
              <a:cxnLst/>
              <a:rect l="l" t="t" r="r" b="b"/>
              <a:pathLst>
                <a:path w="134619" h="147320">
                  <a:moveTo>
                    <a:pt x="134498" y="0"/>
                  </a:moveTo>
                  <a:lnTo>
                    <a:pt x="113766" y="11821"/>
                  </a:lnTo>
                  <a:lnTo>
                    <a:pt x="113996" y="57862"/>
                  </a:lnTo>
                  <a:lnTo>
                    <a:pt x="0" y="122928"/>
                  </a:lnTo>
                  <a:lnTo>
                    <a:pt x="0" y="147293"/>
                  </a:lnTo>
                  <a:lnTo>
                    <a:pt x="134498" y="70385"/>
                  </a:lnTo>
                  <a:lnTo>
                    <a:pt x="134498" y="0"/>
                  </a:lnTo>
                  <a:close/>
                </a:path>
              </a:pathLst>
            </a:custGeom>
            <a:solidFill>
              <a:srgbClr val="91949E"/>
            </a:solidFill>
          </p:spPr>
          <p:txBody>
            <a:bodyPr wrap="square" lIns="0" tIns="0" rIns="0" bIns="0" rtlCol="0"/>
            <a:lstStyle/>
            <a:p>
              <a:endParaRPr sz="1092" dirty="0"/>
            </a:p>
          </p:txBody>
        </p:sp>
        <p:sp>
          <p:nvSpPr>
            <p:cNvPr id="833" name="object 833"/>
            <p:cNvSpPr/>
            <p:nvPr/>
          </p:nvSpPr>
          <p:spPr>
            <a:xfrm>
              <a:off x="8673268" y="3912268"/>
              <a:ext cx="81634" cy="89720"/>
            </a:xfrm>
            <a:custGeom>
              <a:avLst/>
              <a:gdLst/>
              <a:ahLst/>
              <a:cxnLst/>
              <a:rect l="l" t="t" r="r" b="b"/>
              <a:pathLst>
                <a:path w="134619" h="147954">
                  <a:moveTo>
                    <a:pt x="134498" y="0"/>
                  </a:moveTo>
                  <a:lnTo>
                    <a:pt x="113766" y="11821"/>
                  </a:lnTo>
                  <a:lnTo>
                    <a:pt x="113996" y="57862"/>
                  </a:lnTo>
                  <a:lnTo>
                    <a:pt x="0" y="123189"/>
                  </a:lnTo>
                  <a:lnTo>
                    <a:pt x="0" y="147534"/>
                  </a:lnTo>
                  <a:lnTo>
                    <a:pt x="134498" y="70416"/>
                  </a:lnTo>
                  <a:lnTo>
                    <a:pt x="134498" y="0"/>
                  </a:lnTo>
                  <a:close/>
                </a:path>
              </a:pathLst>
            </a:custGeom>
            <a:solidFill>
              <a:srgbClr val="91949E"/>
            </a:solidFill>
          </p:spPr>
          <p:txBody>
            <a:bodyPr wrap="square" lIns="0" tIns="0" rIns="0" bIns="0" rtlCol="0"/>
            <a:lstStyle/>
            <a:p>
              <a:endParaRPr sz="1092" dirty="0"/>
            </a:p>
          </p:txBody>
        </p:sp>
        <p:sp>
          <p:nvSpPr>
            <p:cNvPr id="834" name="object 834"/>
            <p:cNvSpPr/>
            <p:nvPr/>
          </p:nvSpPr>
          <p:spPr>
            <a:xfrm>
              <a:off x="8673268" y="3997645"/>
              <a:ext cx="81634" cy="89335"/>
            </a:xfrm>
            <a:custGeom>
              <a:avLst/>
              <a:gdLst/>
              <a:ahLst/>
              <a:cxnLst/>
              <a:rect l="l" t="t" r="r" b="b"/>
              <a:pathLst>
                <a:path w="134619" h="147320">
                  <a:moveTo>
                    <a:pt x="134498" y="0"/>
                  </a:moveTo>
                  <a:lnTo>
                    <a:pt x="113766" y="11559"/>
                  </a:lnTo>
                  <a:lnTo>
                    <a:pt x="113996" y="57600"/>
                  </a:lnTo>
                  <a:lnTo>
                    <a:pt x="0" y="122928"/>
                  </a:lnTo>
                  <a:lnTo>
                    <a:pt x="0" y="147273"/>
                  </a:lnTo>
                  <a:lnTo>
                    <a:pt x="134498" y="70123"/>
                  </a:lnTo>
                  <a:lnTo>
                    <a:pt x="134498" y="0"/>
                  </a:lnTo>
                  <a:close/>
                </a:path>
              </a:pathLst>
            </a:custGeom>
            <a:solidFill>
              <a:srgbClr val="91949E"/>
            </a:solidFill>
          </p:spPr>
          <p:txBody>
            <a:bodyPr wrap="square" lIns="0" tIns="0" rIns="0" bIns="0" rtlCol="0"/>
            <a:lstStyle/>
            <a:p>
              <a:endParaRPr sz="1092" dirty="0"/>
            </a:p>
          </p:txBody>
        </p:sp>
        <p:sp>
          <p:nvSpPr>
            <p:cNvPr id="835" name="object 835"/>
            <p:cNvSpPr/>
            <p:nvPr/>
          </p:nvSpPr>
          <p:spPr>
            <a:xfrm>
              <a:off x="8673270" y="4080369"/>
              <a:ext cx="81561" cy="343504"/>
            </a:xfrm>
            <a:prstGeom prst="rect">
              <a:avLst/>
            </a:prstGeom>
            <a:blipFill>
              <a:blip r:embed="rId28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36" name="object 836"/>
            <p:cNvSpPr/>
            <p:nvPr/>
          </p:nvSpPr>
          <p:spPr>
            <a:xfrm>
              <a:off x="8673266" y="4080370"/>
              <a:ext cx="81634" cy="89335"/>
            </a:xfrm>
            <a:custGeom>
              <a:avLst/>
              <a:gdLst/>
              <a:ahLst/>
              <a:cxnLst/>
              <a:rect l="l" t="t" r="r" b="b"/>
              <a:pathLst>
                <a:path w="134619" h="147320">
                  <a:moveTo>
                    <a:pt x="134508" y="0"/>
                  </a:moveTo>
                  <a:lnTo>
                    <a:pt x="113766" y="11821"/>
                  </a:lnTo>
                  <a:lnTo>
                    <a:pt x="114006" y="57631"/>
                  </a:lnTo>
                  <a:lnTo>
                    <a:pt x="0" y="122949"/>
                  </a:lnTo>
                  <a:lnTo>
                    <a:pt x="0" y="147293"/>
                  </a:lnTo>
                  <a:lnTo>
                    <a:pt x="134508" y="70406"/>
                  </a:lnTo>
                  <a:lnTo>
                    <a:pt x="134508" y="0"/>
                  </a:lnTo>
                  <a:close/>
                </a:path>
              </a:pathLst>
            </a:custGeom>
            <a:solidFill>
              <a:srgbClr val="91949E"/>
            </a:solidFill>
          </p:spPr>
          <p:txBody>
            <a:bodyPr wrap="square" lIns="0" tIns="0" rIns="0" bIns="0" rtlCol="0"/>
            <a:lstStyle/>
            <a:p>
              <a:endParaRPr sz="1092" dirty="0"/>
            </a:p>
          </p:txBody>
        </p:sp>
        <p:sp>
          <p:nvSpPr>
            <p:cNvPr id="837" name="object 837"/>
            <p:cNvSpPr/>
            <p:nvPr/>
          </p:nvSpPr>
          <p:spPr>
            <a:xfrm>
              <a:off x="8673268" y="4169990"/>
              <a:ext cx="81634" cy="89335"/>
            </a:xfrm>
            <a:custGeom>
              <a:avLst/>
              <a:gdLst/>
              <a:ahLst/>
              <a:cxnLst/>
              <a:rect l="l" t="t" r="r" b="b"/>
              <a:pathLst>
                <a:path w="134619" h="147320">
                  <a:moveTo>
                    <a:pt x="134498" y="0"/>
                  </a:moveTo>
                  <a:lnTo>
                    <a:pt x="113766" y="11790"/>
                  </a:lnTo>
                  <a:lnTo>
                    <a:pt x="113996" y="57359"/>
                  </a:lnTo>
                  <a:lnTo>
                    <a:pt x="0" y="122687"/>
                  </a:lnTo>
                  <a:lnTo>
                    <a:pt x="0" y="147032"/>
                  </a:lnTo>
                  <a:lnTo>
                    <a:pt x="134498" y="70123"/>
                  </a:lnTo>
                  <a:lnTo>
                    <a:pt x="134498" y="0"/>
                  </a:lnTo>
                  <a:close/>
                </a:path>
              </a:pathLst>
            </a:custGeom>
            <a:solidFill>
              <a:srgbClr val="91949E"/>
            </a:solidFill>
          </p:spPr>
          <p:txBody>
            <a:bodyPr wrap="square" lIns="0" tIns="0" rIns="0" bIns="0" rtlCol="0"/>
            <a:lstStyle/>
            <a:p>
              <a:endParaRPr sz="1092" dirty="0"/>
            </a:p>
          </p:txBody>
        </p:sp>
        <p:sp>
          <p:nvSpPr>
            <p:cNvPr id="838" name="object 838"/>
            <p:cNvSpPr/>
            <p:nvPr/>
          </p:nvSpPr>
          <p:spPr>
            <a:xfrm>
              <a:off x="8673268" y="4249495"/>
              <a:ext cx="81634" cy="89720"/>
            </a:xfrm>
            <a:custGeom>
              <a:avLst/>
              <a:gdLst/>
              <a:ahLst/>
              <a:cxnLst/>
              <a:rect l="l" t="t" r="r" b="b"/>
              <a:pathLst>
                <a:path w="134619" h="147954">
                  <a:moveTo>
                    <a:pt x="134498" y="0"/>
                  </a:moveTo>
                  <a:lnTo>
                    <a:pt x="113766" y="11821"/>
                  </a:lnTo>
                  <a:lnTo>
                    <a:pt x="113996" y="57631"/>
                  </a:lnTo>
                  <a:lnTo>
                    <a:pt x="0" y="122949"/>
                  </a:lnTo>
                  <a:lnTo>
                    <a:pt x="0" y="147534"/>
                  </a:lnTo>
                  <a:lnTo>
                    <a:pt x="134498" y="70154"/>
                  </a:lnTo>
                  <a:lnTo>
                    <a:pt x="134498" y="0"/>
                  </a:lnTo>
                  <a:close/>
                </a:path>
              </a:pathLst>
            </a:custGeom>
            <a:solidFill>
              <a:srgbClr val="91949E"/>
            </a:solidFill>
          </p:spPr>
          <p:txBody>
            <a:bodyPr wrap="square" lIns="0" tIns="0" rIns="0" bIns="0" rtlCol="0"/>
            <a:lstStyle/>
            <a:p>
              <a:endParaRPr sz="1092" dirty="0"/>
            </a:p>
          </p:txBody>
        </p:sp>
        <p:sp>
          <p:nvSpPr>
            <p:cNvPr id="839" name="object 839"/>
            <p:cNvSpPr/>
            <p:nvPr/>
          </p:nvSpPr>
          <p:spPr>
            <a:xfrm>
              <a:off x="8673268" y="4334572"/>
              <a:ext cx="81634" cy="89335"/>
            </a:xfrm>
            <a:custGeom>
              <a:avLst/>
              <a:gdLst/>
              <a:ahLst/>
              <a:cxnLst/>
              <a:rect l="l" t="t" r="r" b="b"/>
              <a:pathLst>
                <a:path w="134619" h="147320">
                  <a:moveTo>
                    <a:pt x="134498" y="0"/>
                  </a:moveTo>
                  <a:lnTo>
                    <a:pt x="113766" y="11821"/>
                  </a:lnTo>
                  <a:lnTo>
                    <a:pt x="113996" y="57841"/>
                  </a:lnTo>
                  <a:lnTo>
                    <a:pt x="0" y="123169"/>
                  </a:lnTo>
                  <a:lnTo>
                    <a:pt x="0" y="147273"/>
                  </a:lnTo>
                  <a:lnTo>
                    <a:pt x="134498" y="70385"/>
                  </a:lnTo>
                  <a:lnTo>
                    <a:pt x="134498" y="0"/>
                  </a:lnTo>
                  <a:close/>
                </a:path>
              </a:pathLst>
            </a:custGeom>
            <a:solidFill>
              <a:srgbClr val="91949E"/>
            </a:solidFill>
          </p:spPr>
          <p:txBody>
            <a:bodyPr wrap="square" lIns="0" tIns="0" rIns="0" bIns="0" rtlCol="0"/>
            <a:lstStyle/>
            <a:p>
              <a:endParaRPr sz="1092" dirty="0"/>
            </a:p>
          </p:txBody>
        </p:sp>
        <p:sp>
          <p:nvSpPr>
            <p:cNvPr id="840" name="object 840"/>
            <p:cNvSpPr/>
            <p:nvPr/>
          </p:nvSpPr>
          <p:spPr>
            <a:xfrm>
              <a:off x="8543467" y="3825308"/>
              <a:ext cx="81408" cy="343650"/>
            </a:xfrm>
            <a:prstGeom prst="rect">
              <a:avLst/>
            </a:prstGeom>
            <a:blipFill>
              <a:blip r:embed="rId28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41" name="object 841"/>
            <p:cNvSpPr/>
            <p:nvPr/>
          </p:nvSpPr>
          <p:spPr>
            <a:xfrm>
              <a:off x="8543465" y="3825307"/>
              <a:ext cx="81634" cy="89720"/>
            </a:xfrm>
            <a:custGeom>
              <a:avLst/>
              <a:gdLst/>
              <a:ahLst/>
              <a:cxnLst/>
              <a:rect l="l" t="t" r="r" b="b"/>
              <a:pathLst>
                <a:path w="134619" h="147954">
                  <a:moveTo>
                    <a:pt x="134247" y="0"/>
                  </a:moveTo>
                  <a:lnTo>
                    <a:pt x="113766" y="12051"/>
                  </a:lnTo>
                  <a:lnTo>
                    <a:pt x="113766" y="57841"/>
                  </a:lnTo>
                  <a:lnTo>
                    <a:pt x="0" y="122928"/>
                  </a:lnTo>
                  <a:lnTo>
                    <a:pt x="0" y="147524"/>
                  </a:lnTo>
                  <a:lnTo>
                    <a:pt x="134247" y="70626"/>
                  </a:lnTo>
                  <a:lnTo>
                    <a:pt x="134247" y="0"/>
                  </a:lnTo>
                  <a:close/>
                </a:path>
              </a:pathLst>
            </a:custGeom>
            <a:solidFill>
              <a:srgbClr val="91949E"/>
            </a:solidFill>
          </p:spPr>
          <p:txBody>
            <a:bodyPr wrap="square" lIns="0" tIns="0" rIns="0" bIns="0" rtlCol="0"/>
            <a:lstStyle/>
            <a:p>
              <a:endParaRPr sz="1092" dirty="0"/>
            </a:p>
          </p:txBody>
        </p:sp>
        <p:sp>
          <p:nvSpPr>
            <p:cNvPr id="842" name="object 842"/>
            <p:cNvSpPr/>
            <p:nvPr/>
          </p:nvSpPr>
          <p:spPr>
            <a:xfrm>
              <a:off x="8543467" y="3914907"/>
              <a:ext cx="81634" cy="89335"/>
            </a:xfrm>
            <a:custGeom>
              <a:avLst/>
              <a:gdLst/>
              <a:ahLst/>
              <a:cxnLst/>
              <a:rect l="l" t="t" r="r" b="b"/>
              <a:pathLst>
                <a:path w="134619" h="147320">
                  <a:moveTo>
                    <a:pt x="134247" y="0"/>
                  </a:moveTo>
                  <a:lnTo>
                    <a:pt x="113766" y="11821"/>
                  </a:lnTo>
                  <a:lnTo>
                    <a:pt x="113766" y="57610"/>
                  </a:lnTo>
                  <a:lnTo>
                    <a:pt x="0" y="122928"/>
                  </a:lnTo>
                  <a:lnTo>
                    <a:pt x="0" y="147273"/>
                  </a:lnTo>
                  <a:lnTo>
                    <a:pt x="134247" y="70154"/>
                  </a:lnTo>
                  <a:lnTo>
                    <a:pt x="134247" y="0"/>
                  </a:lnTo>
                  <a:close/>
                </a:path>
              </a:pathLst>
            </a:custGeom>
            <a:solidFill>
              <a:srgbClr val="91949E"/>
            </a:solidFill>
          </p:spPr>
          <p:txBody>
            <a:bodyPr wrap="square" lIns="0" tIns="0" rIns="0" bIns="0" rtlCol="0"/>
            <a:lstStyle/>
            <a:p>
              <a:endParaRPr sz="1092" dirty="0"/>
            </a:p>
          </p:txBody>
        </p:sp>
        <p:sp>
          <p:nvSpPr>
            <p:cNvPr id="843" name="object 843"/>
            <p:cNvSpPr/>
            <p:nvPr/>
          </p:nvSpPr>
          <p:spPr>
            <a:xfrm>
              <a:off x="8543467" y="3994577"/>
              <a:ext cx="81634" cy="89335"/>
            </a:xfrm>
            <a:custGeom>
              <a:avLst/>
              <a:gdLst/>
              <a:ahLst/>
              <a:cxnLst/>
              <a:rect l="l" t="t" r="r" b="b"/>
              <a:pathLst>
                <a:path w="134619" h="147320">
                  <a:moveTo>
                    <a:pt x="134247" y="0"/>
                  </a:moveTo>
                  <a:lnTo>
                    <a:pt x="113766" y="11559"/>
                  </a:lnTo>
                  <a:lnTo>
                    <a:pt x="113766" y="57600"/>
                  </a:lnTo>
                  <a:lnTo>
                    <a:pt x="0" y="122928"/>
                  </a:lnTo>
                  <a:lnTo>
                    <a:pt x="0" y="147273"/>
                  </a:lnTo>
                  <a:lnTo>
                    <a:pt x="134247" y="70385"/>
                  </a:lnTo>
                  <a:lnTo>
                    <a:pt x="134247" y="0"/>
                  </a:lnTo>
                  <a:close/>
                </a:path>
              </a:pathLst>
            </a:custGeom>
            <a:solidFill>
              <a:srgbClr val="91949E"/>
            </a:solidFill>
          </p:spPr>
          <p:txBody>
            <a:bodyPr wrap="square" lIns="0" tIns="0" rIns="0" bIns="0" rtlCol="0"/>
            <a:lstStyle/>
            <a:p>
              <a:endParaRPr sz="1092" dirty="0"/>
            </a:p>
          </p:txBody>
        </p:sp>
        <p:sp>
          <p:nvSpPr>
            <p:cNvPr id="844" name="object 844"/>
            <p:cNvSpPr/>
            <p:nvPr/>
          </p:nvSpPr>
          <p:spPr>
            <a:xfrm>
              <a:off x="8543467" y="4079640"/>
              <a:ext cx="81634" cy="89335"/>
            </a:xfrm>
            <a:custGeom>
              <a:avLst/>
              <a:gdLst/>
              <a:ahLst/>
              <a:cxnLst/>
              <a:rect l="l" t="t" r="r" b="b"/>
              <a:pathLst>
                <a:path w="134619" h="147320">
                  <a:moveTo>
                    <a:pt x="134247" y="0"/>
                  </a:moveTo>
                  <a:lnTo>
                    <a:pt x="113766" y="11821"/>
                  </a:lnTo>
                  <a:lnTo>
                    <a:pt x="113766" y="57631"/>
                  </a:lnTo>
                  <a:lnTo>
                    <a:pt x="0" y="122949"/>
                  </a:lnTo>
                  <a:lnTo>
                    <a:pt x="0" y="147293"/>
                  </a:lnTo>
                  <a:lnTo>
                    <a:pt x="134247" y="70154"/>
                  </a:lnTo>
                  <a:lnTo>
                    <a:pt x="134247" y="0"/>
                  </a:lnTo>
                  <a:close/>
                </a:path>
              </a:pathLst>
            </a:custGeom>
            <a:solidFill>
              <a:srgbClr val="91949E"/>
            </a:solidFill>
          </p:spPr>
          <p:txBody>
            <a:bodyPr wrap="square" lIns="0" tIns="0" rIns="0" bIns="0" rtlCol="0"/>
            <a:lstStyle/>
            <a:p>
              <a:endParaRPr sz="1092" dirty="0"/>
            </a:p>
          </p:txBody>
        </p:sp>
        <p:sp>
          <p:nvSpPr>
            <p:cNvPr id="845" name="object 845"/>
            <p:cNvSpPr/>
            <p:nvPr/>
          </p:nvSpPr>
          <p:spPr>
            <a:xfrm>
              <a:off x="8543466" y="4160336"/>
              <a:ext cx="81409" cy="343364"/>
            </a:xfrm>
            <a:prstGeom prst="rect">
              <a:avLst/>
            </a:prstGeom>
            <a:blipFill>
              <a:blip r:embed="rId28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46" name="object 846"/>
            <p:cNvSpPr/>
            <p:nvPr/>
          </p:nvSpPr>
          <p:spPr>
            <a:xfrm>
              <a:off x="8543465" y="4160336"/>
              <a:ext cx="81634" cy="89335"/>
            </a:xfrm>
            <a:custGeom>
              <a:avLst/>
              <a:gdLst/>
              <a:ahLst/>
              <a:cxnLst/>
              <a:rect l="l" t="t" r="r" b="b"/>
              <a:pathLst>
                <a:path w="134619" h="147320">
                  <a:moveTo>
                    <a:pt x="134247" y="0"/>
                  </a:moveTo>
                  <a:lnTo>
                    <a:pt x="113766" y="11559"/>
                  </a:lnTo>
                  <a:lnTo>
                    <a:pt x="113766" y="57369"/>
                  </a:lnTo>
                  <a:lnTo>
                    <a:pt x="0" y="122928"/>
                  </a:lnTo>
                  <a:lnTo>
                    <a:pt x="0" y="147032"/>
                  </a:lnTo>
                  <a:lnTo>
                    <a:pt x="134247" y="70154"/>
                  </a:lnTo>
                  <a:lnTo>
                    <a:pt x="134247" y="0"/>
                  </a:lnTo>
                  <a:close/>
                </a:path>
              </a:pathLst>
            </a:custGeom>
            <a:solidFill>
              <a:srgbClr val="91949E"/>
            </a:solidFill>
          </p:spPr>
          <p:txBody>
            <a:bodyPr wrap="square" lIns="0" tIns="0" rIns="0" bIns="0" rtlCol="0"/>
            <a:lstStyle/>
            <a:p>
              <a:endParaRPr sz="1092" dirty="0"/>
            </a:p>
          </p:txBody>
        </p:sp>
        <p:sp>
          <p:nvSpPr>
            <p:cNvPr id="847" name="object 847"/>
            <p:cNvSpPr/>
            <p:nvPr/>
          </p:nvSpPr>
          <p:spPr>
            <a:xfrm>
              <a:off x="8543467" y="4249637"/>
              <a:ext cx="81634" cy="89335"/>
            </a:xfrm>
            <a:custGeom>
              <a:avLst/>
              <a:gdLst/>
              <a:ahLst/>
              <a:cxnLst/>
              <a:rect l="l" t="t" r="r" b="b"/>
              <a:pathLst>
                <a:path w="134619" h="147320">
                  <a:moveTo>
                    <a:pt x="134247" y="0"/>
                  </a:moveTo>
                  <a:lnTo>
                    <a:pt x="113766" y="11821"/>
                  </a:lnTo>
                  <a:lnTo>
                    <a:pt x="113766" y="57862"/>
                  </a:lnTo>
                  <a:lnTo>
                    <a:pt x="0" y="122959"/>
                  </a:lnTo>
                  <a:lnTo>
                    <a:pt x="0" y="147293"/>
                  </a:lnTo>
                  <a:lnTo>
                    <a:pt x="134247" y="70385"/>
                  </a:lnTo>
                  <a:lnTo>
                    <a:pt x="134247" y="0"/>
                  </a:lnTo>
                  <a:close/>
                </a:path>
              </a:pathLst>
            </a:custGeom>
            <a:solidFill>
              <a:srgbClr val="91949E"/>
            </a:solidFill>
          </p:spPr>
          <p:txBody>
            <a:bodyPr wrap="square" lIns="0" tIns="0" rIns="0" bIns="0" rtlCol="0"/>
            <a:lstStyle/>
            <a:p>
              <a:endParaRPr sz="1092" dirty="0"/>
            </a:p>
          </p:txBody>
        </p:sp>
        <p:sp>
          <p:nvSpPr>
            <p:cNvPr id="848" name="object 848"/>
            <p:cNvSpPr/>
            <p:nvPr/>
          </p:nvSpPr>
          <p:spPr>
            <a:xfrm>
              <a:off x="8543467" y="4329305"/>
              <a:ext cx="81634" cy="89335"/>
            </a:xfrm>
            <a:custGeom>
              <a:avLst/>
              <a:gdLst/>
              <a:ahLst/>
              <a:cxnLst/>
              <a:rect l="l" t="t" r="r" b="b"/>
              <a:pathLst>
                <a:path w="134619" h="147320">
                  <a:moveTo>
                    <a:pt x="134247" y="0"/>
                  </a:moveTo>
                  <a:lnTo>
                    <a:pt x="113766" y="11821"/>
                  </a:lnTo>
                  <a:lnTo>
                    <a:pt x="113766" y="57862"/>
                  </a:lnTo>
                  <a:lnTo>
                    <a:pt x="0" y="122959"/>
                  </a:lnTo>
                  <a:lnTo>
                    <a:pt x="0" y="147293"/>
                  </a:lnTo>
                  <a:lnTo>
                    <a:pt x="134247" y="70385"/>
                  </a:lnTo>
                  <a:lnTo>
                    <a:pt x="134247" y="0"/>
                  </a:lnTo>
                  <a:close/>
                </a:path>
              </a:pathLst>
            </a:custGeom>
            <a:solidFill>
              <a:srgbClr val="91949E"/>
            </a:solidFill>
          </p:spPr>
          <p:txBody>
            <a:bodyPr wrap="square" lIns="0" tIns="0" rIns="0" bIns="0" rtlCol="0"/>
            <a:lstStyle/>
            <a:p>
              <a:endParaRPr sz="1092" dirty="0"/>
            </a:p>
          </p:txBody>
        </p:sp>
        <p:sp>
          <p:nvSpPr>
            <p:cNvPr id="849" name="object 849"/>
            <p:cNvSpPr/>
            <p:nvPr/>
          </p:nvSpPr>
          <p:spPr>
            <a:xfrm>
              <a:off x="8543467" y="4414525"/>
              <a:ext cx="81634" cy="89335"/>
            </a:xfrm>
            <a:custGeom>
              <a:avLst/>
              <a:gdLst/>
              <a:ahLst/>
              <a:cxnLst/>
              <a:rect l="l" t="t" r="r" b="b"/>
              <a:pathLst>
                <a:path w="134619" h="147320">
                  <a:moveTo>
                    <a:pt x="134247" y="0"/>
                  </a:moveTo>
                  <a:lnTo>
                    <a:pt x="113766" y="11821"/>
                  </a:lnTo>
                  <a:lnTo>
                    <a:pt x="113766" y="57610"/>
                  </a:lnTo>
                  <a:lnTo>
                    <a:pt x="0" y="122959"/>
                  </a:lnTo>
                  <a:lnTo>
                    <a:pt x="0" y="147063"/>
                  </a:lnTo>
                  <a:lnTo>
                    <a:pt x="134247" y="70395"/>
                  </a:lnTo>
                  <a:lnTo>
                    <a:pt x="134247" y="0"/>
                  </a:lnTo>
                  <a:close/>
                </a:path>
              </a:pathLst>
            </a:custGeom>
            <a:solidFill>
              <a:srgbClr val="91949E"/>
            </a:solidFill>
          </p:spPr>
          <p:txBody>
            <a:bodyPr wrap="square" lIns="0" tIns="0" rIns="0" bIns="0" rtlCol="0"/>
            <a:lstStyle/>
            <a:p>
              <a:endParaRPr sz="1092" dirty="0"/>
            </a:p>
          </p:txBody>
        </p:sp>
        <p:sp>
          <p:nvSpPr>
            <p:cNvPr id="850" name="object 850"/>
            <p:cNvSpPr/>
            <p:nvPr/>
          </p:nvSpPr>
          <p:spPr>
            <a:xfrm>
              <a:off x="8301105" y="3894156"/>
              <a:ext cx="204201" cy="248337"/>
            </a:xfrm>
            <a:prstGeom prst="rect">
              <a:avLst/>
            </a:prstGeom>
            <a:blipFill>
              <a:blip r:embed="rId28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51" name="object 851"/>
            <p:cNvSpPr/>
            <p:nvPr/>
          </p:nvSpPr>
          <p:spPr>
            <a:xfrm>
              <a:off x="8301107" y="3900293"/>
              <a:ext cx="193302" cy="224493"/>
            </a:xfrm>
            <a:custGeom>
              <a:avLst/>
              <a:gdLst/>
              <a:ahLst/>
              <a:cxnLst/>
              <a:rect l="l" t="t" r="r" b="b"/>
              <a:pathLst>
                <a:path w="318769" h="370204">
                  <a:moveTo>
                    <a:pt x="318430" y="0"/>
                  </a:moveTo>
                  <a:lnTo>
                    <a:pt x="295289" y="13256"/>
                  </a:lnTo>
                  <a:lnTo>
                    <a:pt x="295519" y="173565"/>
                  </a:lnTo>
                  <a:lnTo>
                    <a:pt x="0" y="342764"/>
                  </a:lnTo>
                  <a:lnTo>
                    <a:pt x="0" y="370009"/>
                  </a:lnTo>
                  <a:lnTo>
                    <a:pt x="318660" y="187544"/>
                  </a:lnTo>
                  <a:lnTo>
                    <a:pt x="318430" y="0"/>
                  </a:lnTo>
                  <a:close/>
                </a:path>
              </a:pathLst>
            </a:custGeom>
            <a:solidFill>
              <a:srgbClr val="91949E"/>
            </a:solidFill>
          </p:spPr>
          <p:txBody>
            <a:bodyPr wrap="square" lIns="0" tIns="0" rIns="0" bIns="0" rtlCol="0"/>
            <a:lstStyle/>
            <a:p>
              <a:endParaRPr sz="1092" dirty="0"/>
            </a:p>
          </p:txBody>
        </p:sp>
        <p:sp>
          <p:nvSpPr>
            <p:cNvPr id="852" name="object 852"/>
            <p:cNvSpPr/>
            <p:nvPr/>
          </p:nvSpPr>
          <p:spPr>
            <a:xfrm>
              <a:off x="8301111" y="3894156"/>
              <a:ext cx="204469" cy="248367"/>
            </a:xfrm>
            <a:custGeom>
              <a:avLst/>
              <a:gdLst/>
              <a:ahLst/>
              <a:cxnLst/>
              <a:rect l="l" t="t" r="r" b="b"/>
              <a:pathLst>
                <a:path w="337184" h="409575">
                  <a:moveTo>
                    <a:pt x="336502" y="0"/>
                  </a:moveTo>
                  <a:lnTo>
                    <a:pt x="318419" y="10125"/>
                  </a:lnTo>
                  <a:lnTo>
                    <a:pt x="318660" y="197669"/>
                  </a:lnTo>
                  <a:lnTo>
                    <a:pt x="0" y="380124"/>
                  </a:lnTo>
                  <a:lnTo>
                    <a:pt x="0" y="409526"/>
                  </a:lnTo>
                  <a:lnTo>
                    <a:pt x="318419" y="227071"/>
                  </a:lnTo>
                  <a:lnTo>
                    <a:pt x="336733" y="216946"/>
                  </a:lnTo>
                  <a:lnTo>
                    <a:pt x="336502" y="0"/>
                  </a:lnTo>
                  <a:close/>
                </a:path>
              </a:pathLst>
            </a:custGeom>
            <a:solidFill>
              <a:srgbClr val="CAC4C4"/>
            </a:solidFill>
          </p:spPr>
          <p:txBody>
            <a:bodyPr wrap="square" lIns="0" tIns="0" rIns="0" bIns="0" rtlCol="0"/>
            <a:lstStyle/>
            <a:p>
              <a:endParaRPr sz="1092" dirty="0"/>
            </a:p>
          </p:txBody>
        </p:sp>
        <p:sp>
          <p:nvSpPr>
            <p:cNvPr id="853" name="object 853"/>
            <p:cNvSpPr/>
            <p:nvPr/>
          </p:nvSpPr>
          <p:spPr>
            <a:xfrm>
              <a:off x="8300965" y="4057715"/>
              <a:ext cx="204341" cy="247912"/>
            </a:xfrm>
            <a:prstGeom prst="rect">
              <a:avLst/>
            </a:prstGeom>
            <a:blipFill>
              <a:blip r:embed="rId28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54" name="object 854"/>
            <p:cNvSpPr/>
            <p:nvPr/>
          </p:nvSpPr>
          <p:spPr>
            <a:xfrm>
              <a:off x="8300961" y="4064153"/>
              <a:ext cx="193687" cy="223723"/>
            </a:xfrm>
            <a:custGeom>
              <a:avLst/>
              <a:gdLst/>
              <a:ahLst/>
              <a:cxnLst/>
              <a:rect l="l" t="t" r="r" b="b"/>
              <a:pathLst>
                <a:path w="319405" h="368934">
                  <a:moveTo>
                    <a:pt x="318670" y="0"/>
                  </a:moveTo>
                  <a:lnTo>
                    <a:pt x="295530" y="12784"/>
                  </a:lnTo>
                  <a:lnTo>
                    <a:pt x="295760" y="172832"/>
                  </a:lnTo>
                  <a:lnTo>
                    <a:pt x="0" y="341570"/>
                  </a:lnTo>
                  <a:lnTo>
                    <a:pt x="0" y="368805"/>
                  </a:lnTo>
                  <a:lnTo>
                    <a:pt x="295530" y="199836"/>
                  </a:lnTo>
                  <a:lnTo>
                    <a:pt x="318901" y="187051"/>
                  </a:lnTo>
                  <a:lnTo>
                    <a:pt x="318670" y="0"/>
                  </a:lnTo>
                  <a:close/>
                </a:path>
              </a:pathLst>
            </a:custGeom>
            <a:solidFill>
              <a:srgbClr val="91949E"/>
            </a:solidFill>
          </p:spPr>
          <p:txBody>
            <a:bodyPr wrap="square" lIns="0" tIns="0" rIns="0" bIns="0" rtlCol="0"/>
            <a:lstStyle/>
            <a:p>
              <a:endParaRPr sz="1092" dirty="0"/>
            </a:p>
          </p:txBody>
        </p:sp>
        <p:sp>
          <p:nvSpPr>
            <p:cNvPr id="855" name="object 855"/>
            <p:cNvSpPr/>
            <p:nvPr/>
          </p:nvSpPr>
          <p:spPr>
            <a:xfrm>
              <a:off x="8300965" y="4057715"/>
              <a:ext cx="204469" cy="247982"/>
            </a:xfrm>
            <a:custGeom>
              <a:avLst/>
              <a:gdLst/>
              <a:ahLst/>
              <a:cxnLst/>
              <a:rect l="l" t="t" r="r" b="b"/>
              <a:pathLst>
                <a:path w="337184" h="408940">
                  <a:moveTo>
                    <a:pt x="336743" y="0"/>
                  </a:moveTo>
                  <a:lnTo>
                    <a:pt x="318660" y="10617"/>
                  </a:lnTo>
                  <a:lnTo>
                    <a:pt x="318901" y="197669"/>
                  </a:lnTo>
                  <a:lnTo>
                    <a:pt x="295519" y="210454"/>
                  </a:lnTo>
                  <a:lnTo>
                    <a:pt x="0" y="379423"/>
                  </a:lnTo>
                  <a:lnTo>
                    <a:pt x="0" y="408825"/>
                  </a:lnTo>
                  <a:lnTo>
                    <a:pt x="295519" y="240086"/>
                  </a:lnTo>
                  <a:lnTo>
                    <a:pt x="318660" y="226600"/>
                  </a:lnTo>
                  <a:lnTo>
                    <a:pt x="336974" y="216715"/>
                  </a:lnTo>
                  <a:lnTo>
                    <a:pt x="336743" y="0"/>
                  </a:lnTo>
                  <a:close/>
                </a:path>
              </a:pathLst>
            </a:custGeom>
            <a:solidFill>
              <a:srgbClr val="CAC4C4"/>
            </a:solidFill>
          </p:spPr>
          <p:txBody>
            <a:bodyPr wrap="square" lIns="0" tIns="0" rIns="0" bIns="0" rtlCol="0"/>
            <a:lstStyle/>
            <a:p>
              <a:endParaRPr sz="1092" dirty="0"/>
            </a:p>
          </p:txBody>
        </p:sp>
        <p:sp>
          <p:nvSpPr>
            <p:cNvPr id="856" name="object 856"/>
            <p:cNvSpPr/>
            <p:nvPr/>
          </p:nvSpPr>
          <p:spPr>
            <a:xfrm>
              <a:off x="8049827" y="3868580"/>
              <a:ext cx="251136" cy="273913"/>
            </a:xfrm>
            <a:prstGeom prst="rect">
              <a:avLst/>
            </a:prstGeom>
            <a:blipFill>
              <a:blip r:embed="rId29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57" name="object 857"/>
            <p:cNvSpPr/>
            <p:nvPr/>
          </p:nvSpPr>
          <p:spPr>
            <a:xfrm>
              <a:off x="8060790" y="3874853"/>
              <a:ext cx="240280" cy="249907"/>
            </a:xfrm>
            <a:custGeom>
              <a:avLst/>
              <a:gdLst/>
              <a:ahLst/>
              <a:cxnLst/>
              <a:rect l="l" t="t" r="r" b="b"/>
              <a:pathLst>
                <a:path w="396240" h="412115">
                  <a:moveTo>
                    <a:pt x="0" y="0"/>
                  </a:moveTo>
                  <a:lnTo>
                    <a:pt x="0" y="187051"/>
                  </a:lnTo>
                  <a:lnTo>
                    <a:pt x="396061" y="411956"/>
                  </a:lnTo>
                  <a:lnTo>
                    <a:pt x="396061" y="384721"/>
                  </a:lnTo>
                  <a:lnTo>
                    <a:pt x="23140" y="173073"/>
                  </a:lnTo>
                  <a:lnTo>
                    <a:pt x="23140" y="13025"/>
                  </a:lnTo>
                  <a:lnTo>
                    <a:pt x="0" y="0"/>
                  </a:lnTo>
                  <a:close/>
                </a:path>
              </a:pathLst>
            </a:custGeom>
            <a:solidFill>
              <a:srgbClr val="B9BCC6"/>
            </a:solidFill>
          </p:spPr>
          <p:txBody>
            <a:bodyPr wrap="square" lIns="0" tIns="0" rIns="0" bIns="0" rtlCol="0"/>
            <a:lstStyle/>
            <a:p>
              <a:endParaRPr sz="1092" dirty="0"/>
            </a:p>
          </p:txBody>
        </p:sp>
        <p:sp>
          <p:nvSpPr>
            <p:cNvPr id="858" name="object 858"/>
            <p:cNvSpPr/>
            <p:nvPr/>
          </p:nvSpPr>
          <p:spPr>
            <a:xfrm>
              <a:off x="8049831" y="3868577"/>
              <a:ext cx="251447" cy="274166"/>
            </a:xfrm>
            <a:custGeom>
              <a:avLst/>
              <a:gdLst/>
              <a:ahLst/>
              <a:cxnLst/>
              <a:rect l="l" t="t" r="r" b="b"/>
              <a:pathLst>
                <a:path w="414655" h="452120">
                  <a:moveTo>
                    <a:pt x="230" y="0"/>
                  </a:moveTo>
                  <a:lnTo>
                    <a:pt x="0" y="216454"/>
                  </a:lnTo>
                  <a:lnTo>
                    <a:pt x="414133" y="451703"/>
                  </a:lnTo>
                  <a:lnTo>
                    <a:pt x="414133" y="422311"/>
                  </a:lnTo>
                  <a:lnTo>
                    <a:pt x="18072" y="197407"/>
                  </a:lnTo>
                  <a:lnTo>
                    <a:pt x="18072" y="10355"/>
                  </a:lnTo>
                  <a:lnTo>
                    <a:pt x="230" y="0"/>
                  </a:lnTo>
                  <a:close/>
                </a:path>
              </a:pathLst>
            </a:custGeom>
            <a:solidFill>
              <a:srgbClr val="F7F1F1"/>
            </a:solidFill>
          </p:spPr>
          <p:txBody>
            <a:bodyPr wrap="square" lIns="0" tIns="0" rIns="0" bIns="0" rtlCol="0"/>
            <a:lstStyle/>
            <a:p>
              <a:endParaRPr sz="1092" dirty="0"/>
            </a:p>
          </p:txBody>
        </p:sp>
        <p:sp>
          <p:nvSpPr>
            <p:cNvPr id="859" name="object 859"/>
            <p:cNvSpPr/>
            <p:nvPr/>
          </p:nvSpPr>
          <p:spPr>
            <a:xfrm>
              <a:off x="8049828" y="4031852"/>
              <a:ext cx="251135" cy="273932"/>
            </a:xfrm>
            <a:prstGeom prst="rect">
              <a:avLst/>
            </a:prstGeom>
            <a:blipFill>
              <a:blip r:embed="rId29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60" name="object 860"/>
            <p:cNvSpPr/>
            <p:nvPr/>
          </p:nvSpPr>
          <p:spPr>
            <a:xfrm>
              <a:off x="8060794" y="4038131"/>
              <a:ext cx="240280" cy="249907"/>
            </a:xfrm>
            <a:custGeom>
              <a:avLst/>
              <a:gdLst/>
              <a:ahLst/>
              <a:cxnLst/>
              <a:rect l="l" t="t" r="r" b="b"/>
              <a:pathLst>
                <a:path w="396240" h="412115">
                  <a:moveTo>
                    <a:pt x="0" y="0"/>
                  </a:moveTo>
                  <a:lnTo>
                    <a:pt x="0" y="186821"/>
                  </a:lnTo>
                  <a:lnTo>
                    <a:pt x="396061" y="411956"/>
                  </a:lnTo>
                  <a:lnTo>
                    <a:pt x="396061" y="384721"/>
                  </a:lnTo>
                  <a:lnTo>
                    <a:pt x="22899" y="172832"/>
                  </a:lnTo>
                  <a:lnTo>
                    <a:pt x="23130" y="13015"/>
                  </a:lnTo>
                  <a:lnTo>
                    <a:pt x="0" y="0"/>
                  </a:lnTo>
                  <a:close/>
                </a:path>
              </a:pathLst>
            </a:custGeom>
            <a:solidFill>
              <a:srgbClr val="B9BCC6"/>
            </a:solidFill>
          </p:spPr>
          <p:txBody>
            <a:bodyPr wrap="square" lIns="0" tIns="0" rIns="0" bIns="0" rtlCol="0"/>
            <a:lstStyle/>
            <a:p>
              <a:endParaRPr sz="1092" dirty="0"/>
            </a:p>
          </p:txBody>
        </p:sp>
        <p:sp>
          <p:nvSpPr>
            <p:cNvPr id="861" name="object 861"/>
            <p:cNvSpPr/>
            <p:nvPr/>
          </p:nvSpPr>
          <p:spPr>
            <a:xfrm>
              <a:off x="8049831" y="4031852"/>
              <a:ext cx="251447" cy="274166"/>
            </a:xfrm>
            <a:custGeom>
              <a:avLst/>
              <a:gdLst/>
              <a:ahLst/>
              <a:cxnLst/>
              <a:rect l="l" t="t" r="r" b="b"/>
              <a:pathLst>
                <a:path w="414655" h="452120">
                  <a:moveTo>
                    <a:pt x="0" y="0"/>
                  </a:moveTo>
                  <a:lnTo>
                    <a:pt x="0" y="216454"/>
                  </a:lnTo>
                  <a:lnTo>
                    <a:pt x="414133" y="451734"/>
                  </a:lnTo>
                  <a:lnTo>
                    <a:pt x="414133" y="422311"/>
                  </a:lnTo>
                  <a:lnTo>
                    <a:pt x="18072" y="197166"/>
                  </a:lnTo>
                  <a:lnTo>
                    <a:pt x="18072" y="10355"/>
                  </a:lnTo>
                  <a:lnTo>
                    <a:pt x="0" y="0"/>
                  </a:lnTo>
                  <a:close/>
                </a:path>
              </a:pathLst>
            </a:custGeom>
            <a:solidFill>
              <a:srgbClr val="F7F1F1"/>
            </a:solidFill>
          </p:spPr>
          <p:txBody>
            <a:bodyPr wrap="square" lIns="0" tIns="0" rIns="0" bIns="0" rtlCol="0"/>
            <a:lstStyle/>
            <a:p>
              <a:endParaRPr sz="1092" dirty="0"/>
            </a:p>
          </p:txBody>
        </p:sp>
        <p:sp>
          <p:nvSpPr>
            <p:cNvPr id="862" name="object 862"/>
            <p:cNvSpPr/>
            <p:nvPr/>
          </p:nvSpPr>
          <p:spPr>
            <a:xfrm>
              <a:off x="8301105" y="4217633"/>
              <a:ext cx="204202" cy="248496"/>
            </a:xfrm>
            <a:prstGeom prst="rect">
              <a:avLst/>
            </a:prstGeom>
            <a:blipFill>
              <a:blip r:embed="rId29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63" name="object 863"/>
            <p:cNvSpPr/>
            <p:nvPr/>
          </p:nvSpPr>
          <p:spPr>
            <a:xfrm>
              <a:off x="8301107" y="4223917"/>
              <a:ext cx="193302" cy="224493"/>
            </a:xfrm>
            <a:custGeom>
              <a:avLst/>
              <a:gdLst/>
              <a:ahLst/>
              <a:cxnLst/>
              <a:rect l="l" t="t" r="r" b="b"/>
              <a:pathLst>
                <a:path w="318769" h="370204">
                  <a:moveTo>
                    <a:pt x="318430" y="0"/>
                  </a:moveTo>
                  <a:lnTo>
                    <a:pt x="295289" y="13256"/>
                  </a:lnTo>
                  <a:lnTo>
                    <a:pt x="295519" y="173565"/>
                  </a:lnTo>
                  <a:lnTo>
                    <a:pt x="0" y="342534"/>
                  </a:lnTo>
                  <a:lnTo>
                    <a:pt x="0" y="369768"/>
                  </a:lnTo>
                  <a:lnTo>
                    <a:pt x="318660" y="187544"/>
                  </a:lnTo>
                  <a:lnTo>
                    <a:pt x="318430" y="0"/>
                  </a:lnTo>
                  <a:close/>
                </a:path>
              </a:pathLst>
            </a:custGeom>
            <a:solidFill>
              <a:srgbClr val="91949E"/>
            </a:solidFill>
          </p:spPr>
          <p:txBody>
            <a:bodyPr wrap="square" lIns="0" tIns="0" rIns="0" bIns="0" rtlCol="0"/>
            <a:lstStyle/>
            <a:p>
              <a:endParaRPr sz="1092" dirty="0"/>
            </a:p>
          </p:txBody>
        </p:sp>
        <p:sp>
          <p:nvSpPr>
            <p:cNvPr id="864" name="object 864"/>
            <p:cNvSpPr/>
            <p:nvPr/>
          </p:nvSpPr>
          <p:spPr>
            <a:xfrm>
              <a:off x="8301111" y="4217637"/>
              <a:ext cx="204469" cy="248751"/>
            </a:xfrm>
            <a:custGeom>
              <a:avLst/>
              <a:gdLst/>
              <a:ahLst/>
              <a:cxnLst/>
              <a:rect l="l" t="t" r="r" b="b"/>
              <a:pathLst>
                <a:path w="337184" h="410209">
                  <a:moveTo>
                    <a:pt x="336502" y="0"/>
                  </a:moveTo>
                  <a:lnTo>
                    <a:pt x="318419" y="10355"/>
                  </a:lnTo>
                  <a:lnTo>
                    <a:pt x="318660" y="197899"/>
                  </a:lnTo>
                  <a:lnTo>
                    <a:pt x="0" y="380124"/>
                  </a:lnTo>
                  <a:lnTo>
                    <a:pt x="0" y="409788"/>
                  </a:lnTo>
                  <a:lnTo>
                    <a:pt x="295278" y="240558"/>
                  </a:lnTo>
                  <a:lnTo>
                    <a:pt x="318419" y="227542"/>
                  </a:lnTo>
                  <a:lnTo>
                    <a:pt x="336733" y="216946"/>
                  </a:lnTo>
                  <a:lnTo>
                    <a:pt x="336502" y="0"/>
                  </a:lnTo>
                  <a:close/>
                </a:path>
              </a:pathLst>
            </a:custGeom>
            <a:solidFill>
              <a:srgbClr val="CAC4C4"/>
            </a:solidFill>
          </p:spPr>
          <p:txBody>
            <a:bodyPr wrap="square" lIns="0" tIns="0" rIns="0" bIns="0" rtlCol="0"/>
            <a:lstStyle/>
            <a:p>
              <a:endParaRPr sz="1092" dirty="0"/>
            </a:p>
          </p:txBody>
        </p:sp>
        <p:sp>
          <p:nvSpPr>
            <p:cNvPr id="865" name="object 865"/>
            <p:cNvSpPr/>
            <p:nvPr/>
          </p:nvSpPr>
          <p:spPr>
            <a:xfrm>
              <a:off x="8300965" y="4381358"/>
              <a:ext cx="204341" cy="247746"/>
            </a:xfrm>
            <a:prstGeom prst="rect">
              <a:avLst/>
            </a:prstGeom>
            <a:blipFill>
              <a:blip r:embed="rId29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66" name="object 866"/>
            <p:cNvSpPr/>
            <p:nvPr/>
          </p:nvSpPr>
          <p:spPr>
            <a:xfrm>
              <a:off x="8300961" y="4387634"/>
              <a:ext cx="193687" cy="223723"/>
            </a:xfrm>
            <a:custGeom>
              <a:avLst/>
              <a:gdLst/>
              <a:ahLst/>
              <a:cxnLst/>
              <a:rect l="l" t="t" r="r" b="b"/>
              <a:pathLst>
                <a:path w="319405" h="368934">
                  <a:moveTo>
                    <a:pt x="318670" y="0"/>
                  </a:moveTo>
                  <a:lnTo>
                    <a:pt x="295530" y="13015"/>
                  </a:lnTo>
                  <a:lnTo>
                    <a:pt x="295760" y="173062"/>
                  </a:lnTo>
                  <a:lnTo>
                    <a:pt x="0" y="341801"/>
                  </a:lnTo>
                  <a:lnTo>
                    <a:pt x="0" y="368805"/>
                  </a:lnTo>
                  <a:lnTo>
                    <a:pt x="295530" y="200067"/>
                  </a:lnTo>
                  <a:lnTo>
                    <a:pt x="318901" y="187051"/>
                  </a:lnTo>
                  <a:lnTo>
                    <a:pt x="318670" y="0"/>
                  </a:lnTo>
                  <a:close/>
                </a:path>
              </a:pathLst>
            </a:custGeom>
            <a:solidFill>
              <a:srgbClr val="91949E"/>
            </a:solidFill>
          </p:spPr>
          <p:txBody>
            <a:bodyPr wrap="square" lIns="0" tIns="0" rIns="0" bIns="0" rtlCol="0"/>
            <a:lstStyle/>
            <a:p>
              <a:endParaRPr sz="1092" dirty="0"/>
            </a:p>
          </p:txBody>
        </p:sp>
        <p:sp>
          <p:nvSpPr>
            <p:cNvPr id="867" name="object 867"/>
            <p:cNvSpPr/>
            <p:nvPr/>
          </p:nvSpPr>
          <p:spPr>
            <a:xfrm>
              <a:off x="8300965" y="4381355"/>
              <a:ext cx="204469" cy="247982"/>
            </a:xfrm>
            <a:custGeom>
              <a:avLst/>
              <a:gdLst/>
              <a:ahLst/>
              <a:cxnLst/>
              <a:rect l="l" t="t" r="r" b="b"/>
              <a:pathLst>
                <a:path w="337184" h="408940">
                  <a:moveTo>
                    <a:pt x="336743" y="0"/>
                  </a:moveTo>
                  <a:lnTo>
                    <a:pt x="318660" y="10355"/>
                  </a:lnTo>
                  <a:lnTo>
                    <a:pt x="318901" y="197407"/>
                  </a:lnTo>
                  <a:lnTo>
                    <a:pt x="295519" y="210422"/>
                  </a:lnTo>
                  <a:lnTo>
                    <a:pt x="0" y="379161"/>
                  </a:lnTo>
                  <a:lnTo>
                    <a:pt x="0" y="408563"/>
                  </a:lnTo>
                  <a:lnTo>
                    <a:pt x="318660" y="226579"/>
                  </a:lnTo>
                  <a:lnTo>
                    <a:pt x="336974" y="216454"/>
                  </a:lnTo>
                  <a:lnTo>
                    <a:pt x="336743" y="0"/>
                  </a:lnTo>
                  <a:close/>
                </a:path>
              </a:pathLst>
            </a:custGeom>
            <a:solidFill>
              <a:srgbClr val="CAC4C4"/>
            </a:solidFill>
          </p:spPr>
          <p:txBody>
            <a:bodyPr wrap="square" lIns="0" tIns="0" rIns="0" bIns="0" rtlCol="0"/>
            <a:lstStyle/>
            <a:p>
              <a:endParaRPr sz="1092" dirty="0"/>
            </a:p>
          </p:txBody>
        </p:sp>
        <p:sp>
          <p:nvSpPr>
            <p:cNvPr id="868" name="object 868"/>
            <p:cNvSpPr/>
            <p:nvPr/>
          </p:nvSpPr>
          <p:spPr>
            <a:xfrm>
              <a:off x="8049827" y="4192204"/>
              <a:ext cx="251137" cy="273926"/>
            </a:xfrm>
            <a:prstGeom prst="rect">
              <a:avLst/>
            </a:prstGeom>
            <a:blipFill>
              <a:blip r:embed="rId29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69" name="object 869"/>
            <p:cNvSpPr/>
            <p:nvPr/>
          </p:nvSpPr>
          <p:spPr>
            <a:xfrm>
              <a:off x="8060790" y="4198478"/>
              <a:ext cx="240280" cy="249907"/>
            </a:xfrm>
            <a:custGeom>
              <a:avLst/>
              <a:gdLst/>
              <a:ahLst/>
              <a:cxnLst/>
              <a:rect l="l" t="t" r="r" b="b"/>
              <a:pathLst>
                <a:path w="396240" h="412115">
                  <a:moveTo>
                    <a:pt x="0" y="0"/>
                  </a:moveTo>
                  <a:lnTo>
                    <a:pt x="0" y="187072"/>
                  </a:lnTo>
                  <a:lnTo>
                    <a:pt x="23140" y="199836"/>
                  </a:lnTo>
                  <a:lnTo>
                    <a:pt x="396061" y="411725"/>
                  </a:lnTo>
                  <a:lnTo>
                    <a:pt x="396061" y="384480"/>
                  </a:lnTo>
                  <a:lnTo>
                    <a:pt x="23140" y="173094"/>
                  </a:lnTo>
                  <a:lnTo>
                    <a:pt x="23140" y="12784"/>
                  </a:lnTo>
                  <a:lnTo>
                    <a:pt x="0" y="0"/>
                  </a:lnTo>
                  <a:close/>
                </a:path>
              </a:pathLst>
            </a:custGeom>
            <a:solidFill>
              <a:srgbClr val="B9BCC6"/>
            </a:solidFill>
          </p:spPr>
          <p:txBody>
            <a:bodyPr wrap="square" lIns="0" tIns="0" rIns="0" bIns="0" rtlCol="0"/>
            <a:lstStyle/>
            <a:p>
              <a:endParaRPr sz="1092" dirty="0"/>
            </a:p>
          </p:txBody>
        </p:sp>
        <p:sp>
          <p:nvSpPr>
            <p:cNvPr id="870" name="object 870"/>
            <p:cNvSpPr/>
            <p:nvPr/>
          </p:nvSpPr>
          <p:spPr>
            <a:xfrm>
              <a:off x="8049831" y="4192199"/>
              <a:ext cx="251447" cy="274166"/>
            </a:xfrm>
            <a:custGeom>
              <a:avLst/>
              <a:gdLst/>
              <a:ahLst/>
              <a:cxnLst/>
              <a:rect l="l" t="t" r="r" b="b"/>
              <a:pathLst>
                <a:path w="414655" h="452120">
                  <a:moveTo>
                    <a:pt x="230" y="0"/>
                  </a:moveTo>
                  <a:lnTo>
                    <a:pt x="0" y="216475"/>
                  </a:lnTo>
                  <a:lnTo>
                    <a:pt x="414133" y="451734"/>
                  </a:lnTo>
                  <a:lnTo>
                    <a:pt x="414133" y="422081"/>
                  </a:lnTo>
                  <a:lnTo>
                    <a:pt x="41213" y="210192"/>
                  </a:lnTo>
                  <a:lnTo>
                    <a:pt x="18072" y="197428"/>
                  </a:lnTo>
                  <a:lnTo>
                    <a:pt x="18072" y="10355"/>
                  </a:lnTo>
                  <a:lnTo>
                    <a:pt x="230" y="0"/>
                  </a:lnTo>
                  <a:close/>
                </a:path>
              </a:pathLst>
            </a:custGeom>
            <a:solidFill>
              <a:srgbClr val="F7F1F1"/>
            </a:solidFill>
          </p:spPr>
          <p:txBody>
            <a:bodyPr wrap="square" lIns="0" tIns="0" rIns="0" bIns="0" rtlCol="0"/>
            <a:lstStyle/>
            <a:p>
              <a:endParaRPr sz="1092" dirty="0"/>
            </a:p>
          </p:txBody>
        </p:sp>
        <p:sp>
          <p:nvSpPr>
            <p:cNvPr id="871" name="object 871"/>
            <p:cNvSpPr/>
            <p:nvPr/>
          </p:nvSpPr>
          <p:spPr>
            <a:xfrm>
              <a:off x="8049828" y="4355617"/>
              <a:ext cx="251136" cy="273792"/>
            </a:xfrm>
            <a:prstGeom prst="rect">
              <a:avLst/>
            </a:prstGeom>
            <a:blipFill>
              <a:blip r:embed="rId29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72" name="object 872"/>
            <p:cNvSpPr/>
            <p:nvPr/>
          </p:nvSpPr>
          <p:spPr>
            <a:xfrm>
              <a:off x="8060794" y="4361616"/>
              <a:ext cx="240280" cy="250292"/>
            </a:xfrm>
            <a:custGeom>
              <a:avLst/>
              <a:gdLst/>
              <a:ahLst/>
              <a:cxnLst/>
              <a:rect l="l" t="t" r="r" b="b"/>
              <a:pathLst>
                <a:path w="396240" h="412750">
                  <a:moveTo>
                    <a:pt x="0" y="0"/>
                  </a:moveTo>
                  <a:lnTo>
                    <a:pt x="0" y="187041"/>
                  </a:lnTo>
                  <a:lnTo>
                    <a:pt x="396061" y="412207"/>
                  </a:lnTo>
                  <a:lnTo>
                    <a:pt x="396061" y="384972"/>
                  </a:lnTo>
                  <a:lnTo>
                    <a:pt x="22899" y="173083"/>
                  </a:lnTo>
                  <a:lnTo>
                    <a:pt x="23130" y="13245"/>
                  </a:lnTo>
                  <a:lnTo>
                    <a:pt x="0" y="0"/>
                  </a:lnTo>
                  <a:close/>
                </a:path>
              </a:pathLst>
            </a:custGeom>
            <a:solidFill>
              <a:srgbClr val="B9BCC6"/>
            </a:solidFill>
          </p:spPr>
          <p:txBody>
            <a:bodyPr wrap="square" lIns="0" tIns="0" rIns="0" bIns="0" rtlCol="0"/>
            <a:lstStyle/>
            <a:p>
              <a:endParaRPr sz="1092" dirty="0"/>
            </a:p>
          </p:txBody>
        </p:sp>
        <p:sp>
          <p:nvSpPr>
            <p:cNvPr id="873" name="object 873"/>
            <p:cNvSpPr/>
            <p:nvPr/>
          </p:nvSpPr>
          <p:spPr>
            <a:xfrm>
              <a:off x="8049831" y="4355617"/>
              <a:ext cx="251447" cy="274166"/>
            </a:xfrm>
            <a:custGeom>
              <a:avLst/>
              <a:gdLst/>
              <a:ahLst/>
              <a:cxnLst/>
              <a:rect l="l" t="t" r="r" b="b"/>
              <a:pathLst>
                <a:path w="414655" h="452120">
                  <a:moveTo>
                    <a:pt x="0" y="0"/>
                  </a:moveTo>
                  <a:lnTo>
                    <a:pt x="0" y="216244"/>
                  </a:lnTo>
                  <a:lnTo>
                    <a:pt x="414133" y="451504"/>
                  </a:lnTo>
                  <a:lnTo>
                    <a:pt x="414133" y="422102"/>
                  </a:lnTo>
                  <a:lnTo>
                    <a:pt x="18072" y="196936"/>
                  </a:lnTo>
                  <a:lnTo>
                    <a:pt x="18072" y="9884"/>
                  </a:lnTo>
                  <a:lnTo>
                    <a:pt x="0" y="0"/>
                  </a:lnTo>
                  <a:close/>
                </a:path>
              </a:pathLst>
            </a:custGeom>
            <a:solidFill>
              <a:srgbClr val="F7F1F1"/>
            </a:solidFill>
          </p:spPr>
          <p:txBody>
            <a:bodyPr wrap="square" lIns="0" tIns="0" rIns="0" bIns="0" rtlCol="0"/>
            <a:lstStyle/>
            <a:p>
              <a:endParaRPr sz="1092" dirty="0"/>
            </a:p>
          </p:txBody>
        </p:sp>
        <p:sp>
          <p:nvSpPr>
            <p:cNvPr id="874" name="object 874"/>
            <p:cNvSpPr/>
            <p:nvPr/>
          </p:nvSpPr>
          <p:spPr>
            <a:xfrm>
              <a:off x="8417747" y="3505180"/>
              <a:ext cx="133899" cy="93844"/>
            </a:xfrm>
            <a:prstGeom prst="rect">
              <a:avLst/>
            </a:prstGeom>
            <a:blipFill>
              <a:blip r:embed="rId29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75" name="object 875"/>
            <p:cNvSpPr/>
            <p:nvPr/>
          </p:nvSpPr>
          <p:spPr>
            <a:xfrm>
              <a:off x="8081548" y="3652819"/>
              <a:ext cx="296586" cy="188278"/>
            </a:xfrm>
            <a:prstGeom prst="rect">
              <a:avLst/>
            </a:prstGeom>
            <a:blipFill>
              <a:blip r:embed="rId29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76" name="object 876"/>
            <p:cNvSpPr/>
            <p:nvPr/>
          </p:nvSpPr>
          <p:spPr>
            <a:xfrm>
              <a:off x="8081546" y="3646822"/>
              <a:ext cx="190222" cy="110514"/>
            </a:xfrm>
            <a:custGeom>
              <a:avLst/>
              <a:gdLst/>
              <a:ahLst/>
              <a:cxnLst/>
              <a:rect l="l" t="t" r="r" b="b"/>
              <a:pathLst>
                <a:path w="313690" h="182245">
                  <a:moveTo>
                    <a:pt x="158141" y="0"/>
                  </a:moveTo>
                  <a:lnTo>
                    <a:pt x="0" y="92091"/>
                  </a:lnTo>
                  <a:lnTo>
                    <a:pt x="154749" y="181764"/>
                  </a:lnTo>
                  <a:lnTo>
                    <a:pt x="175440" y="169701"/>
                  </a:lnTo>
                  <a:lnTo>
                    <a:pt x="155010" y="169701"/>
                  </a:lnTo>
                  <a:lnTo>
                    <a:pt x="20501" y="92091"/>
                  </a:lnTo>
                  <a:lnTo>
                    <a:pt x="27496" y="87746"/>
                  </a:lnTo>
                  <a:lnTo>
                    <a:pt x="66531" y="87746"/>
                  </a:lnTo>
                  <a:lnTo>
                    <a:pt x="46543" y="76175"/>
                  </a:lnTo>
                  <a:lnTo>
                    <a:pt x="53767" y="72081"/>
                  </a:lnTo>
                  <a:lnTo>
                    <a:pt x="92447" y="72081"/>
                  </a:lnTo>
                  <a:lnTo>
                    <a:pt x="72814" y="60752"/>
                  </a:lnTo>
                  <a:lnTo>
                    <a:pt x="79798" y="56647"/>
                  </a:lnTo>
                  <a:lnTo>
                    <a:pt x="118833" y="56647"/>
                  </a:lnTo>
                  <a:lnTo>
                    <a:pt x="98845" y="45077"/>
                  </a:lnTo>
                  <a:lnTo>
                    <a:pt x="106070" y="41223"/>
                  </a:lnTo>
                  <a:lnTo>
                    <a:pt x="145391" y="41223"/>
                  </a:lnTo>
                  <a:lnTo>
                    <a:pt x="124886" y="29412"/>
                  </a:lnTo>
                  <a:lnTo>
                    <a:pt x="132111" y="25318"/>
                  </a:lnTo>
                  <a:lnTo>
                    <a:pt x="171001" y="25318"/>
                  </a:lnTo>
                  <a:lnTo>
                    <a:pt x="151388" y="13978"/>
                  </a:lnTo>
                  <a:lnTo>
                    <a:pt x="158382" y="9884"/>
                  </a:lnTo>
                  <a:lnTo>
                    <a:pt x="175272" y="9884"/>
                  </a:lnTo>
                  <a:lnTo>
                    <a:pt x="158141" y="0"/>
                  </a:lnTo>
                  <a:close/>
                </a:path>
                <a:path w="313690" h="182245">
                  <a:moveTo>
                    <a:pt x="66531" y="87746"/>
                  </a:moveTo>
                  <a:lnTo>
                    <a:pt x="27496" y="87746"/>
                  </a:lnTo>
                  <a:lnTo>
                    <a:pt x="162005" y="165607"/>
                  </a:lnTo>
                  <a:lnTo>
                    <a:pt x="155010" y="169701"/>
                  </a:lnTo>
                  <a:lnTo>
                    <a:pt x="175440" y="169701"/>
                  </a:lnTo>
                  <a:lnTo>
                    <a:pt x="202310" y="154037"/>
                  </a:lnTo>
                  <a:lnTo>
                    <a:pt x="181052" y="154037"/>
                  </a:lnTo>
                  <a:lnTo>
                    <a:pt x="66531" y="87746"/>
                  </a:lnTo>
                  <a:close/>
                </a:path>
                <a:path w="313690" h="182245">
                  <a:moveTo>
                    <a:pt x="92447" y="72081"/>
                  </a:moveTo>
                  <a:lnTo>
                    <a:pt x="53767" y="72081"/>
                  </a:lnTo>
                  <a:lnTo>
                    <a:pt x="188276" y="149691"/>
                  </a:lnTo>
                  <a:lnTo>
                    <a:pt x="181052" y="154037"/>
                  </a:lnTo>
                  <a:lnTo>
                    <a:pt x="202310" y="154037"/>
                  </a:lnTo>
                  <a:lnTo>
                    <a:pt x="229180" y="138372"/>
                  </a:lnTo>
                  <a:lnTo>
                    <a:pt x="207323" y="138372"/>
                  </a:lnTo>
                  <a:lnTo>
                    <a:pt x="92447" y="72081"/>
                  </a:lnTo>
                  <a:close/>
                </a:path>
                <a:path w="313690" h="182245">
                  <a:moveTo>
                    <a:pt x="118833" y="56647"/>
                  </a:moveTo>
                  <a:lnTo>
                    <a:pt x="79798" y="56647"/>
                  </a:lnTo>
                  <a:lnTo>
                    <a:pt x="214307" y="134508"/>
                  </a:lnTo>
                  <a:lnTo>
                    <a:pt x="207323" y="138372"/>
                  </a:lnTo>
                  <a:lnTo>
                    <a:pt x="229180" y="138372"/>
                  </a:lnTo>
                  <a:lnTo>
                    <a:pt x="255655" y="122938"/>
                  </a:lnTo>
                  <a:lnTo>
                    <a:pt x="233354" y="122938"/>
                  </a:lnTo>
                  <a:lnTo>
                    <a:pt x="118833" y="56647"/>
                  </a:lnTo>
                  <a:close/>
                </a:path>
                <a:path w="313690" h="182245">
                  <a:moveTo>
                    <a:pt x="145391" y="41223"/>
                  </a:moveTo>
                  <a:lnTo>
                    <a:pt x="106070" y="41223"/>
                  </a:lnTo>
                  <a:lnTo>
                    <a:pt x="240579" y="118844"/>
                  </a:lnTo>
                  <a:lnTo>
                    <a:pt x="233354" y="122938"/>
                  </a:lnTo>
                  <a:lnTo>
                    <a:pt x="255655" y="122938"/>
                  </a:lnTo>
                  <a:lnTo>
                    <a:pt x="282956" y="107022"/>
                  </a:lnTo>
                  <a:lnTo>
                    <a:pt x="259625" y="107022"/>
                  </a:lnTo>
                  <a:lnTo>
                    <a:pt x="145391" y="41223"/>
                  </a:lnTo>
                  <a:close/>
                </a:path>
                <a:path w="313690" h="182245">
                  <a:moveTo>
                    <a:pt x="171001" y="25318"/>
                  </a:moveTo>
                  <a:lnTo>
                    <a:pt x="132111" y="25318"/>
                  </a:lnTo>
                  <a:lnTo>
                    <a:pt x="266620" y="102928"/>
                  </a:lnTo>
                  <a:lnTo>
                    <a:pt x="259625" y="107022"/>
                  </a:lnTo>
                  <a:lnTo>
                    <a:pt x="282956" y="107022"/>
                  </a:lnTo>
                  <a:lnTo>
                    <a:pt x="309395" y="91609"/>
                  </a:lnTo>
                  <a:lnTo>
                    <a:pt x="285656" y="91609"/>
                  </a:lnTo>
                  <a:lnTo>
                    <a:pt x="171001" y="25318"/>
                  </a:lnTo>
                  <a:close/>
                </a:path>
                <a:path w="313690" h="182245">
                  <a:moveTo>
                    <a:pt x="175272" y="9884"/>
                  </a:moveTo>
                  <a:lnTo>
                    <a:pt x="158382" y="9884"/>
                  </a:lnTo>
                  <a:lnTo>
                    <a:pt x="292891" y="87515"/>
                  </a:lnTo>
                  <a:lnTo>
                    <a:pt x="285656" y="91609"/>
                  </a:lnTo>
                  <a:lnTo>
                    <a:pt x="309395" y="91609"/>
                  </a:lnTo>
                  <a:lnTo>
                    <a:pt x="313131" y="89431"/>
                  </a:lnTo>
                  <a:lnTo>
                    <a:pt x="175272" y="9884"/>
                  </a:lnTo>
                  <a:close/>
                </a:path>
              </a:pathLst>
            </a:custGeom>
            <a:solidFill>
              <a:srgbClr val="FFFFF6"/>
            </a:solidFill>
          </p:spPr>
          <p:txBody>
            <a:bodyPr wrap="square" lIns="0" tIns="0" rIns="0" bIns="0" rtlCol="0"/>
            <a:lstStyle/>
            <a:p>
              <a:endParaRPr sz="1092" dirty="0"/>
            </a:p>
          </p:txBody>
        </p:sp>
        <p:sp>
          <p:nvSpPr>
            <p:cNvPr id="877" name="object 877"/>
            <p:cNvSpPr/>
            <p:nvPr/>
          </p:nvSpPr>
          <p:spPr>
            <a:xfrm>
              <a:off x="7948679" y="2631945"/>
              <a:ext cx="867165" cy="514061"/>
            </a:xfrm>
            <a:custGeom>
              <a:avLst/>
              <a:gdLst/>
              <a:ahLst/>
              <a:cxnLst/>
              <a:rect l="l" t="t" r="r" b="b"/>
              <a:pathLst>
                <a:path w="1430019" h="847725">
                  <a:moveTo>
                    <a:pt x="848267" y="0"/>
                  </a:moveTo>
                  <a:lnTo>
                    <a:pt x="0" y="508853"/>
                  </a:lnTo>
                  <a:lnTo>
                    <a:pt x="581416" y="847523"/>
                  </a:lnTo>
                  <a:lnTo>
                    <a:pt x="1429925" y="339633"/>
                  </a:lnTo>
                  <a:lnTo>
                    <a:pt x="848267" y="0"/>
                  </a:lnTo>
                  <a:close/>
                </a:path>
              </a:pathLst>
            </a:custGeom>
            <a:solidFill>
              <a:srgbClr val="FFFFFF"/>
            </a:solidFill>
          </p:spPr>
          <p:txBody>
            <a:bodyPr wrap="square" lIns="0" tIns="0" rIns="0" bIns="0" rtlCol="0"/>
            <a:lstStyle/>
            <a:p>
              <a:endParaRPr sz="1092" dirty="0"/>
            </a:p>
          </p:txBody>
        </p:sp>
        <p:sp>
          <p:nvSpPr>
            <p:cNvPr id="878" name="object 878"/>
            <p:cNvSpPr/>
            <p:nvPr/>
          </p:nvSpPr>
          <p:spPr>
            <a:xfrm>
              <a:off x="7995595" y="2657524"/>
              <a:ext cx="770899" cy="455146"/>
            </a:xfrm>
            <a:custGeom>
              <a:avLst/>
              <a:gdLst/>
              <a:ahLst/>
              <a:cxnLst/>
              <a:rect l="l" t="t" r="r" b="b"/>
              <a:pathLst>
                <a:path w="1271269" h="750570">
                  <a:moveTo>
                    <a:pt x="768730" y="0"/>
                  </a:moveTo>
                  <a:lnTo>
                    <a:pt x="0" y="455336"/>
                  </a:lnTo>
                  <a:lnTo>
                    <a:pt x="502612" y="750385"/>
                  </a:lnTo>
                  <a:lnTo>
                    <a:pt x="1271081" y="296734"/>
                  </a:lnTo>
                  <a:lnTo>
                    <a:pt x="768730" y="0"/>
                  </a:lnTo>
                  <a:close/>
                </a:path>
              </a:pathLst>
            </a:custGeom>
            <a:solidFill>
              <a:srgbClr val="ECECEC"/>
            </a:solidFill>
          </p:spPr>
          <p:txBody>
            <a:bodyPr wrap="square" lIns="0" tIns="0" rIns="0" bIns="0" rtlCol="0"/>
            <a:lstStyle/>
            <a:p>
              <a:endParaRPr sz="1092" dirty="0"/>
            </a:p>
          </p:txBody>
        </p:sp>
        <p:sp>
          <p:nvSpPr>
            <p:cNvPr id="879" name="object 879"/>
            <p:cNvSpPr/>
            <p:nvPr/>
          </p:nvSpPr>
          <p:spPr>
            <a:xfrm>
              <a:off x="7942978" y="2939200"/>
              <a:ext cx="358495" cy="1027352"/>
            </a:xfrm>
            <a:custGeom>
              <a:avLst/>
              <a:gdLst/>
              <a:ahLst/>
              <a:cxnLst/>
              <a:rect l="l" t="t" r="r" b="b"/>
              <a:pathLst>
                <a:path w="591184" h="1694179">
                  <a:moveTo>
                    <a:pt x="10596" y="0"/>
                  </a:moveTo>
                  <a:lnTo>
                    <a:pt x="0" y="1359047"/>
                  </a:lnTo>
                  <a:lnTo>
                    <a:pt x="590348" y="1693854"/>
                  </a:lnTo>
                  <a:lnTo>
                    <a:pt x="590819" y="340837"/>
                  </a:lnTo>
                  <a:lnTo>
                    <a:pt x="10596" y="0"/>
                  </a:lnTo>
                  <a:close/>
                </a:path>
              </a:pathLst>
            </a:custGeom>
            <a:solidFill>
              <a:srgbClr val="F7F1F1"/>
            </a:solidFill>
          </p:spPr>
          <p:txBody>
            <a:bodyPr wrap="square" lIns="0" tIns="0" rIns="0" bIns="0" rtlCol="0"/>
            <a:lstStyle/>
            <a:p>
              <a:endParaRPr sz="1092" dirty="0"/>
            </a:p>
          </p:txBody>
        </p:sp>
        <p:sp>
          <p:nvSpPr>
            <p:cNvPr id="880" name="object 880"/>
            <p:cNvSpPr/>
            <p:nvPr/>
          </p:nvSpPr>
          <p:spPr>
            <a:xfrm>
              <a:off x="8300222" y="2837899"/>
              <a:ext cx="515601" cy="1129779"/>
            </a:xfrm>
            <a:custGeom>
              <a:avLst/>
              <a:gdLst/>
              <a:ahLst/>
              <a:cxnLst/>
              <a:rect l="l" t="t" r="r" b="b"/>
              <a:pathLst>
                <a:path w="850265" h="1863090">
                  <a:moveTo>
                    <a:pt x="850204" y="0"/>
                  </a:moveTo>
                  <a:lnTo>
                    <a:pt x="1696" y="507659"/>
                  </a:lnTo>
                  <a:lnTo>
                    <a:pt x="0" y="1863074"/>
                  </a:lnTo>
                  <a:lnTo>
                    <a:pt x="847544" y="1356398"/>
                  </a:lnTo>
                  <a:lnTo>
                    <a:pt x="850204" y="0"/>
                  </a:lnTo>
                  <a:close/>
                </a:path>
              </a:pathLst>
            </a:custGeom>
            <a:solidFill>
              <a:srgbClr val="CAC4C4"/>
            </a:solidFill>
          </p:spPr>
          <p:txBody>
            <a:bodyPr wrap="square" lIns="0" tIns="0" rIns="0" bIns="0" rtlCol="0"/>
            <a:lstStyle/>
            <a:p>
              <a:endParaRPr sz="1092" dirty="0"/>
            </a:p>
          </p:txBody>
        </p:sp>
        <p:sp>
          <p:nvSpPr>
            <p:cNvPr id="881" name="object 881"/>
            <p:cNvSpPr/>
            <p:nvPr/>
          </p:nvSpPr>
          <p:spPr>
            <a:xfrm>
              <a:off x="8673270" y="2963749"/>
              <a:ext cx="81562" cy="343510"/>
            </a:xfrm>
            <a:prstGeom prst="rect">
              <a:avLst/>
            </a:prstGeom>
            <a:blipFill>
              <a:blip r:embed="rId29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82" name="object 882"/>
            <p:cNvSpPr/>
            <p:nvPr/>
          </p:nvSpPr>
          <p:spPr>
            <a:xfrm>
              <a:off x="8673266" y="2963753"/>
              <a:ext cx="81634" cy="89335"/>
            </a:xfrm>
            <a:custGeom>
              <a:avLst/>
              <a:gdLst/>
              <a:ahLst/>
              <a:cxnLst/>
              <a:rect l="l" t="t" r="r" b="b"/>
              <a:pathLst>
                <a:path w="134619" h="147320">
                  <a:moveTo>
                    <a:pt x="134508" y="0"/>
                  </a:moveTo>
                  <a:lnTo>
                    <a:pt x="113766" y="11570"/>
                  </a:lnTo>
                  <a:lnTo>
                    <a:pt x="114006" y="57851"/>
                  </a:lnTo>
                  <a:lnTo>
                    <a:pt x="0" y="122938"/>
                  </a:lnTo>
                  <a:lnTo>
                    <a:pt x="0" y="147042"/>
                  </a:lnTo>
                  <a:lnTo>
                    <a:pt x="134508" y="70144"/>
                  </a:lnTo>
                  <a:lnTo>
                    <a:pt x="134508" y="0"/>
                  </a:lnTo>
                  <a:close/>
                </a:path>
              </a:pathLst>
            </a:custGeom>
            <a:solidFill>
              <a:srgbClr val="91949E"/>
            </a:solidFill>
          </p:spPr>
          <p:txBody>
            <a:bodyPr wrap="square" lIns="0" tIns="0" rIns="0" bIns="0" rtlCol="0"/>
            <a:lstStyle/>
            <a:p>
              <a:endParaRPr sz="1092" dirty="0"/>
            </a:p>
          </p:txBody>
        </p:sp>
        <p:sp>
          <p:nvSpPr>
            <p:cNvPr id="883" name="object 883"/>
            <p:cNvSpPr/>
            <p:nvPr/>
          </p:nvSpPr>
          <p:spPr>
            <a:xfrm>
              <a:off x="8673268" y="3053066"/>
              <a:ext cx="81634" cy="89335"/>
            </a:xfrm>
            <a:custGeom>
              <a:avLst/>
              <a:gdLst/>
              <a:ahLst/>
              <a:cxnLst/>
              <a:rect l="l" t="t" r="r" b="b"/>
              <a:pathLst>
                <a:path w="134619" h="147320">
                  <a:moveTo>
                    <a:pt x="134498" y="0"/>
                  </a:moveTo>
                  <a:lnTo>
                    <a:pt x="113766" y="11811"/>
                  </a:lnTo>
                  <a:lnTo>
                    <a:pt x="113996" y="57851"/>
                  </a:lnTo>
                  <a:lnTo>
                    <a:pt x="0" y="122928"/>
                  </a:lnTo>
                  <a:lnTo>
                    <a:pt x="0" y="147283"/>
                  </a:lnTo>
                  <a:lnTo>
                    <a:pt x="134498" y="70395"/>
                  </a:lnTo>
                  <a:lnTo>
                    <a:pt x="134498" y="0"/>
                  </a:lnTo>
                  <a:close/>
                </a:path>
              </a:pathLst>
            </a:custGeom>
            <a:solidFill>
              <a:srgbClr val="91949E"/>
            </a:solidFill>
          </p:spPr>
          <p:txBody>
            <a:bodyPr wrap="square" lIns="0" tIns="0" rIns="0" bIns="0" rtlCol="0"/>
            <a:lstStyle/>
            <a:p>
              <a:endParaRPr sz="1092" dirty="0"/>
            </a:p>
          </p:txBody>
        </p:sp>
        <p:sp>
          <p:nvSpPr>
            <p:cNvPr id="884" name="object 884"/>
            <p:cNvSpPr/>
            <p:nvPr/>
          </p:nvSpPr>
          <p:spPr>
            <a:xfrm>
              <a:off x="8673268" y="3132728"/>
              <a:ext cx="81634" cy="89720"/>
            </a:xfrm>
            <a:custGeom>
              <a:avLst/>
              <a:gdLst/>
              <a:ahLst/>
              <a:cxnLst/>
              <a:rect l="l" t="t" r="r" b="b"/>
              <a:pathLst>
                <a:path w="134619" h="147954">
                  <a:moveTo>
                    <a:pt x="134498" y="0"/>
                  </a:moveTo>
                  <a:lnTo>
                    <a:pt x="113766" y="11821"/>
                  </a:lnTo>
                  <a:lnTo>
                    <a:pt x="113996" y="57851"/>
                  </a:lnTo>
                  <a:lnTo>
                    <a:pt x="0" y="123179"/>
                  </a:lnTo>
                  <a:lnTo>
                    <a:pt x="0" y="147534"/>
                  </a:lnTo>
                  <a:lnTo>
                    <a:pt x="134498" y="70395"/>
                  </a:lnTo>
                  <a:lnTo>
                    <a:pt x="134498" y="0"/>
                  </a:lnTo>
                  <a:close/>
                </a:path>
              </a:pathLst>
            </a:custGeom>
            <a:solidFill>
              <a:srgbClr val="91949E"/>
            </a:solidFill>
          </p:spPr>
          <p:txBody>
            <a:bodyPr wrap="square" lIns="0" tIns="0" rIns="0" bIns="0" rtlCol="0"/>
            <a:lstStyle/>
            <a:p>
              <a:endParaRPr sz="1092" dirty="0"/>
            </a:p>
          </p:txBody>
        </p:sp>
        <p:sp>
          <p:nvSpPr>
            <p:cNvPr id="885" name="object 885"/>
            <p:cNvSpPr/>
            <p:nvPr/>
          </p:nvSpPr>
          <p:spPr>
            <a:xfrm>
              <a:off x="8673268" y="3217948"/>
              <a:ext cx="81634" cy="89335"/>
            </a:xfrm>
            <a:custGeom>
              <a:avLst/>
              <a:gdLst/>
              <a:ahLst/>
              <a:cxnLst/>
              <a:rect l="l" t="t" r="r" b="b"/>
              <a:pathLst>
                <a:path w="134619" h="147320">
                  <a:moveTo>
                    <a:pt x="134498" y="0"/>
                  </a:moveTo>
                  <a:lnTo>
                    <a:pt x="113766" y="11811"/>
                  </a:lnTo>
                  <a:lnTo>
                    <a:pt x="113996" y="57621"/>
                  </a:lnTo>
                  <a:lnTo>
                    <a:pt x="0" y="122938"/>
                  </a:lnTo>
                  <a:lnTo>
                    <a:pt x="0" y="147283"/>
                  </a:lnTo>
                  <a:lnTo>
                    <a:pt x="134498" y="70385"/>
                  </a:lnTo>
                  <a:lnTo>
                    <a:pt x="134498" y="0"/>
                  </a:lnTo>
                  <a:close/>
                </a:path>
              </a:pathLst>
            </a:custGeom>
            <a:solidFill>
              <a:srgbClr val="91949E"/>
            </a:solidFill>
          </p:spPr>
          <p:txBody>
            <a:bodyPr wrap="square" lIns="0" tIns="0" rIns="0" bIns="0" rtlCol="0"/>
            <a:lstStyle/>
            <a:p>
              <a:endParaRPr sz="1092" dirty="0"/>
            </a:p>
          </p:txBody>
        </p:sp>
        <p:sp>
          <p:nvSpPr>
            <p:cNvPr id="886" name="object 886"/>
            <p:cNvSpPr/>
            <p:nvPr/>
          </p:nvSpPr>
          <p:spPr>
            <a:xfrm>
              <a:off x="8673270" y="3300835"/>
              <a:ext cx="81561" cy="343358"/>
            </a:xfrm>
            <a:prstGeom prst="rect">
              <a:avLst/>
            </a:prstGeom>
            <a:blipFill>
              <a:blip r:embed="rId29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87" name="object 887"/>
            <p:cNvSpPr/>
            <p:nvPr/>
          </p:nvSpPr>
          <p:spPr>
            <a:xfrm>
              <a:off x="8673266" y="3300826"/>
              <a:ext cx="81634" cy="89335"/>
            </a:xfrm>
            <a:custGeom>
              <a:avLst/>
              <a:gdLst/>
              <a:ahLst/>
              <a:cxnLst/>
              <a:rect l="l" t="t" r="r" b="b"/>
              <a:pathLst>
                <a:path w="134619" h="147320">
                  <a:moveTo>
                    <a:pt x="134508" y="0"/>
                  </a:moveTo>
                  <a:lnTo>
                    <a:pt x="113766" y="11570"/>
                  </a:lnTo>
                  <a:lnTo>
                    <a:pt x="114006" y="57621"/>
                  </a:lnTo>
                  <a:lnTo>
                    <a:pt x="0" y="122697"/>
                  </a:lnTo>
                  <a:lnTo>
                    <a:pt x="0" y="147283"/>
                  </a:lnTo>
                  <a:lnTo>
                    <a:pt x="134508" y="70154"/>
                  </a:lnTo>
                  <a:lnTo>
                    <a:pt x="134508" y="0"/>
                  </a:lnTo>
                  <a:close/>
                </a:path>
              </a:pathLst>
            </a:custGeom>
            <a:solidFill>
              <a:srgbClr val="91949E"/>
            </a:solidFill>
          </p:spPr>
          <p:txBody>
            <a:bodyPr wrap="square" lIns="0" tIns="0" rIns="0" bIns="0" rtlCol="0"/>
            <a:lstStyle/>
            <a:p>
              <a:endParaRPr sz="1092" dirty="0"/>
            </a:p>
          </p:txBody>
        </p:sp>
        <p:sp>
          <p:nvSpPr>
            <p:cNvPr id="888" name="object 888"/>
            <p:cNvSpPr/>
            <p:nvPr/>
          </p:nvSpPr>
          <p:spPr>
            <a:xfrm>
              <a:off x="8673268" y="3390293"/>
              <a:ext cx="81634" cy="89335"/>
            </a:xfrm>
            <a:custGeom>
              <a:avLst/>
              <a:gdLst/>
              <a:ahLst/>
              <a:cxnLst/>
              <a:rect l="l" t="t" r="r" b="b"/>
              <a:pathLst>
                <a:path w="134619" h="147320">
                  <a:moveTo>
                    <a:pt x="134498" y="0"/>
                  </a:moveTo>
                  <a:lnTo>
                    <a:pt x="113766" y="11800"/>
                  </a:lnTo>
                  <a:lnTo>
                    <a:pt x="113996" y="57610"/>
                  </a:lnTo>
                  <a:lnTo>
                    <a:pt x="0" y="122938"/>
                  </a:lnTo>
                  <a:lnTo>
                    <a:pt x="0" y="147042"/>
                  </a:lnTo>
                  <a:lnTo>
                    <a:pt x="134498" y="70144"/>
                  </a:lnTo>
                  <a:lnTo>
                    <a:pt x="134498" y="0"/>
                  </a:lnTo>
                  <a:close/>
                </a:path>
              </a:pathLst>
            </a:custGeom>
            <a:solidFill>
              <a:srgbClr val="91949E"/>
            </a:solidFill>
          </p:spPr>
          <p:txBody>
            <a:bodyPr wrap="square" lIns="0" tIns="0" rIns="0" bIns="0" rtlCol="0"/>
            <a:lstStyle/>
            <a:p>
              <a:endParaRPr sz="1092" dirty="0"/>
            </a:p>
          </p:txBody>
        </p:sp>
        <p:sp>
          <p:nvSpPr>
            <p:cNvPr id="889" name="object 889"/>
            <p:cNvSpPr/>
            <p:nvPr/>
          </p:nvSpPr>
          <p:spPr>
            <a:xfrm>
              <a:off x="8673268" y="3469811"/>
              <a:ext cx="81634" cy="89720"/>
            </a:xfrm>
            <a:custGeom>
              <a:avLst/>
              <a:gdLst/>
              <a:ahLst/>
              <a:cxnLst/>
              <a:rect l="l" t="t" r="r" b="b"/>
              <a:pathLst>
                <a:path w="134619" h="147954">
                  <a:moveTo>
                    <a:pt x="134498" y="0"/>
                  </a:moveTo>
                  <a:lnTo>
                    <a:pt x="113766" y="11811"/>
                  </a:lnTo>
                  <a:lnTo>
                    <a:pt x="113996" y="57841"/>
                  </a:lnTo>
                  <a:lnTo>
                    <a:pt x="0" y="123169"/>
                  </a:lnTo>
                  <a:lnTo>
                    <a:pt x="0" y="147524"/>
                  </a:lnTo>
                  <a:lnTo>
                    <a:pt x="134498" y="70144"/>
                  </a:lnTo>
                  <a:lnTo>
                    <a:pt x="134498" y="0"/>
                  </a:lnTo>
                  <a:close/>
                </a:path>
              </a:pathLst>
            </a:custGeom>
            <a:solidFill>
              <a:srgbClr val="91949E"/>
            </a:solidFill>
          </p:spPr>
          <p:txBody>
            <a:bodyPr wrap="square" lIns="0" tIns="0" rIns="0" bIns="0" rtlCol="0"/>
            <a:lstStyle/>
            <a:p>
              <a:endParaRPr sz="1092" dirty="0"/>
            </a:p>
          </p:txBody>
        </p:sp>
        <p:sp>
          <p:nvSpPr>
            <p:cNvPr id="890" name="object 890"/>
            <p:cNvSpPr/>
            <p:nvPr/>
          </p:nvSpPr>
          <p:spPr>
            <a:xfrm>
              <a:off x="8673268" y="3555031"/>
              <a:ext cx="81634" cy="89335"/>
            </a:xfrm>
            <a:custGeom>
              <a:avLst/>
              <a:gdLst/>
              <a:ahLst/>
              <a:cxnLst/>
              <a:rect l="l" t="t" r="r" b="b"/>
              <a:pathLst>
                <a:path w="134619" h="147320">
                  <a:moveTo>
                    <a:pt x="134498" y="0"/>
                  </a:moveTo>
                  <a:lnTo>
                    <a:pt x="113766" y="11800"/>
                  </a:lnTo>
                  <a:lnTo>
                    <a:pt x="113996" y="57610"/>
                  </a:lnTo>
                  <a:lnTo>
                    <a:pt x="0" y="122938"/>
                  </a:lnTo>
                  <a:lnTo>
                    <a:pt x="0" y="147042"/>
                  </a:lnTo>
                  <a:lnTo>
                    <a:pt x="134498" y="70385"/>
                  </a:lnTo>
                  <a:lnTo>
                    <a:pt x="134498" y="0"/>
                  </a:lnTo>
                  <a:close/>
                </a:path>
              </a:pathLst>
            </a:custGeom>
            <a:solidFill>
              <a:srgbClr val="91949E"/>
            </a:solidFill>
          </p:spPr>
          <p:txBody>
            <a:bodyPr wrap="square" lIns="0" tIns="0" rIns="0" bIns="0" rtlCol="0"/>
            <a:lstStyle/>
            <a:p>
              <a:endParaRPr sz="1092" dirty="0"/>
            </a:p>
          </p:txBody>
        </p:sp>
        <p:sp>
          <p:nvSpPr>
            <p:cNvPr id="891" name="object 891"/>
            <p:cNvSpPr/>
            <p:nvPr/>
          </p:nvSpPr>
          <p:spPr>
            <a:xfrm>
              <a:off x="8543467" y="3045761"/>
              <a:ext cx="81408" cy="343510"/>
            </a:xfrm>
            <a:prstGeom prst="rect">
              <a:avLst/>
            </a:prstGeom>
            <a:blipFill>
              <a:blip r:embed="rId30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92" name="object 892"/>
            <p:cNvSpPr/>
            <p:nvPr/>
          </p:nvSpPr>
          <p:spPr>
            <a:xfrm>
              <a:off x="8543465" y="3045759"/>
              <a:ext cx="81634" cy="89335"/>
            </a:xfrm>
            <a:custGeom>
              <a:avLst/>
              <a:gdLst/>
              <a:ahLst/>
              <a:cxnLst/>
              <a:rect l="l" t="t" r="r" b="b"/>
              <a:pathLst>
                <a:path w="134619" h="147320">
                  <a:moveTo>
                    <a:pt x="134247" y="0"/>
                  </a:moveTo>
                  <a:lnTo>
                    <a:pt x="113766" y="11811"/>
                  </a:lnTo>
                  <a:lnTo>
                    <a:pt x="113766" y="57851"/>
                  </a:lnTo>
                  <a:lnTo>
                    <a:pt x="0" y="122928"/>
                  </a:lnTo>
                  <a:lnTo>
                    <a:pt x="0" y="147283"/>
                  </a:lnTo>
                  <a:lnTo>
                    <a:pt x="134247" y="70385"/>
                  </a:lnTo>
                  <a:lnTo>
                    <a:pt x="134247" y="0"/>
                  </a:lnTo>
                  <a:close/>
                </a:path>
              </a:pathLst>
            </a:custGeom>
            <a:solidFill>
              <a:srgbClr val="91949E"/>
            </a:solidFill>
          </p:spPr>
          <p:txBody>
            <a:bodyPr wrap="square" lIns="0" tIns="0" rIns="0" bIns="0" rtlCol="0"/>
            <a:lstStyle/>
            <a:p>
              <a:endParaRPr sz="1092" dirty="0"/>
            </a:p>
          </p:txBody>
        </p:sp>
        <p:sp>
          <p:nvSpPr>
            <p:cNvPr id="893" name="object 893"/>
            <p:cNvSpPr/>
            <p:nvPr/>
          </p:nvSpPr>
          <p:spPr>
            <a:xfrm>
              <a:off x="8543467" y="3135363"/>
              <a:ext cx="81634" cy="89335"/>
            </a:xfrm>
            <a:custGeom>
              <a:avLst/>
              <a:gdLst/>
              <a:ahLst/>
              <a:cxnLst/>
              <a:rect l="l" t="t" r="r" b="b"/>
              <a:pathLst>
                <a:path w="134619" h="147320">
                  <a:moveTo>
                    <a:pt x="134247" y="0"/>
                  </a:moveTo>
                  <a:lnTo>
                    <a:pt x="113766" y="11570"/>
                  </a:lnTo>
                  <a:lnTo>
                    <a:pt x="113766" y="57600"/>
                  </a:lnTo>
                  <a:lnTo>
                    <a:pt x="0" y="122697"/>
                  </a:lnTo>
                  <a:lnTo>
                    <a:pt x="0" y="147042"/>
                  </a:lnTo>
                  <a:lnTo>
                    <a:pt x="134247" y="70144"/>
                  </a:lnTo>
                  <a:lnTo>
                    <a:pt x="134247" y="0"/>
                  </a:lnTo>
                  <a:close/>
                </a:path>
              </a:pathLst>
            </a:custGeom>
            <a:solidFill>
              <a:srgbClr val="91949E"/>
            </a:solidFill>
          </p:spPr>
          <p:txBody>
            <a:bodyPr wrap="square" lIns="0" tIns="0" rIns="0" bIns="0" rtlCol="0"/>
            <a:lstStyle/>
            <a:p>
              <a:endParaRPr sz="1092" dirty="0"/>
            </a:p>
          </p:txBody>
        </p:sp>
        <p:sp>
          <p:nvSpPr>
            <p:cNvPr id="894" name="object 894"/>
            <p:cNvSpPr/>
            <p:nvPr/>
          </p:nvSpPr>
          <p:spPr>
            <a:xfrm>
              <a:off x="8543467" y="3214884"/>
              <a:ext cx="81634" cy="89720"/>
            </a:xfrm>
            <a:custGeom>
              <a:avLst/>
              <a:gdLst/>
              <a:ahLst/>
              <a:cxnLst/>
              <a:rect l="l" t="t" r="r" b="b"/>
              <a:pathLst>
                <a:path w="134619" h="147954">
                  <a:moveTo>
                    <a:pt x="134247" y="0"/>
                  </a:moveTo>
                  <a:lnTo>
                    <a:pt x="113766" y="11800"/>
                  </a:lnTo>
                  <a:lnTo>
                    <a:pt x="113766" y="57851"/>
                  </a:lnTo>
                  <a:lnTo>
                    <a:pt x="0" y="122938"/>
                  </a:lnTo>
                  <a:lnTo>
                    <a:pt x="0" y="147524"/>
                  </a:lnTo>
                  <a:lnTo>
                    <a:pt x="134247" y="70385"/>
                  </a:lnTo>
                  <a:lnTo>
                    <a:pt x="134247" y="0"/>
                  </a:lnTo>
                  <a:close/>
                </a:path>
              </a:pathLst>
            </a:custGeom>
            <a:solidFill>
              <a:srgbClr val="91949E"/>
            </a:solidFill>
          </p:spPr>
          <p:txBody>
            <a:bodyPr wrap="square" lIns="0" tIns="0" rIns="0" bIns="0" rtlCol="0"/>
            <a:lstStyle/>
            <a:p>
              <a:endParaRPr sz="1092" dirty="0"/>
            </a:p>
          </p:txBody>
        </p:sp>
        <p:sp>
          <p:nvSpPr>
            <p:cNvPr id="895" name="object 895"/>
            <p:cNvSpPr/>
            <p:nvPr/>
          </p:nvSpPr>
          <p:spPr>
            <a:xfrm>
              <a:off x="8543467" y="3300099"/>
              <a:ext cx="81634" cy="89335"/>
            </a:xfrm>
            <a:custGeom>
              <a:avLst/>
              <a:gdLst/>
              <a:ahLst/>
              <a:cxnLst/>
              <a:rect l="l" t="t" r="r" b="b"/>
              <a:pathLst>
                <a:path w="134619" h="147320">
                  <a:moveTo>
                    <a:pt x="134247" y="0"/>
                  </a:moveTo>
                  <a:lnTo>
                    <a:pt x="113766" y="11811"/>
                  </a:lnTo>
                  <a:lnTo>
                    <a:pt x="113766" y="57610"/>
                  </a:lnTo>
                  <a:lnTo>
                    <a:pt x="0" y="122697"/>
                  </a:lnTo>
                  <a:lnTo>
                    <a:pt x="0" y="147053"/>
                  </a:lnTo>
                  <a:lnTo>
                    <a:pt x="134247" y="70144"/>
                  </a:lnTo>
                  <a:lnTo>
                    <a:pt x="134247" y="0"/>
                  </a:lnTo>
                  <a:close/>
                </a:path>
              </a:pathLst>
            </a:custGeom>
            <a:solidFill>
              <a:srgbClr val="91949E"/>
            </a:solidFill>
          </p:spPr>
          <p:txBody>
            <a:bodyPr wrap="square" lIns="0" tIns="0" rIns="0" bIns="0" rtlCol="0"/>
            <a:lstStyle/>
            <a:p>
              <a:endParaRPr sz="1092" dirty="0"/>
            </a:p>
          </p:txBody>
        </p:sp>
        <p:sp>
          <p:nvSpPr>
            <p:cNvPr id="896" name="object 896"/>
            <p:cNvSpPr/>
            <p:nvPr/>
          </p:nvSpPr>
          <p:spPr>
            <a:xfrm>
              <a:off x="8543466" y="3380642"/>
              <a:ext cx="81410" cy="343504"/>
            </a:xfrm>
            <a:prstGeom prst="rect">
              <a:avLst/>
            </a:prstGeom>
            <a:blipFill>
              <a:blip r:embed="rId30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897" name="object 897"/>
            <p:cNvSpPr/>
            <p:nvPr/>
          </p:nvSpPr>
          <p:spPr>
            <a:xfrm>
              <a:off x="8543465" y="3380640"/>
              <a:ext cx="81634" cy="89335"/>
            </a:xfrm>
            <a:custGeom>
              <a:avLst/>
              <a:gdLst/>
              <a:ahLst/>
              <a:cxnLst/>
              <a:rect l="l" t="t" r="r" b="b"/>
              <a:pathLst>
                <a:path w="134619" h="147320">
                  <a:moveTo>
                    <a:pt x="134247" y="0"/>
                  </a:moveTo>
                  <a:lnTo>
                    <a:pt x="113766" y="11811"/>
                  </a:lnTo>
                  <a:lnTo>
                    <a:pt x="113766" y="57610"/>
                  </a:lnTo>
                  <a:lnTo>
                    <a:pt x="0" y="122938"/>
                  </a:lnTo>
                  <a:lnTo>
                    <a:pt x="0" y="147283"/>
                  </a:lnTo>
                  <a:lnTo>
                    <a:pt x="134247" y="70154"/>
                  </a:lnTo>
                  <a:lnTo>
                    <a:pt x="134247" y="0"/>
                  </a:lnTo>
                  <a:close/>
                </a:path>
              </a:pathLst>
            </a:custGeom>
            <a:solidFill>
              <a:srgbClr val="91949E"/>
            </a:solidFill>
          </p:spPr>
          <p:txBody>
            <a:bodyPr wrap="square" lIns="0" tIns="0" rIns="0" bIns="0" rtlCol="0"/>
            <a:lstStyle/>
            <a:p>
              <a:endParaRPr sz="1092" dirty="0"/>
            </a:p>
          </p:txBody>
        </p:sp>
        <p:sp>
          <p:nvSpPr>
            <p:cNvPr id="898" name="object 898"/>
            <p:cNvSpPr/>
            <p:nvPr/>
          </p:nvSpPr>
          <p:spPr>
            <a:xfrm>
              <a:off x="8543467" y="3470097"/>
              <a:ext cx="81634" cy="89335"/>
            </a:xfrm>
            <a:custGeom>
              <a:avLst/>
              <a:gdLst/>
              <a:ahLst/>
              <a:cxnLst/>
              <a:rect l="l" t="t" r="r" b="b"/>
              <a:pathLst>
                <a:path w="134619" h="147320">
                  <a:moveTo>
                    <a:pt x="134247" y="0"/>
                  </a:moveTo>
                  <a:lnTo>
                    <a:pt x="113766" y="11811"/>
                  </a:lnTo>
                  <a:lnTo>
                    <a:pt x="113766" y="57851"/>
                  </a:lnTo>
                  <a:lnTo>
                    <a:pt x="0" y="122938"/>
                  </a:lnTo>
                  <a:lnTo>
                    <a:pt x="0" y="147053"/>
                  </a:lnTo>
                  <a:lnTo>
                    <a:pt x="134247" y="70385"/>
                  </a:lnTo>
                  <a:lnTo>
                    <a:pt x="134247" y="0"/>
                  </a:lnTo>
                  <a:close/>
                </a:path>
              </a:pathLst>
            </a:custGeom>
            <a:solidFill>
              <a:srgbClr val="91949E"/>
            </a:solidFill>
          </p:spPr>
          <p:txBody>
            <a:bodyPr wrap="square" lIns="0" tIns="0" rIns="0" bIns="0" rtlCol="0"/>
            <a:lstStyle/>
            <a:p>
              <a:endParaRPr sz="1092" dirty="0"/>
            </a:p>
          </p:txBody>
        </p:sp>
        <p:sp>
          <p:nvSpPr>
            <p:cNvPr id="899" name="object 899"/>
            <p:cNvSpPr/>
            <p:nvPr/>
          </p:nvSpPr>
          <p:spPr>
            <a:xfrm>
              <a:off x="8543467" y="3549765"/>
              <a:ext cx="81634" cy="89335"/>
            </a:xfrm>
            <a:custGeom>
              <a:avLst/>
              <a:gdLst/>
              <a:ahLst/>
              <a:cxnLst/>
              <a:rect l="l" t="t" r="r" b="b"/>
              <a:pathLst>
                <a:path w="134619" h="147320">
                  <a:moveTo>
                    <a:pt x="134247" y="0"/>
                  </a:moveTo>
                  <a:lnTo>
                    <a:pt x="113766" y="11811"/>
                  </a:lnTo>
                  <a:lnTo>
                    <a:pt x="113766" y="57610"/>
                  </a:lnTo>
                  <a:lnTo>
                    <a:pt x="0" y="122697"/>
                  </a:lnTo>
                  <a:lnTo>
                    <a:pt x="0" y="147283"/>
                  </a:lnTo>
                  <a:lnTo>
                    <a:pt x="134247" y="70385"/>
                  </a:lnTo>
                  <a:lnTo>
                    <a:pt x="134247" y="0"/>
                  </a:lnTo>
                  <a:close/>
                </a:path>
              </a:pathLst>
            </a:custGeom>
            <a:solidFill>
              <a:srgbClr val="91949E"/>
            </a:solidFill>
          </p:spPr>
          <p:txBody>
            <a:bodyPr wrap="square" lIns="0" tIns="0" rIns="0" bIns="0" rtlCol="0"/>
            <a:lstStyle/>
            <a:p>
              <a:endParaRPr sz="1092" dirty="0"/>
            </a:p>
          </p:txBody>
        </p:sp>
        <p:sp>
          <p:nvSpPr>
            <p:cNvPr id="900" name="object 900"/>
            <p:cNvSpPr/>
            <p:nvPr/>
          </p:nvSpPr>
          <p:spPr>
            <a:xfrm>
              <a:off x="8543467" y="3634835"/>
              <a:ext cx="81634" cy="89335"/>
            </a:xfrm>
            <a:custGeom>
              <a:avLst/>
              <a:gdLst/>
              <a:ahLst/>
              <a:cxnLst/>
              <a:rect l="l" t="t" r="r" b="b"/>
              <a:pathLst>
                <a:path w="134619" h="147320">
                  <a:moveTo>
                    <a:pt x="134247" y="0"/>
                  </a:moveTo>
                  <a:lnTo>
                    <a:pt x="113766" y="11811"/>
                  </a:lnTo>
                  <a:lnTo>
                    <a:pt x="113766" y="57621"/>
                  </a:lnTo>
                  <a:lnTo>
                    <a:pt x="0" y="122938"/>
                  </a:lnTo>
                  <a:lnTo>
                    <a:pt x="0" y="147283"/>
                  </a:lnTo>
                  <a:lnTo>
                    <a:pt x="134247" y="70395"/>
                  </a:lnTo>
                  <a:lnTo>
                    <a:pt x="134247" y="0"/>
                  </a:lnTo>
                  <a:close/>
                </a:path>
              </a:pathLst>
            </a:custGeom>
            <a:solidFill>
              <a:srgbClr val="91949E"/>
            </a:solidFill>
          </p:spPr>
          <p:txBody>
            <a:bodyPr wrap="square" lIns="0" tIns="0" rIns="0" bIns="0" rtlCol="0"/>
            <a:lstStyle/>
            <a:p>
              <a:endParaRPr sz="1092" dirty="0"/>
            </a:p>
          </p:txBody>
        </p:sp>
        <p:sp>
          <p:nvSpPr>
            <p:cNvPr id="901" name="object 901"/>
            <p:cNvSpPr/>
            <p:nvPr/>
          </p:nvSpPr>
          <p:spPr>
            <a:xfrm>
              <a:off x="8301105" y="3114456"/>
              <a:ext cx="204201" cy="248503"/>
            </a:xfrm>
            <a:prstGeom prst="rect">
              <a:avLst/>
            </a:prstGeom>
            <a:blipFill>
              <a:blip r:embed="rId30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902" name="object 902"/>
            <p:cNvSpPr/>
            <p:nvPr/>
          </p:nvSpPr>
          <p:spPr>
            <a:xfrm>
              <a:off x="8301107" y="3120746"/>
              <a:ext cx="193302" cy="224493"/>
            </a:xfrm>
            <a:custGeom>
              <a:avLst/>
              <a:gdLst/>
              <a:ahLst/>
              <a:cxnLst/>
              <a:rect l="l" t="t" r="r" b="b"/>
              <a:pathLst>
                <a:path w="318769" h="370204">
                  <a:moveTo>
                    <a:pt x="318430" y="0"/>
                  </a:moveTo>
                  <a:lnTo>
                    <a:pt x="295289" y="13256"/>
                  </a:lnTo>
                  <a:lnTo>
                    <a:pt x="295519" y="173554"/>
                  </a:lnTo>
                  <a:lnTo>
                    <a:pt x="0" y="342534"/>
                  </a:lnTo>
                  <a:lnTo>
                    <a:pt x="0" y="370020"/>
                  </a:lnTo>
                  <a:lnTo>
                    <a:pt x="318660" y="187533"/>
                  </a:lnTo>
                  <a:lnTo>
                    <a:pt x="318430" y="0"/>
                  </a:lnTo>
                  <a:close/>
                </a:path>
              </a:pathLst>
            </a:custGeom>
            <a:solidFill>
              <a:srgbClr val="91949E"/>
            </a:solidFill>
          </p:spPr>
          <p:txBody>
            <a:bodyPr wrap="square" lIns="0" tIns="0" rIns="0" bIns="0" rtlCol="0"/>
            <a:lstStyle/>
            <a:p>
              <a:endParaRPr sz="1092" dirty="0"/>
            </a:p>
          </p:txBody>
        </p:sp>
        <p:sp>
          <p:nvSpPr>
            <p:cNvPr id="903" name="object 903"/>
            <p:cNvSpPr/>
            <p:nvPr/>
          </p:nvSpPr>
          <p:spPr>
            <a:xfrm>
              <a:off x="8301111" y="3114458"/>
              <a:ext cx="204469" cy="248751"/>
            </a:xfrm>
            <a:custGeom>
              <a:avLst/>
              <a:gdLst/>
              <a:ahLst/>
              <a:cxnLst/>
              <a:rect l="l" t="t" r="r" b="b"/>
              <a:pathLst>
                <a:path w="337184" h="410210">
                  <a:moveTo>
                    <a:pt x="336502" y="0"/>
                  </a:moveTo>
                  <a:lnTo>
                    <a:pt x="318419" y="10366"/>
                  </a:lnTo>
                  <a:lnTo>
                    <a:pt x="318660" y="197899"/>
                  </a:lnTo>
                  <a:lnTo>
                    <a:pt x="0" y="380386"/>
                  </a:lnTo>
                  <a:lnTo>
                    <a:pt x="0" y="409788"/>
                  </a:lnTo>
                  <a:lnTo>
                    <a:pt x="336733" y="216946"/>
                  </a:lnTo>
                  <a:lnTo>
                    <a:pt x="336502" y="0"/>
                  </a:lnTo>
                  <a:close/>
                </a:path>
              </a:pathLst>
            </a:custGeom>
            <a:solidFill>
              <a:srgbClr val="CAC4C4"/>
            </a:solidFill>
          </p:spPr>
          <p:txBody>
            <a:bodyPr wrap="square" lIns="0" tIns="0" rIns="0" bIns="0" rtlCol="0"/>
            <a:lstStyle/>
            <a:p>
              <a:endParaRPr sz="1092" dirty="0"/>
            </a:p>
          </p:txBody>
        </p:sp>
        <p:sp>
          <p:nvSpPr>
            <p:cNvPr id="904" name="object 904"/>
            <p:cNvSpPr/>
            <p:nvPr/>
          </p:nvSpPr>
          <p:spPr>
            <a:xfrm>
              <a:off x="8300967" y="3278173"/>
              <a:ext cx="204340" cy="247766"/>
            </a:xfrm>
            <a:prstGeom prst="rect">
              <a:avLst/>
            </a:prstGeom>
            <a:blipFill>
              <a:blip r:embed="rId30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905" name="object 905"/>
            <p:cNvSpPr/>
            <p:nvPr/>
          </p:nvSpPr>
          <p:spPr>
            <a:xfrm>
              <a:off x="8300961" y="3284314"/>
              <a:ext cx="193687" cy="224108"/>
            </a:xfrm>
            <a:custGeom>
              <a:avLst/>
              <a:gdLst/>
              <a:ahLst/>
              <a:cxnLst/>
              <a:rect l="l" t="t" r="r" b="b"/>
              <a:pathLst>
                <a:path w="319405" h="369570">
                  <a:moveTo>
                    <a:pt x="318670" y="0"/>
                  </a:moveTo>
                  <a:lnTo>
                    <a:pt x="295530" y="13256"/>
                  </a:lnTo>
                  <a:lnTo>
                    <a:pt x="295760" y="173073"/>
                  </a:lnTo>
                  <a:lnTo>
                    <a:pt x="0" y="341811"/>
                  </a:lnTo>
                  <a:lnTo>
                    <a:pt x="0" y="369046"/>
                  </a:lnTo>
                  <a:lnTo>
                    <a:pt x="295530" y="200318"/>
                  </a:lnTo>
                  <a:lnTo>
                    <a:pt x="318901" y="187292"/>
                  </a:lnTo>
                  <a:lnTo>
                    <a:pt x="318670" y="0"/>
                  </a:lnTo>
                  <a:close/>
                </a:path>
              </a:pathLst>
            </a:custGeom>
            <a:solidFill>
              <a:srgbClr val="91949E"/>
            </a:solidFill>
          </p:spPr>
          <p:txBody>
            <a:bodyPr wrap="square" lIns="0" tIns="0" rIns="0" bIns="0" rtlCol="0"/>
            <a:lstStyle/>
            <a:p>
              <a:endParaRPr sz="1092" dirty="0"/>
            </a:p>
          </p:txBody>
        </p:sp>
        <p:sp>
          <p:nvSpPr>
            <p:cNvPr id="906" name="object 906"/>
            <p:cNvSpPr/>
            <p:nvPr/>
          </p:nvSpPr>
          <p:spPr>
            <a:xfrm>
              <a:off x="8300965" y="3278175"/>
              <a:ext cx="204469" cy="247982"/>
            </a:xfrm>
            <a:custGeom>
              <a:avLst/>
              <a:gdLst/>
              <a:ahLst/>
              <a:cxnLst/>
              <a:rect l="l" t="t" r="r" b="b"/>
              <a:pathLst>
                <a:path w="337184" h="408939">
                  <a:moveTo>
                    <a:pt x="336743" y="0"/>
                  </a:moveTo>
                  <a:lnTo>
                    <a:pt x="318660" y="10125"/>
                  </a:lnTo>
                  <a:lnTo>
                    <a:pt x="318901" y="197418"/>
                  </a:lnTo>
                  <a:lnTo>
                    <a:pt x="295519" y="210433"/>
                  </a:lnTo>
                  <a:lnTo>
                    <a:pt x="0" y="379171"/>
                  </a:lnTo>
                  <a:lnTo>
                    <a:pt x="0" y="408573"/>
                  </a:lnTo>
                  <a:lnTo>
                    <a:pt x="336974" y="216213"/>
                  </a:lnTo>
                  <a:lnTo>
                    <a:pt x="336743" y="0"/>
                  </a:lnTo>
                  <a:close/>
                </a:path>
              </a:pathLst>
            </a:custGeom>
            <a:solidFill>
              <a:srgbClr val="CAC4C4"/>
            </a:solidFill>
          </p:spPr>
          <p:txBody>
            <a:bodyPr wrap="square" lIns="0" tIns="0" rIns="0" bIns="0" rtlCol="0"/>
            <a:lstStyle/>
            <a:p>
              <a:endParaRPr sz="1092" dirty="0"/>
            </a:p>
          </p:txBody>
        </p:sp>
        <p:sp>
          <p:nvSpPr>
            <p:cNvPr id="907" name="object 907"/>
            <p:cNvSpPr/>
            <p:nvPr/>
          </p:nvSpPr>
          <p:spPr>
            <a:xfrm>
              <a:off x="8049828" y="3089027"/>
              <a:ext cx="251138" cy="273932"/>
            </a:xfrm>
            <a:prstGeom prst="rect">
              <a:avLst/>
            </a:prstGeom>
            <a:blipFill>
              <a:blip r:embed="rId30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908" name="object 908"/>
            <p:cNvSpPr/>
            <p:nvPr/>
          </p:nvSpPr>
          <p:spPr>
            <a:xfrm>
              <a:off x="8060790" y="3095167"/>
              <a:ext cx="240280" cy="250292"/>
            </a:xfrm>
            <a:custGeom>
              <a:avLst/>
              <a:gdLst/>
              <a:ahLst/>
              <a:cxnLst/>
              <a:rect l="l" t="t" r="r" b="b"/>
              <a:pathLst>
                <a:path w="396240" h="412750">
                  <a:moveTo>
                    <a:pt x="0" y="0"/>
                  </a:moveTo>
                  <a:lnTo>
                    <a:pt x="0" y="187292"/>
                  </a:lnTo>
                  <a:lnTo>
                    <a:pt x="396061" y="412196"/>
                  </a:lnTo>
                  <a:lnTo>
                    <a:pt x="396061" y="384951"/>
                  </a:lnTo>
                  <a:lnTo>
                    <a:pt x="23140" y="173314"/>
                  </a:lnTo>
                  <a:lnTo>
                    <a:pt x="23140" y="13256"/>
                  </a:lnTo>
                  <a:lnTo>
                    <a:pt x="0" y="0"/>
                  </a:lnTo>
                  <a:close/>
                </a:path>
              </a:pathLst>
            </a:custGeom>
            <a:solidFill>
              <a:srgbClr val="B9BCC6"/>
            </a:solidFill>
          </p:spPr>
          <p:txBody>
            <a:bodyPr wrap="square" lIns="0" tIns="0" rIns="0" bIns="0" rtlCol="0"/>
            <a:lstStyle/>
            <a:p>
              <a:endParaRPr sz="1092" dirty="0"/>
            </a:p>
          </p:txBody>
        </p:sp>
        <p:sp>
          <p:nvSpPr>
            <p:cNvPr id="909" name="object 909"/>
            <p:cNvSpPr/>
            <p:nvPr/>
          </p:nvSpPr>
          <p:spPr>
            <a:xfrm>
              <a:off x="8049831" y="3089030"/>
              <a:ext cx="251447" cy="274166"/>
            </a:xfrm>
            <a:custGeom>
              <a:avLst/>
              <a:gdLst/>
              <a:ahLst/>
              <a:cxnLst/>
              <a:rect l="l" t="t" r="r" b="b"/>
              <a:pathLst>
                <a:path w="414655" h="452120">
                  <a:moveTo>
                    <a:pt x="230" y="0"/>
                  </a:moveTo>
                  <a:lnTo>
                    <a:pt x="0" y="216464"/>
                  </a:lnTo>
                  <a:lnTo>
                    <a:pt x="414133" y="451724"/>
                  </a:lnTo>
                  <a:lnTo>
                    <a:pt x="414133" y="422322"/>
                  </a:lnTo>
                  <a:lnTo>
                    <a:pt x="18072" y="197418"/>
                  </a:lnTo>
                  <a:lnTo>
                    <a:pt x="18072" y="10114"/>
                  </a:lnTo>
                  <a:lnTo>
                    <a:pt x="230" y="0"/>
                  </a:lnTo>
                  <a:close/>
                </a:path>
              </a:pathLst>
            </a:custGeom>
            <a:solidFill>
              <a:srgbClr val="F7F1F1"/>
            </a:solidFill>
          </p:spPr>
          <p:txBody>
            <a:bodyPr wrap="square" lIns="0" tIns="0" rIns="0" bIns="0" rtlCol="0"/>
            <a:lstStyle/>
            <a:p>
              <a:endParaRPr sz="1092" dirty="0"/>
            </a:p>
          </p:txBody>
        </p:sp>
        <p:sp>
          <p:nvSpPr>
            <p:cNvPr id="910" name="object 910"/>
            <p:cNvSpPr/>
            <p:nvPr/>
          </p:nvSpPr>
          <p:spPr>
            <a:xfrm>
              <a:off x="8049828" y="3252305"/>
              <a:ext cx="251138" cy="273920"/>
            </a:xfrm>
            <a:prstGeom prst="rect">
              <a:avLst/>
            </a:prstGeom>
            <a:blipFill>
              <a:blip r:embed="rId30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911" name="object 911"/>
            <p:cNvSpPr/>
            <p:nvPr/>
          </p:nvSpPr>
          <p:spPr>
            <a:xfrm>
              <a:off x="8060794" y="3258441"/>
              <a:ext cx="240280" cy="250292"/>
            </a:xfrm>
            <a:custGeom>
              <a:avLst/>
              <a:gdLst/>
              <a:ahLst/>
              <a:cxnLst/>
              <a:rect l="l" t="t" r="r" b="b"/>
              <a:pathLst>
                <a:path w="396240" h="412750">
                  <a:moveTo>
                    <a:pt x="0" y="0"/>
                  </a:moveTo>
                  <a:lnTo>
                    <a:pt x="0" y="187051"/>
                  </a:lnTo>
                  <a:lnTo>
                    <a:pt x="396061" y="412196"/>
                  </a:lnTo>
                  <a:lnTo>
                    <a:pt x="396061" y="384951"/>
                  </a:lnTo>
                  <a:lnTo>
                    <a:pt x="22899" y="172832"/>
                  </a:lnTo>
                  <a:lnTo>
                    <a:pt x="23130" y="13015"/>
                  </a:lnTo>
                  <a:lnTo>
                    <a:pt x="0" y="0"/>
                  </a:lnTo>
                  <a:close/>
                </a:path>
              </a:pathLst>
            </a:custGeom>
            <a:solidFill>
              <a:srgbClr val="B9BCC6"/>
            </a:solidFill>
          </p:spPr>
          <p:txBody>
            <a:bodyPr wrap="square" lIns="0" tIns="0" rIns="0" bIns="0" rtlCol="0"/>
            <a:lstStyle/>
            <a:p>
              <a:endParaRPr sz="1092" dirty="0"/>
            </a:p>
          </p:txBody>
        </p:sp>
        <p:sp>
          <p:nvSpPr>
            <p:cNvPr id="912" name="object 912"/>
            <p:cNvSpPr/>
            <p:nvPr/>
          </p:nvSpPr>
          <p:spPr>
            <a:xfrm>
              <a:off x="8049831" y="3252299"/>
              <a:ext cx="251447" cy="274166"/>
            </a:xfrm>
            <a:custGeom>
              <a:avLst/>
              <a:gdLst/>
              <a:ahLst/>
              <a:cxnLst/>
              <a:rect l="l" t="t" r="r" b="b"/>
              <a:pathLst>
                <a:path w="414655" h="452120">
                  <a:moveTo>
                    <a:pt x="0" y="0"/>
                  </a:moveTo>
                  <a:lnTo>
                    <a:pt x="0" y="216475"/>
                  </a:lnTo>
                  <a:lnTo>
                    <a:pt x="414133" y="451734"/>
                  </a:lnTo>
                  <a:lnTo>
                    <a:pt x="414133" y="422332"/>
                  </a:lnTo>
                  <a:lnTo>
                    <a:pt x="18072" y="197177"/>
                  </a:lnTo>
                  <a:lnTo>
                    <a:pt x="18072" y="10125"/>
                  </a:lnTo>
                  <a:lnTo>
                    <a:pt x="0" y="0"/>
                  </a:lnTo>
                  <a:close/>
                </a:path>
              </a:pathLst>
            </a:custGeom>
            <a:solidFill>
              <a:srgbClr val="F7F1F1"/>
            </a:solidFill>
          </p:spPr>
          <p:txBody>
            <a:bodyPr wrap="square" lIns="0" tIns="0" rIns="0" bIns="0" rtlCol="0"/>
            <a:lstStyle/>
            <a:p>
              <a:endParaRPr sz="1092" dirty="0"/>
            </a:p>
          </p:txBody>
        </p:sp>
        <p:sp>
          <p:nvSpPr>
            <p:cNvPr id="913" name="object 913"/>
            <p:cNvSpPr/>
            <p:nvPr/>
          </p:nvSpPr>
          <p:spPr>
            <a:xfrm>
              <a:off x="8301106" y="3438093"/>
              <a:ext cx="204200" cy="248344"/>
            </a:xfrm>
            <a:prstGeom prst="rect">
              <a:avLst/>
            </a:prstGeom>
            <a:blipFill>
              <a:blip r:embed="rId30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914" name="object 914"/>
            <p:cNvSpPr/>
            <p:nvPr/>
          </p:nvSpPr>
          <p:spPr>
            <a:xfrm>
              <a:off x="8301107" y="3444228"/>
              <a:ext cx="193302" cy="224493"/>
            </a:xfrm>
            <a:custGeom>
              <a:avLst/>
              <a:gdLst/>
              <a:ahLst/>
              <a:cxnLst/>
              <a:rect l="l" t="t" r="r" b="b"/>
              <a:pathLst>
                <a:path w="318769" h="370204">
                  <a:moveTo>
                    <a:pt x="318430" y="0"/>
                  </a:moveTo>
                  <a:lnTo>
                    <a:pt x="295289" y="13256"/>
                  </a:lnTo>
                  <a:lnTo>
                    <a:pt x="295519" y="173565"/>
                  </a:lnTo>
                  <a:lnTo>
                    <a:pt x="0" y="342785"/>
                  </a:lnTo>
                  <a:lnTo>
                    <a:pt x="0" y="370020"/>
                  </a:lnTo>
                  <a:lnTo>
                    <a:pt x="318660" y="187774"/>
                  </a:lnTo>
                  <a:lnTo>
                    <a:pt x="318430" y="0"/>
                  </a:lnTo>
                  <a:close/>
                </a:path>
              </a:pathLst>
            </a:custGeom>
            <a:solidFill>
              <a:srgbClr val="91949E"/>
            </a:solidFill>
          </p:spPr>
          <p:txBody>
            <a:bodyPr wrap="square" lIns="0" tIns="0" rIns="0" bIns="0" rtlCol="0"/>
            <a:lstStyle/>
            <a:p>
              <a:endParaRPr sz="1092" dirty="0"/>
            </a:p>
          </p:txBody>
        </p:sp>
        <p:sp>
          <p:nvSpPr>
            <p:cNvPr id="915" name="object 915"/>
            <p:cNvSpPr/>
            <p:nvPr/>
          </p:nvSpPr>
          <p:spPr>
            <a:xfrm>
              <a:off x="8301111" y="3438090"/>
              <a:ext cx="204469" cy="248367"/>
            </a:xfrm>
            <a:custGeom>
              <a:avLst/>
              <a:gdLst/>
              <a:ahLst/>
              <a:cxnLst/>
              <a:rect l="l" t="t" r="r" b="b"/>
              <a:pathLst>
                <a:path w="337184" h="409575">
                  <a:moveTo>
                    <a:pt x="336502" y="0"/>
                  </a:moveTo>
                  <a:lnTo>
                    <a:pt x="318419" y="10125"/>
                  </a:lnTo>
                  <a:lnTo>
                    <a:pt x="318660" y="197899"/>
                  </a:lnTo>
                  <a:lnTo>
                    <a:pt x="0" y="380135"/>
                  </a:lnTo>
                  <a:lnTo>
                    <a:pt x="0" y="409537"/>
                  </a:lnTo>
                  <a:lnTo>
                    <a:pt x="336733" y="216694"/>
                  </a:lnTo>
                  <a:lnTo>
                    <a:pt x="336502" y="0"/>
                  </a:lnTo>
                  <a:close/>
                </a:path>
              </a:pathLst>
            </a:custGeom>
            <a:solidFill>
              <a:srgbClr val="CAC4C4"/>
            </a:solidFill>
          </p:spPr>
          <p:txBody>
            <a:bodyPr wrap="square" lIns="0" tIns="0" rIns="0" bIns="0" rtlCol="0"/>
            <a:lstStyle/>
            <a:p>
              <a:endParaRPr sz="1092" dirty="0"/>
            </a:p>
          </p:txBody>
        </p:sp>
        <p:sp>
          <p:nvSpPr>
            <p:cNvPr id="916" name="object 916"/>
            <p:cNvSpPr/>
            <p:nvPr/>
          </p:nvSpPr>
          <p:spPr>
            <a:xfrm>
              <a:off x="8300965" y="3601651"/>
              <a:ext cx="204340" cy="247925"/>
            </a:xfrm>
            <a:prstGeom prst="rect">
              <a:avLst/>
            </a:prstGeom>
            <a:blipFill>
              <a:blip r:embed="rId30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917" name="object 917"/>
            <p:cNvSpPr/>
            <p:nvPr/>
          </p:nvSpPr>
          <p:spPr>
            <a:xfrm>
              <a:off x="8300961" y="3607945"/>
              <a:ext cx="193687" cy="224108"/>
            </a:xfrm>
            <a:custGeom>
              <a:avLst/>
              <a:gdLst/>
              <a:ahLst/>
              <a:cxnLst/>
              <a:rect l="l" t="t" r="r" b="b"/>
              <a:pathLst>
                <a:path w="319405" h="369570">
                  <a:moveTo>
                    <a:pt x="318670" y="0"/>
                  </a:moveTo>
                  <a:lnTo>
                    <a:pt x="295530" y="13256"/>
                  </a:lnTo>
                  <a:lnTo>
                    <a:pt x="295760" y="173073"/>
                  </a:lnTo>
                  <a:lnTo>
                    <a:pt x="0" y="341801"/>
                  </a:lnTo>
                  <a:lnTo>
                    <a:pt x="0" y="369035"/>
                  </a:lnTo>
                  <a:lnTo>
                    <a:pt x="318901" y="187051"/>
                  </a:lnTo>
                  <a:lnTo>
                    <a:pt x="318670" y="0"/>
                  </a:lnTo>
                  <a:close/>
                </a:path>
              </a:pathLst>
            </a:custGeom>
            <a:solidFill>
              <a:srgbClr val="91949E"/>
            </a:solidFill>
          </p:spPr>
          <p:txBody>
            <a:bodyPr wrap="square" lIns="0" tIns="0" rIns="0" bIns="0" rtlCol="0"/>
            <a:lstStyle/>
            <a:p>
              <a:endParaRPr sz="1092" dirty="0"/>
            </a:p>
          </p:txBody>
        </p:sp>
        <p:sp>
          <p:nvSpPr>
            <p:cNvPr id="918" name="object 918"/>
            <p:cNvSpPr/>
            <p:nvPr/>
          </p:nvSpPr>
          <p:spPr>
            <a:xfrm>
              <a:off x="8300965" y="3601657"/>
              <a:ext cx="204469" cy="247982"/>
            </a:xfrm>
            <a:custGeom>
              <a:avLst/>
              <a:gdLst/>
              <a:ahLst/>
              <a:cxnLst/>
              <a:rect l="l" t="t" r="r" b="b"/>
              <a:pathLst>
                <a:path w="337184" h="408939">
                  <a:moveTo>
                    <a:pt x="336743" y="0"/>
                  </a:moveTo>
                  <a:lnTo>
                    <a:pt x="318660" y="10366"/>
                  </a:lnTo>
                  <a:lnTo>
                    <a:pt x="318901" y="197418"/>
                  </a:lnTo>
                  <a:lnTo>
                    <a:pt x="0" y="379412"/>
                  </a:lnTo>
                  <a:lnTo>
                    <a:pt x="0" y="408835"/>
                  </a:lnTo>
                  <a:lnTo>
                    <a:pt x="336974" y="216464"/>
                  </a:lnTo>
                  <a:lnTo>
                    <a:pt x="336743" y="0"/>
                  </a:lnTo>
                  <a:close/>
                </a:path>
              </a:pathLst>
            </a:custGeom>
            <a:solidFill>
              <a:srgbClr val="CAC4C4"/>
            </a:solidFill>
          </p:spPr>
          <p:txBody>
            <a:bodyPr wrap="square" lIns="0" tIns="0" rIns="0" bIns="0" rtlCol="0"/>
            <a:lstStyle/>
            <a:p>
              <a:endParaRPr sz="1092" dirty="0"/>
            </a:p>
          </p:txBody>
        </p:sp>
        <p:sp>
          <p:nvSpPr>
            <p:cNvPr id="919" name="object 919"/>
            <p:cNvSpPr/>
            <p:nvPr/>
          </p:nvSpPr>
          <p:spPr>
            <a:xfrm>
              <a:off x="8049827" y="3412504"/>
              <a:ext cx="251137" cy="273933"/>
            </a:xfrm>
            <a:prstGeom prst="rect">
              <a:avLst/>
            </a:prstGeom>
            <a:blipFill>
              <a:blip r:embed="rId30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920" name="object 920"/>
            <p:cNvSpPr/>
            <p:nvPr/>
          </p:nvSpPr>
          <p:spPr>
            <a:xfrm>
              <a:off x="8060790" y="3418791"/>
              <a:ext cx="240280" cy="249907"/>
            </a:xfrm>
            <a:custGeom>
              <a:avLst/>
              <a:gdLst/>
              <a:ahLst/>
              <a:cxnLst/>
              <a:rect l="l" t="t" r="r" b="b"/>
              <a:pathLst>
                <a:path w="396240" h="412114">
                  <a:moveTo>
                    <a:pt x="0" y="0"/>
                  </a:moveTo>
                  <a:lnTo>
                    <a:pt x="0" y="186811"/>
                  </a:lnTo>
                  <a:lnTo>
                    <a:pt x="396061" y="411966"/>
                  </a:lnTo>
                  <a:lnTo>
                    <a:pt x="396061" y="384731"/>
                  </a:lnTo>
                  <a:lnTo>
                    <a:pt x="23140" y="173324"/>
                  </a:lnTo>
                  <a:lnTo>
                    <a:pt x="23140" y="13015"/>
                  </a:lnTo>
                  <a:lnTo>
                    <a:pt x="0" y="0"/>
                  </a:lnTo>
                  <a:close/>
                </a:path>
              </a:pathLst>
            </a:custGeom>
            <a:solidFill>
              <a:srgbClr val="B9BCC6"/>
            </a:solidFill>
          </p:spPr>
          <p:txBody>
            <a:bodyPr wrap="square" lIns="0" tIns="0" rIns="0" bIns="0" rtlCol="0"/>
            <a:lstStyle/>
            <a:p>
              <a:endParaRPr sz="1092" dirty="0"/>
            </a:p>
          </p:txBody>
        </p:sp>
        <p:sp>
          <p:nvSpPr>
            <p:cNvPr id="921" name="object 921"/>
            <p:cNvSpPr/>
            <p:nvPr/>
          </p:nvSpPr>
          <p:spPr>
            <a:xfrm>
              <a:off x="8049831" y="3412512"/>
              <a:ext cx="251447" cy="274166"/>
            </a:xfrm>
            <a:custGeom>
              <a:avLst/>
              <a:gdLst/>
              <a:ahLst/>
              <a:cxnLst/>
              <a:rect l="l" t="t" r="r" b="b"/>
              <a:pathLst>
                <a:path w="414655" h="452120">
                  <a:moveTo>
                    <a:pt x="230" y="0"/>
                  </a:moveTo>
                  <a:lnTo>
                    <a:pt x="0" y="216694"/>
                  </a:lnTo>
                  <a:lnTo>
                    <a:pt x="414133" y="451724"/>
                  </a:lnTo>
                  <a:lnTo>
                    <a:pt x="414133" y="422322"/>
                  </a:lnTo>
                  <a:lnTo>
                    <a:pt x="18072" y="197166"/>
                  </a:lnTo>
                  <a:lnTo>
                    <a:pt x="18072" y="10355"/>
                  </a:lnTo>
                  <a:lnTo>
                    <a:pt x="230" y="0"/>
                  </a:lnTo>
                  <a:close/>
                </a:path>
              </a:pathLst>
            </a:custGeom>
            <a:solidFill>
              <a:srgbClr val="F7F1F1"/>
            </a:solidFill>
          </p:spPr>
          <p:txBody>
            <a:bodyPr wrap="square" lIns="0" tIns="0" rIns="0" bIns="0" rtlCol="0"/>
            <a:lstStyle/>
            <a:p>
              <a:endParaRPr sz="1092" dirty="0"/>
            </a:p>
          </p:txBody>
        </p:sp>
        <p:sp>
          <p:nvSpPr>
            <p:cNvPr id="922" name="object 922"/>
            <p:cNvSpPr/>
            <p:nvPr/>
          </p:nvSpPr>
          <p:spPr>
            <a:xfrm>
              <a:off x="8049827" y="3575929"/>
              <a:ext cx="251139" cy="273792"/>
            </a:xfrm>
            <a:prstGeom prst="rect">
              <a:avLst/>
            </a:prstGeom>
            <a:blipFill>
              <a:blip r:embed="rId30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923" name="object 923"/>
            <p:cNvSpPr/>
            <p:nvPr/>
          </p:nvSpPr>
          <p:spPr>
            <a:xfrm>
              <a:off x="8060794" y="3582073"/>
              <a:ext cx="240280" cy="250292"/>
            </a:xfrm>
            <a:custGeom>
              <a:avLst/>
              <a:gdLst/>
              <a:ahLst/>
              <a:cxnLst/>
              <a:rect l="l" t="t" r="r" b="b"/>
              <a:pathLst>
                <a:path w="396240" h="412750">
                  <a:moveTo>
                    <a:pt x="0" y="0"/>
                  </a:moveTo>
                  <a:lnTo>
                    <a:pt x="0" y="187051"/>
                  </a:lnTo>
                  <a:lnTo>
                    <a:pt x="396061" y="412196"/>
                  </a:lnTo>
                  <a:lnTo>
                    <a:pt x="396061" y="384710"/>
                  </a:lnTo>
                  <a:lnTo>
                    <a:pt x="22899" y="172832"/>
                  </a:lnTo>
                  <a:lnTo>
                    <a:pt x="23130" y="13015"/>
                  </a:lnTo>
                  <a:lnTo>
                    <a:pt x="0" y="0"/>
                  </a:lnTo>
                  <a:close/>
                </a:path>
              </a:pathLst>
            </a:custGeom>
            <a:solidFill>
              <a:srgbClr val="B9BCC6"/>
            </a:solidFill>
          </p:spPr>
          <p:txBody>
            <a:bodyPr wrap="square" lIns="0" tIns="0" rIns="0" bIns="0" rtlCol="0"/>
            <a:lstStyle/>
            <a:p>
              <a:endParaRPr sz="1092" dirty="0"/>
            </a:p>
          </p:txBody>
        </p:sp>
        <p:sp>
          <p:nvSpPr>
            <p:cNvPr id="924" name="object 924"/>
            <p:cNvSpPr/>
            <p:nvPr/>
          </p:nvSpPr>
          <p:spPr>
            <a:xfrm>
              <a:off x="8049831" y="3575930"/>
              <a:ext cx="251447" cy="274166"/>
            </a:xfrm>
            <a:custGeom>
              <a:avLst/>
              <a:gdLst/>
              <a:ahLst/>
              <a:cxnLst/>
              <a:rect l="l" t="t" r="r" b="b"/>
              <a:pathLst>
                <a:path w="414655" h="452120">
                  <a:moveTo>
                    <a:pt x="0" y="0"/>
                  </a:moveTo>
                  <a:lnTo>
                    <a:pt x="0" y="215993"/>
                  </a:lnTo>
                  <a:lnTo>
                    <a:pt x="18072" y="226589"/>
                  </a:lnTo>
                  <a:lnTo>
                    <a:pt x="414133" y="451494"/>
                  </a:lnTo>
                  <a:lnTo>
                    <a:pt x="414133" y="422332"/>
                  </a:lnTo>
                  <a:lnTo>
                    <a:pt x="18072" y="197177"/>
                  </a:lnTo>
                  <a:lnTo>
                    <a:pt x="18072" y="10125"/>
                  </a:lnTo>
                  <a:lnTo>
                    <a:pt x="0" y="0"/>
                  </a:lnTo>
                  <a:close/>
                </a:path>
              </a:pathLst>
            </a:custGeom>
            <a:solidFill>
              <a:srgbClr val="F7F1F1"/>
            </a:solidFill>
          </p:spPr>
          <p:txBody>
            <a:bodyPr wrap="square" lIns="0" tIns="0" rIns="0" bIns="0" rtlCol="0"/>
            <a:lstStyle/>
            <a:p>
              <a:endParaRPr sz="1092" dirty="0"/>
            </a:p>
          </p:txBody>
        </p:sp>
        <p:sp>
          <p:nvSpPr>
            <p:cNvPr id="925" name="object 925"/>
            <p:cNvSpPr/>
            <p:nvPr/>
          </p:nvSpPr>
          <p:spPr>
            <a:xfrm>
              <a:off x="8454292" y="2723151"/>
              <a:ext cx="114364" cy="84714"/>
            </a:xfrm>
            <a:custGeom>
              <a:avLst/>
              <a:gdLst/>
              <a:ahLst/>
              <a:cxnLst/>
              <a:rect l="l" t="t" r="r" b="b"/>
              <a:pathLst>
                <a:path w="188594" h="139700">
                  <a:moveTo>
                    <a:pt x="73537" y="0"/>
                  </a:moveTo>
                  <a:lnTo>
                    <a:pt x="21936" y="48207"/>
                  </a:lnTo>
                  <a:lnTo>
                    <a:pt x="0" y="139336"/>
                  </a:lnTo>
                  <a:lnTo>
                    <a:pt x="84363" y="122457"/>
                  </a:lnTo>
                  <a:lnTo>
                    <a:pt x="188507" y="58584"/>
                  </a:lnTo>
                  <a:lnTo>
                    <a:pt x="73537" y="0"/>
                  </a:lnTo>
                  <a:close/>
                </a:path>
              </a:pathLst>
            </a:custGeom>
            <a:solidFill>
              <a:srgbClr val="BABABB"/>
            </a:solidFill>
          </p:spPr>
          <p:txBody>
            <a:bodyPr wrap="square" lIns="0" tIns="0" rIns="0" bIns="0" rtlCol="0"/>
            <a:lstStyle/>
            <a:p>
              <a:endParaRPr sz="1092" dirty="0"/>
            </a:p>
          </p:txBody>
        </p:sp>
        <p:sp>
          <p:nvSpPr>
            <p:cNvPr id="926" name="object 926"/>
            <p:cNvSpPr/>
            <p:nvPr/>
          </p:nvSpPr>
          <p:spPr>
            <a:xfrm>
              <a:off x="8392323" y="2696552"/>
              <a:ext cx="61995" cy="111284"/>
            </a:xfrm>
            <a:custGeom>
              <a:avLst/>
              <a:gdLst/>
              <a:ahLst/>
              <a:cxnLst/>
              <a:rect l="l" t="t" r="r" b="b"/>
              <a:pathLst>
                <a:path w="102234" h="183514">
                  <a:moveTo>
                    <a:pt x="0" y="0"/>
                  </a:moveTo>
                  <a:lnTo>
                    <a:pt x="0" y="127996"/>
                  </a:lnTo>
                  <a:lnTo>
                    <a:pt x="102185" y="183198"/>
                  </a:lnTo>
                  <a:lnTo>
                    <a:pt x="102185" y="54951"/>
                  </a:lnTo>
                  <a:lnTo>
                    <a:pt x="0" y="0"/>
                  </a:lnTo>
                  <a:close/>
                </a:path>
              </a:pathLst>
            </a:custGeom>
            <a:solidFill>
              <a:srgbClr val="F7F1F1"/>
            </a:solidFill>
          </p:spPr>
          <p:txBody>
            <a:bodyPr wrap="square" lIns="0" tIns="0" rIns="0" bIns="0" rtlCol="0"/>
            <a:lstStyle/>
            <a:p>
              <a:endParaRPr sz="1092" dirty="0"/>
            </a:p>
          </p:txBody>
        </p:sp>
        <p:sp>
          <p:nvSpPr>
            <p:cNvPr id="927" name="object 927"/>
            <p:cNvSpPr/>
            <p:nvPr/>
          </p:nvSpPr>
          <p:spPr>
            <a:xfrm>
              <a:off x="8454290" y="2690996"/>
              <a:ext cx="62766" cy="116675"/>
            </a:xfrm>
            <a:custGeom>
              <a:avLst/>
              <a:gdLst/>
              <a:ahLst/>
              <a:cxnLst/>
              <a:rect l="l" t="t" r="r" b="b"/>
              <a:pathLst>
                <a:path w="103505" h="192404">
                  <a:moveTo>
                    <a:pt x="103180" y="0"/>
                  </a:moveTo>
                  <a:lnTo>
                    <a:pt x="0" y="64113"/>
                  </a:lnTo>
                  <a:lnTo>
                    <a:pt x="0" y="192360"/>
                  </a:lnTo>
                  <a:lnTo>
                    <a:pt x="103180" y="128236"/>
                  </a:lnTo>
                  <a:lnTo>
                    <a:pt x="103180" y="0"/>
                  </a:lnTo>
                  <a:close/>
                </a:path>
              </a:pathLst>
            </a:custGeom>
            <a:solidFill>
              <a:srgbClr val="CAC4C4"/>
            </a:solidFill>
          </p:spPr>
          <p:txBody>
            <a:bodyPr wrap="square" lIns="0" tIns="0" rIns="0" bIns="0" rtlCol="0"/>
            <a:lstStyle/>
            <a:p>
              <a:endParaRPr sz="1092" dirty="0"/>
            </a:p>
          </p:txBody>
        </p:sp>
        <p:sp>
          <p:nvSpPr>
            <p:cNvPr id="928" name="object 928"/>
            <p:cNvSpPr/>
            <p:nvPr/>
          </p:nvSpPr>
          <p:spPr>
            <a:xfrm>
              <a:off x="8458828" y="2701811"/>
              <a:ext cx="54816" cy="92824"/>
            </a:xfrm>
            <a:prstGeom prst="rect">
              <a:avLst/>
            </a:prstGeom>
            <a:blipFill>
              <a:blip r:embed="rId31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929" name="object 929"/>
            <p:cNvSpPr/>
            <p:nvPr/>
          </p:nvSpPr>
          <p:spPr>
            <a:xfrm>
              <a:off x="8458975" y="2759693"/>
              <a:ext cx="54679" cy="35041"/>
            </a:xfrm>
            <a:custGeom>
              <a:avLst/>
              <a:gdLst/>
              <a:ahLst/>
              <a:cxnLst/>
              <a:rect l="l" t="t" r="r" b="b"/>
              <a:pathLst>
                <a:path w="90169" h="57785">
                  <a:moveTo>
                    <a:pt x="90154" y="0"/>
                  </a:moveTo>
                  <a:lnTo>
                    <a:pt x="0" y="55202"/>
                  </a:lnTo>
                  <a:lnTo>
                    <a:pt x="0" y="57369"/>
                  </a:lnTo>
                  <a:lnTo>
                    <a:pt x="90154" y="1444"/>
                  </a:lnTo>
                  <a:lnTo>
                    <a:pt x="90154" y="0"/>
                  </a:lnTo>
                  <a:close/>
                </a:path>
              </a:pathLst>
            </a:custGeom>
            <a:solidFill>
              <a:srgbClr val="8B8787"/>
            </a:solidFill>
          </p:spPr>
          <p:txBody>
            <a:bodyPr wrap="square" lIns="0" tIns="0" rIns="0" bIns="0" rtlCol="0"/>
            <a:lstStyle/>
            <a:p>
              <a:endParaRPr sz="1092" dirty="0"/>
            </a:p>
          </p:txBody>
        </p:sp>
        <p:sp>
          <p:nvSpPr>
            <p:cNvPr id="930" name="object 930"/>
            <p:cNvSpPr/>
            <p:nvPr/>
          </p:nvSpPr>
          <p:spPr>
            <a:xfrm>
              <a:off x="8458829" y="2747125"/>
              <a:ext cx="55064" cy="35041"/>
            </a:xfrm>
            <a:custGeom>
              <a:avLst/>
              <a:gdLst/>
              <a:ahLst/>
              <a:cxnLst/>
              <a:rect l="l" t="t" r="r" b="b"/>
              <a:pathLst>
                <a:path w="90805" h="57785">
                  <a:moveTo>
                    <a:pt x="90395" y="0"/>
                  </a:moveTo>
                  <a:lnTo>
                    <a:pt x="0" y="55432"/>
                  </a:lnTo>
                  <a:lnTo>
                    <a:pt x="0" y="57369"/>
                  </a:lnTo>
                  <a:lnTo>
                    <a:pt x="90395" y="1685"/>
                  </a:lnTo>
                  <a:lnTo>
                    <a:pt x="90395" y="0"/>
                  </a:lnTo>
                  <a:close/>
                </a:path>
              </a:pathLst>
            </a:custGeom>
            <a:solidFill>
              <a:srgbClr val="8B8787"/>
            </a:solidFill>
          </p:spPr>
          <p:txBody>
            <a:bodyPr wrap="square" lIns="0" tIns="0" rIns="0" bIns="0" rtlCol="0"/>
            <a:lstStyle/>
            <a:p>
              <a:endParaRPr sz="1092" dirty="0"/>
            </a:p>
          </p:txBody>
        </p:sp>
        <p:sp>
          <p:nvSpPr>
            <p:cNvPr id="931" name="object 931"/>
            <p:cNvSpPr/>
            <p:nvPr/>
          </p:nvSpPr>
          <p:spPr>
            <a:xfrm>
              <a:off x="8458829" y="2734556"/>
              <a:ext cx="55064" cy="35041"/>
            </a:xfrm>
            <a:custGeom>
              <a:avLst/>
              <a:gdLst/>
              <a:ahLst/>
              <a:cxnLst/>
              <a:rect l="l" t="t" r="r" b="b"/>
              <a:pathLst>
                <a:path w="90805" h="57785">
                  <a:moveTo>
                    <a:pt x="90395" y="0"/>
                  </a:moveTo>
                  <a:lnTo>
                    <a:pt x="0" y="55432"/>
                  </a:lnTo>
                  <a:lnTo>
                    <a:pt x="0" y="57600"/>
                  </a:lnTo>
                  <a:lnTo>
                    <a:pt x="90395" y="1685"/>
                  </a:lnTo>
                  <a:lnTo>
                    <a:pt x="90395" y="0"/>
                  </a:lnTo>
                  <a:close/>
                </a:path>
              </a:pathLst>
            </a:custGeom>
            <a:solidFill>
              <a:srgbClr val="8B8787"/>
            </a:solidFill>
          </p:spPr>
          <p:txBody>
            <a:bodyPr wrap="square" lIns="0" tIns="0" rIns="0" bIns="0" rtlCol="0"/>
            <a:lstStyle/>
            <a:p>
              <a:endParaRPr sz="1092" dirty="0"/>
            </a:p>
          </p:txBody>
        </p:sp>
        <p:sp>
          <p:nvSpPr>
            <p:cNvPr id="932" name="object 932"/>
            <p:cNvSpPr/>
            <p:nvPr/>
          </p:nvSpPr>
          <p:spPr>
            <a:xfrm>
              <a:off x="8458829" y="2722130"/>
              <a:ext cx="55064" cy="35041"/>
            </a:xfrm>
            <a:custGeom>
              <a:avLst/>
              <a:gdLst/>
              <a:ahLst/>
              <a:cxnLst/>
              <a:rect l="l" t="t" r="r" b="b"/>
              <a:pathLst>
                <a:path w="90805" h="57785">
                  <a:moveTo>
                    <a:pt x="90395" y="0"/>
                  </a:moveTo>
                  <a:lnTo>
                    <a:pt x="0" y="55202"/>
                  </a:lnTo>
                  <a:lnTo>
                    <a:pt x="0" y="57369"/>
                  </a:lnTo>
                  <a:lnTo>
                    <a:pt x="90395" y="1444"/>
                  </a:lnTo>
                  <a:lnTo>
                    <a:pt x="90395" y="0"/>
                  </a:lnTo>
                  <a:close/>
                </a:path>
              </a:pathLst>
            </a:custGeom>
            <a:solidFill>
              <a:srgbClr val="8B8787"/>
            </a:solidFill>
          </p:spPr>
          <p:txBody>
            <a:bodyPr wrap="square" lIns="0" tIns="0" rIns="0" bIns="0" rtlCol="0"/>
            <a:lstStyle/>
            <a:p>
              <a:endParaRPr sz="1092" dirty="0"/>
            </a:p>
          </p:txBody>
        </p:sp>
        <p:sp>
          <p:nvSpPr>
            <p:cNvPr id="933" name="object 933"/>
            <p:cNvSpPr/>
            <p:nvPr/>
          </p:nvSpPr>
          <p:spPr>
            <a:xfrm>
              <a:off x="8458829" y="2709561"/>
              <a:ext cx="55064" cy="35041"/>
            </a:xfrm>
            <a:custGeom>
              <a:avLst/>
              <a:gdLst/>
              <a:ahLst/>
              <a:cxnLst/>
              <a:rect l="l" t="t" r="r" b="b"/>
              <a:pathLst>
                <a:path w="90805" h="57785">
                  <a:moveTo>
                    <a:pt x="90395" y="0"/>
                  </a:moveTo>
                  <a:lnTo>
                    <a:pt x="0" y="55192"/>
                  </a:lnTo>
                  <a:lnTo>
                    <a:pt x="0" y="57369"/>
                  </a:lnTo>
                  <a:lnTo>
                    <a:pt x="90395" y="1434"/>
                  </a:lnTo>
                  <a:lnTo>
                    <a:pt x="90395" y="0"/>
                  </a:lnTo>
                  <a:close/>
                </a:path>
              </a:pathLst>
            </a:custGeom>
            <a:solidFill>
              <a:srgbClr val="8B8787"/>
            </a:solidFill>
          </p:spPr>
          <p:txBody>
            <a:bodyPr wrap="square" lIns="0" tIns="0" rIns="0" bIns="0" rtlCol="0"/>
            <a:lstStyle/>
            <a:p>
              <a:endParaRPr sz="1092" dirty="0"/>
            </a:p>
          </p:txBody>
        </p:sp>
        <p:sp>
          <p:nvSpPr>
            <p:cNvPr id="934" name="object 934"/>
            <p:cNvSpPr/>
            <p:nvPr/>
          </p:nvSpPr>
          <p:spPr>
            <a:xfrm>
              <a:off x="8462776" y="2733236"/>
              <a:ext cx="0" cy="59300"/>
            </a:xfrm>
            <a:custGeom>
              <a:avLst/>
              <a:gdLst/>
              <a:ahLst/>
              <a:cxnLst/>
              <a:rect l="l" t="t" r="r" b="b"/>
              <a:pathLst>
                <a:path h="97789">
                  <a:moveTo>
                    <a:pt x="0" y="0"/>
                  </a:moveTo>
                  <a:lnTo>
                    <a:pt x="0" y="97630"/>
                  </a:lnTo>
                </a:path>
              </a:pathLst>
            </a:custGeom>
            <a:ln w="3175">
              <a:solidFill>
                <a:srgbClr val="8B8787"/>
              </a:solidFill>
            </a:ln>
          </p:spPr>
          <p:txBody>
            <a:bodyPr wrap="square" lIns="0" tIns="0" rIns="0" bIns="0" rtlCol="0"/>
            <a:lstStyle/>
            <a:p>
              <a:endParaRPr sz="1092" dirty="0"/>
            </a:p>
          </p:txBody>
        </p:sp>
        <p:sp>
          <p:nvSpPr>
            <p:cNvPr id="935" name="object 935"/>
            <p:cNvSpPr/>
            <p:nvPr/>
          </p:nvSpPr>
          <p:spPr>
            <a:xfrm>
              <a:off x="8467011" y="2730609"/>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936" name="object 936"/>
            <p:cNvSpPr/>
            <p:nvPr/>
          </p:nvSpPr>
          <p:spPr>
            <a:xfrm>
              <a:off x="8471249" y="2727975"/>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937" name="object 937"/>
            <p:cNvSpPr/>
            <p:nvPr/>
          </p:nvSpPr>
          <p:spPr>
            <a:xfrm>
              <a:off x="8475486" y="2725341"/>
              <a:ext cx="0" cy="59300"/>
            </a:xfrm>
            <a:custGeom>
              <a:avLst/>
              <a:gdLst/>
              <a:ahLst/>
              <a:cxnLst/>
              <a:rect l="l" t="t" r="r" b="b"/>
              <a:pathLst>
                <a:path h="97789">
                  <a:moveTo>
                    <a:pt x="0" y="0"/>
                  </a:moveTo>
                  <a:lnTo>
                    <a:pt x="0" y="97630"/>
                  </a:lnTo>
                </a:path>
              </a:pathLst>
            </a:custGeom>
            <a:ln w="3175">
              <a:solidFill>
                <a:srgbClr val="8B8787"/>
              </a:solidFill>
            </a:ln>
          </p:spPr>
          <p:txBody>
            <a:bodyPr wrap="square" lIns="0" tIns="0" rIns="0" bIns="0" rtlCol="0"/>
            <a:lstStyle/>
            <a:p>
              <a:endParaRPr sz="1092" dirty="0"/>
            </a:p>
          </p:txBody>
        </p:sp>
        <p:sp>
          <p:nvSpPr>
            <p:cNvPr id="938" name="object 938"/>
            <p:cNvSpPr/>
            <p:nvPr/>
          </p:nvSpPr>
          <p:spPr>
            <a:xfrm>
              <a:off x="8479725" y="2722715"/>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939" name="object 939"/>
            <p:cNvSpPr/>
            <p:nvPr/>
          </p:nvSpPr>
          <p:spPr>
            <a:xfrm>
              <a:off x="8483968" y="2720231"/>
              <a:ext cx="0" cy="59300"/>
            </a:xfrm>
            <a:custGeom>
              <a:avLst/>
              <a:gdLst/>
              <a:ahLst/>
              <a:cxnLst/>
              <a:rect l="l" t="t" r="r" b="b"/>
              <a:pathLst>
                <a:path h="97789">
                  <a:moveTo>
                    <a:pt x="0" y="0"/>
                  </a:moveTo>
                  <a:lnTo>
                    <a:pt x="0" y="97379"/>
                  </a:lnTo>
                </a:path>
              </a:pathLst>
            </a:custGeom>
            <a:ln w="3175">
              <a:solidFill>
                <a:srgbClr val="8B8787"/>
              </a:solidFill>
            </a:ln>
          </p:spPr>
          <p:txBody>
            <a:bodyPr wrap="square" lIns="0" tIns="0" rIns="0" bIns="0" rtlCol="0"/>
            <a:lstStyle/>
            <a:p>
              <a:endParaRPr sz="1092" dirty="0"/>
            </a:p>
          </p:txBody>
        </p:sp>
        <p:sp>
          <p:nvSpPr>
            <p:cNvPr id="940" name="object 940"/>
            <p:cNvSpPr/>
            <p:nvPr/>
          </p:nvSpPr>
          <p:spPr>
            <a:xfrm>
              <a:off x="8488206" y="2717597"/>
              <a:ext cx="0" cy="59300"/>
            </a:xfrm>
            <a:custGeom>
              <a:avLst/>
              <a:gdLst/>
              <a:ahLst/>
              <a:cxnLst/>
              <a:rect l="l" t="t" r="r" b="b"/>
              <a:pathLst>
                <a:path h="97789">
                  <a:moveTo>
                    <a:pt x="0" y="0"/>
                  </a:moveTo>
                  <a:lnTo>
                    <a:pt x="0" y="97389"/>
                  </a:lnTo>
                </a:path>
              </a:pathLst>
            </a:custGeom>
            <a:ln w="3175">
              <a:solidFill>
                <a:srgbClr val="8B8787"/>
              </a:solidFill>
            </a:ln>
          </p:spPr>
          <p:txBody>
            <a:bodyPr wrap="square" lIns="0" tIns="0" rIns="0" bIns="0" rtlCol="0"/>
            <a:lstStyle/>
            <a:p>
              <a:endParaRPr sz="1092" dirty="0"/>
            </a:p>
          </p:txBody>
        </p:sp>
        <p:sp>
          <p:nvSpPr>
            <p:cNvPr id="941" name="object 941"/>
            <p:cNvSpPr/>
            <p:nvPr/>
          </p:nvSpPr>
          <p:spPr>
            <a:xfrm>
              <a:off x="8492448" y="2714964"/>
              <a:ext cx="0" cy="59300"/>
            </a:xfrm>
            <a:custGeom>
              <a:avLst/>
              <a:gdLst/>
              <a:ahLst/>
              <a:cxnLst/>
              <a:rect l="l" t="t" r="r" b="b"/>
              <a:pathLst>
                <a:path h="97789">
                  <a:moveTo>
                    <a:pt x="0" y="0"/>
                  </a:moveTo>
                  <a:lnTo>
                    <a:pt x="0" y="97630"/>
                  </a:lnTo>
                </a:path>
              </a:pathLst>
            </a:custGeom>
            <a:ln w="3175">
              <a:solidFill>
                <a:srgbClr val="8B8787"/>
              </a:solidFill>
            </a:ln>
          </p:spPr>
          <p:txBody>
            <a:bodyPr wrap="square" lIns="0" tIns="0" rIns="0" bIns="0" rtlCol="0"/>
            <a:lstStyle/>
            <a:p>
              <a:endParaRPr sz="1092" dirty="0"/>
            </a:p>
          </p:txBody>
        </p:sp>
        <p:sp>
          <p:nvSpPr>
            <p:cNvPr id="942" name="object 942"/>
            <p:cNvSpPr/>
            <p:nvPr/>
          </p:nvSpPr>
          <p:spPr>
            <a:xfrm>
              <a:off x="8496685" y="2712337"/>
              <a:ext cx="0" cy="59300"/>
            </a:xfrm>
            <a:custGeom>
              <a:avLst/>
              <a:gdLst/>
              <a:ahLst/>
              <a:cxnLst/>
              <a:rect l="l" t="t" r="r" b="b"/>
              <a:pathLst>
                <a:path h="97789">
                  <a:moveTo>
                    <a:pt x="0" y="0"/>
                  </a:moveTo>
                  <a:lnTo>
                    <a:pt x="0" y="97389"/>
                  </a:lnTo>
                </a:path>
              </a:pathLst>
            </a:custGeom>
            <a:ln w="3175">
              <a:solidFill>
                <a:srgbClr val="8B8787"/>
              </a:solidFill>
            </a:ln>
          </p:spPr>
          <p:txBody>
            <a:bodyPr wrap="square" lIns="0" tIns="0" rIns="0" bIns="0" rtlCol="0"/>
            <a:lstStyle/>
            <a:p>
              <a:endParaRPr sz="1092" dirty="0"/>
            </a:p>
          </p:txBody>
        </p:sp>
        <p:sp>
          <p:nvSpPr>
            <p:cNvPr id="943" name="object 943"/>
            <p:cNvSpPr/>
            <p:nvPr/>
          </p:nvSpPr>
          <p:spPr>
            <a:xfrm>
              <a:off x="8500927" y="2709704"/>
              <a:ext cx="0" cy="59300"/>
            </a:xfrm>
            <a:custGeom>
              <a:avLst/>
              <a:gdLst/>
              <a:ahLst/>
              <a:cxnLst/>
              <a:rect l="l" t="t" r="r" b="b"/>
              <a:pathLst>
                <a:path h="97789">
                  <a:moveTo>
                    <a:pt x="0" y="0"/>
                  </a:moveTo>
                  <a:lnTo>
                    <a:pt x="0" y="97379"/>
                  </a:lnTo>
                </a:path>
              </a:pathLst>
            </a:custGeom>
            <a:ln w="3175">
              <a:solidFill>
                <a:srgbClr val="8B8787"/>
              </a:solidFill>
            </a:ln>
          </p:spPr>
          <p:txBody>
            <a:bodyPr wrap="square" lIns="0" tIns="0" rIns="0" bIns="0" rtlCol="0"/>
            <a:lstStyle/>
            <a:p>
              <a:endParaRPr sz="1092" dirty="0"/>
            </a:p>
          </p:txBody>
        </p:sp>
        <p:sp>
          <p:nvSpPr>
            <p:cNvPr id="944" name="object 944"/>
            <p:cNvSpPr/>
            <p:nvPr/>
          </p:nvSpPr>
          <p:spPr>
            <a:xfrm>
              <a:off x="8505166" y="2707069"/>
              <a:ext cx="0" cy="59300"/>
            </a:xfrm>
            <a:custGeom>
              <a:avLst/>
              <a:gdLst/>
              <a:ahLst/>
              <a:cxnLst/>
              <a:rect l="l" t="t" r="r" b="b"/>
              <a:pathLst>
                <a:path h="97789">
                  <a:moveTo>
                    <a:pt x="0" y="0"/>
                  </a:moveTo>
                  <a:lnTo>
                    <a:pt x="0" y="97630"/>
                  </a:lnTo>
                </a:path>
              </a:pathLst>
            </a:custGeom>
            <a:ln w="3175">
              <a:solidFill>
                <a:srgbClr val="8B8787"/>
              </a:solidFill>
            </a:ln>
          </p:spPr>
          <p:txBody>
            <a:bodyPr wrap="square" lIns="0" tIns="0" rIns="0" bIns="0" rtlCol="0"/>
            <a:lstStyle/>
            <a:p>
              <a:endParaRPr sz="1092" dirty="0"/>
            </a:p>
          </p:txBody>
        </p:sp>
        <p:sp>
          <p:nvSpPr>
            <p:cNvPr id="945" name="object 945"/>
            <p:cNvSpPr/>
            <p:nvPr/>
          </p:nvSpPr>
          <p:spPr>
            <a:xfrm>
              <a:off x="8509477" y="2704443"/>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946" name="object 946"/>
            <p:cNvSpPr/>
            <p:nvPr/>
          </p:nvSpPr>
          <p:spPr>
            <a:xfrm>
              <a:off x="8394952" y="2706923"/>
              <a:ext cx="54816" cy="87852"/>
            </a:xfrm>
            <a:prstGeom prst="rect">
              <a:avLst/>
            </a:prstGeom>
            <a:blipFill>
              <a:blip r:embed="rId31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947" name="object 947"/>
            <p:cNvSpPr/>
            <p:nvPr/>
          </p:nvSpPr>
          <p:spPr>
            <a:xfrm>
              <a:off x="8395095" y="2764809"/>
              <a:ext cx="54679" cy="30420"/>
            </a:xfrm>
            <a:custGeom>
              <a:avLst/>
              <a:gdLst/>
              <a:ahLst/>
              <a:cxnLst/>
              <a:rect l="l" t="t" r="r" b="b"/>
              <a:pathLst>
                <a:path w="90169" h="50164">
                  <a:moveTo>
                    <a:pt x="0" y="0"/>
                  </a:moveTo>
                  <a:lnTo>
                    <a:pt x="0" y="1685"/>
                  </a:lnTo>
                  <a:lnTo>
                    <a:pt x="90154" y="49663"/>
                  </a:lnTo>
                  <a:lnTo>
                    <a:pt x="90154" y="47495"/>
                  </a:lnTo>
                  <a:lnTo>
                    <a:pt x="0" y="0"/>
                  </a:lnTo>
                  <a:close/>
                </a:path>
              </a:pathLst>
            </a:custGeom>
            <a:solidFill>
              <a:srgbClr val="B8B4B4"/>
            </a:solidFill>
          </p:spPr>
          <p:txBody>
            <a:bodyPr wrap="square" lIns="0" tIns="0" rIns="0" bIns="0" rtlCol="0"/>
            <a:lstStyle/>
            <a:p>
              <a:endParaRPr sz="1092" dirty="0"/>
            </a:p>
          </p:txBody>
        </p:sp>
        <p:sp>
          <p:nvSpPr>
            <p:cNvPr id="948" name="object 948"/>
            <p:cNvSpPr/>
            <p:nvPr/>
          </p:nvSpPr>
          <p:spPr>
            <a:xfrm>
              <a:off x="8395095" y="2752246"/>
              <a:ext cx="54679" cy="30420"/>
            </a:xfrm>
            <a:custGeom>
              <a:avLst/>
              <a:gdLst/>
              <a:ahLst/>
              <a:cxnLst/>
              <a:rect l="l" t="t" r="r" b="b"/>
              <a:pathLst>
                <a:path w="90169" h="50164">
                  <a:moveTo>
                    <a:pt x="0" y="0"/>
                  </a:moveTo>
                  <a:lnTo>
                    <a:pt x="0" y="1675"/>
                  </a:lnTo>
                  <a:lnTo>
                    <a:pt x="90154" y="49652"/>
                  </a:lnTo>
                  <a:lnTo>
                    <a:pt x="90154" y="47474"/>
                  </a:lnTo>
                  <a:lnTo>
                    <a:pt x="0" y="0"/>
                  </a:lnTo>
                  <a:close/>
                </a:path>
              </a:pathLst>
            </a:custGeom>
            <a:solidFill>
              <a:srgbClr val="B8B4B4"/>
            </a:solidFill>
          </p:spPr>
          <p:txBody>
            <a:bodyPr wrap="square" lIns="0" tIns="0" rIns="0" bIns="0" rtlCol="0"/>
            <a:lstStyle/>
            <a:p>
              <a:endParaRPr sz="1092" dirty="0"/>
            </a:p>
          </p:txBody>
        </p:sp>
        <p:sp>
          <p:nvSpPr>
            <p:cNvPr id="949" name="object 949"/>
            <p:cNvSpPr/>
            <p:nvPr/>
          </p:nvSpPr>
          <p:spPr>
            <a:xfrm>
              <a:off x="8394949" y="2739667"/>
              <a:ext cx="55064" cy="30420"/>
            </a:xfrm>
            <a:custGeom>
              <a:avLst/>
              <a:gdLst/>
              <a:ahLst/>
              <a:cxnLst/>
              <a:rect l="l" t="t" r="r" b="b"/>
              <a:pathLst>
                <a:path w="90805" h="50164">
                  <a:moveTo>
                    <a:pt x="0" y="0"/>
                  </a:moveTo>
                  <a:lnTo>
                    <a:pt x="0" y="1696"/>
                  </a:lnTo>
                  <a:lnTo>
                    <a:pt x="90395" y="49904"/>
                  </a:lnTo>
                  <a:lnTo>
                    <a:pt x="90395" y="47726"/>
                  </a:lnTo>
                  <a:lnTo>
                    <a:pt x="0" y="0"/>
                  </a:lnTo>
                  <a:close/>
                </a:path>
              </a:pathLst>
            </a:custGeom>
            <a:solidFill>
              <a:srgbClr val="B8B4B4"/>
            </a:solidFill>
          </p:spPr>
          <p:txBody>
            <a:bodyPr wrap="square" lIns="0" tIns="0" rIns="0" bIns="0" rtlCol="0"/>
            <a:lstStyle/>
            <a:p>
              <a:endParaRPr sz="1092" dirty="0"/>
            </a:p>
          </p:txBody>
        </p:sp>
        <p:sp>
          <p:nvSpPr>
            <p:cNvPr id="950" name="object 950"/>
            <p:cNvSpPr/>
            <p:nvPr/>
          </p:nvSpPr>
          <p:spPr>
            <a:xfrm>
              <a:off x="8394949" y="2727250"/>
              <a:ext cx="55064" cy="30420"/>
            </a:xfrm>
            <a:custGeom>
              <a:avLst/>
              <a:gdLst/>
              <a:ahLst/>
              <a:cxnLst/>
              <a:rect l="l" t="t" r="r" b="b"/>
              <a:pathLst>
                <a:path w="90805" h="50164">
                  <a:moveTo>
                    <a:pt x="0" y="0"/>
                  </a:moveTo>
                  <a:lnTo>
                    <a:pt x="0" y="1434"/>
                  </a:lnTo>
                  <a:lnTo>
                    <a:pt x="90395" y="49642"/>
                  </a:lnTo>
                  <a:lnTo>
                    <a:pt x="90395" y="47474"/>
                  </a:lnTo>
                  <a:lnTo>
                    <a:pt x="0" y="0"/>
                  </a:lnTo>
                  <a:close/>
                </a:path>
              </a:pathLst>
            </a:custGeom>
            <a:solidFill>
              <a:srgbClr val="B8B4B4"/>
            </a:solidFill>
          </p:spPr>
          <p:txBody>
            <a:bodyPr wrap="square" lIns="0" tIns="0" rIns="0" bIns="0" rtlCol="0"/>
            <a:lstStyle/>
            <a:p>
              <a:endParaRPr sz="1092" dirty="0"/>
            </a:p>
          </p:txBody>
        </p:sp>
        <p:sp>
          <p:nvSpPr>
            <p:cNvPr id="951" name="object 951"/>
            <p:cNvSpPr/>
            <p:nvPr/>
          </p:nvSpPr>
          <p:spPr>
            <a:xfrm>
              <a:off x="8394949" y="2714670"/>
              <a:ext cx="55064" cy="30420"/>
            </a:xfrm>
            <a:custGeom>
              <a:avLst/>
              <a:gdLst/>
              <a:ahLst/>
              <a:cxnLst/>
              <a:rect l="l" t="t" r="r" b="b"/>
              <a:pathLst>
                <a:path w="90805" h="50164">
                  <a:moveTo>
                    <a:pt x="0" y="0"/>
                  </a:moveTo>
                  <a:lnTo>
                    <a:pt x="0" y="1444"/>
                  </a:lnTo>
                  <a:lnTo>
                    <a:pt x="90395" y="49663"/>
                  </a:lnTo>
                  <a:lnTo>
                    <a:pt x="90395" y="47495"/>
                  </a:lnTo>
                  <a:lnTo>
                    <a:pt x="0" y="0"/>
                  </a:lnTo>
                  <a:close/>
                </a:path>
              </a:pathLst>
            </a:custGeom>
            <a:solidFill>
              <a:srgbClr val="B8B4B4"/>
            </a:solidFill>
          </p:spPr>
          <p:txBody>
            <a:bodyPr wrap="square" lIns="0" tIns="0" rIns="0" bIns="0" rtlCol="0"/>
            <a:lstStyle/>
            <a:p>
              <a:endParaRPr sz="1092" dirty="0"/>
            </a:p>
          </p:txBody>
        </p:sp>
        <p:sp>
          <p:nvSpPr>
            <p:cNvPr id="952" name="object 952"/>
            <p:cNvSpPr/>
            <p:nvPr/>
          </p:nvSpPr>
          <p:spPr>
            <a:xfrm>
              <a:off x="8445961" y="2733974"/>
              <a:ext cx="0" cy="59300"/>
            </a:xfrm>
            <a:custGeom>
              <a:avLst/>
              <a:gdLst/>
              <a:ahLst/>
              <a:cxnLst/>
              <a:rect l="l" t="t" r="r" b="b"/>
              <a:pathLst>
                <a:path h="97789">
                  <a:moveTo>
                    <a:pt x="0" y="0"/>
                  </a:moveTo>
                  <a:lnTo>
                    <a:pt x="0" y="97379"/>
                  </a:lnTo>
                </a:path>
              </a:pathLst>
            </a:custGeom>
            <a:ln w="3175">
              <a:solidFill>
                <a:srgbClr val="B8B4B4"/>
              </a:solidFill>
            </a:ln>
          </p:spPr>
          <p:txBody>
            <a:bodyPr wrap="square" lIns="0" tIns="0" rIns="0" bIns="0" rtlCol="0"/>
            <a:lstStyle/>
            <a:p>
              <a:endParaRPr sz="1092" dirty="0"/>
            </a:p>
          </p:txBody>
        </p:sp>
        <p:sp>
          <p:nvSpPr>
            <p:cNvPr id="953" name="object 953"/>
            <p:cNvSpPr/>
            <p:nvPr/>
          </p:nvSpPr>
          <p:spPr>
            <a:xfrm>
              <a:off x="8441651" y="2731770"/>
              <a:ext cx="0" cy="59300"/>
            </a:xfrm>
            <a:custGeom>
              <a:avLst/>
              <a:gdLst/>
              <a:ahLst/>
              <a:cxnLst/>
              <a:rect l="l" t="t" r="r" b="b"/>
              <a:pathLst>
                <a:path h="97789">
                  <a:moveTo>
                    <a:pt x="0" y="0"/>
                  </a:moveTo>
                  <a:lnTo>
                    <a:pt x="0" y="97389"/>
                  </a:lnTo>
                </a:path>
              </a:pathLst>
            </a:custGeom>
            <a:ln w="3175">
              <a:solidFill>
                <a:srgbClr val="B8B4B4"/>
              </a:solidFill>
            </a:ln>
          </p:spPr>
          <p:txBody>
            <a:bodyPr wrap="square" lIns="0" tIns="0" rIns="0" bIns="0" rtlCol="0"/>
            <a:lstStyle/>
            <a:p>
              <a:endParaRPr sz="1092" dirty="0"/>
            </a:p>
          </p:txBody>
        </p:sp>
        <p:sp>
          <p:nvSpPr>
            <p:cNvPr id="954" name="object 954"/>
            <p:cNvSpPr/>
            <p:nvPr/>
          </p:nvSpPr>
          <p:spPr>
            <a:xfrm>
              <a:off x="8437482" y="2729439"/>
              <a:ext cx="0" cy="59300"/>
            </a:xfrm>
            <a:custGeom>
              <a:avLst/>
              <a:gdLst/>
              <a:ahLst/>
              <a:cxnLst/>
              <a:rect l="l" t="t" r="r" b="b"/>
              <a:pathLst>
                <a:path h="97789">
                  <a:moveTo>
                    <a:pt x="0" y="0"/>
                  </a:moveTo>
                  <a:lnTo>
                    <a:pt x="0" y="97379"/>
                  </a:lnTo>
                </a:path>
              </a:pathLst>
            </a:custGeom>
            <a:ln w="3175">
              <a:solidFill>
                <a:srgbClr val="B8B4B4"/>
              </a:solidFill>
            </a:ln>
          </p:spPr>
          <p:txBody>
            <a:bodyPr wrap="square" lIns="0" tIns="0" rIns="0" bIns="0" rtlCol="0"/>
            <a:lstStyle/>
            <a:p>
              <a:endParaRPr sz="1092" dirty="0"/>
            </a:p>
          </p:txBody>
        </p:sp>
        <p:sp>
          <p:nvSpPr>
            <p:cNvPr id="955" name="object 955"/>
            <p:cNvSpPr/>
            <p:nvPr/>
          </p:nvSpPr>
          <p:spPr>
            <a:xfrm>
              <a:off x="8433241" y="2727244"/>
              <a:ext cx="0" cy="59300"/>
            </a:xfrm>
            <a:custGeom>
              <a:avLst/>
              <a:gdLst/>
              <a:ahLst/>
              <a:cxnLst/>
              <a:rect l="l" t="t" r="r" b="b"/>
              <a:pathLst>
                <a:path h="97789">
                  <a:moveTo>
                    <a:pt x="0" y="0"/>
                  </a:moveTo>
                  <a:lnTo>
                    <a:pt x="0" y="97389"/>
                  </a:lnTo>
                </a:path>
              </a:pathLst>
            </a:custGeom>
            <a:ln w="3175">
              <a:solidFill>
                <a:srgbClr val="B8B4B4"/>
              </a:solidFill>
            </a:ln>
          </p:spPr>
          <p:txBody>
            <a:bodyPr wrap="square" lIns="0" tIns="0" rIns="0" bIns="0" rtlCol="0"/>
            <a:lstStyle/>
            <a:p>
              <a:endParaRPr sz="1092" dirty="0"/>
            </a:p>
          </p:txBody>
        </p:sp>
        <p:sp>
          <p:nvSpPr>
            <p:cNvPr id="956" name="object 956"/>
            <p:cNvSpPr/>
            <p:nvPr/>
          </p:nvSpPr>
          <p:spPr>
            <a:xfrm>
              <a:off x="8428858" y="2725048"/>
              <a:ext cx="0" cy="58915"/>
            </a:xfrm>
            <a:custGeom>
              <a:avLst/>
              <a:gdLst/>
              <a:ahLst/>
              <a:cxnLst/>
              <a:rect l="l" t="t" r="r" b="b"/>
              <a:pathLst>
                <a:path h="97154">
                  <a:moveTo>
                    <a:pt x="0" y="0"/>
                  </a:moveTo>
                  <a:lnTo>
                    <a:pt x="0" y="97148"/>
                  </a:lnTo>
                </a:path>
              </a:pathLst>
            </a:custGeom>
            <a:ln w="3175">
              <a:solidFill>
                <a:srgbClr val="B8B4B4"/>
              </a:solidFill>
            </a:ln>
          </p:spPr>
          <p:txBody>
            <a:bodyPr wrap="square" lIns="0" tIns="0" rIns="0" bIns="0" rtlCol="0"/>
            <a:lstStyle/>
            <a:p>
              <a:endParaRPr sz="1092" dirty="0"/>
            </a:p>
          </p:txBody>
        </p:sp>
        <p:sp>
          <p:nvSpPr>
            <p:cNvPr id="957" name="object 957"/>
            <p:cNvSpPr/>
            <p:nvPr/>
          </p:nvSpPr>
          <p:spPr>
            <a:xfrm>
              <a:off x="8424620" y="2722716"/>
              <a:ext cx="0" cy="59300"/>
            </a:xfrm>
            <a:custGeom>
              <a:avLst/>
              <a:gdLst/>
              <a:ahLst/>
              <a:cxnLst/>
              <a:rect l="l" t="t" r="r" b="b"/>
              <a:pathLst>
                <a:path h="97789">
                  <a:moveTo>
                    <a:pt x="0" y="0"/>
                  </a:moveTo>
                  <a:lnTo>
                    <a:pt x="0" y="97379"/>
                  </a:lnTo>
                </a:path>
              </a:pathLst>
            </a:custGeom>
            <a:ln w="3175">
              <a:solidFill>
                <a:srgbClr val="B8B4B4"/>
              </a:solidFill>
            </a:ln>
          </p:spPr>
          <p:txBody>
            <a:bodyPr wrap="square" lIns="0" tIns="0" rIns="0" bIns="0" rtlCol="0"/>
            <a:lstStyle/>
            <a:p>
              <a:endParaRPr sz="1092" dirty="0"/>
            </a:p>
          </p:txBody>
        </p:sp>
        <p:sp>
          <p:nvSpPr>
            <p:cNvPr id="958" name="object 958"/>
            <p:cNvSpPr/>
            <p:nvPr/>
          </p:nvSpPr>
          <p:spPr>
            <a:xfrm>
              <a:off x="8420380" y="2720521"/>
              <a:ext cx="0" cy="58915"/>
            </a:xfrm>
            <a:custGeom>
              <a:avLst/>
              <a:gdLst/>
              <a:ahLst/>
              <a:cxnLst/>
              <a:rect l="l" t="t" r="r" b="b"/>
              <a:pathLst>
                <a:path h="97154">
                  <a:moveTo>
                    <a:pt x="0" y="0"/>
                  </a:moveTo>
                  <a:lnTo>
                    <a:pt x="0" y="97138"/>
                  </a:lnTo>
                </a:path>
              </a:pathLst>
            </a:custGeom>
            <a:ln w="3175">
              <a:solidFill>
                <a:srgbClr val="B8B4B4"/>
              </a:solidFill>
            </a:ln>
          </p:spPr>
          <p:txBody>
            <a:bodyPr wrap="square" lIns="0" tIns="0" rIns="0" bIns="0" rtlCol="0"/>
            <a:lstStyle/>
            <a:p>
              <a:endParaRPr sz="1092" dirty="0"/>
            </a:p>
          </p:txBody>
        </p:sp>
        <p:sp>
          <p:nvSpPr>
            <p:cNvPr id="959" name="object 959"/>
            <p:cNvSpPr/>
            <p:nvPr/>
          </p:nvSpPr>
          <p:spPr>
            <a:xfrm>
              <a:off x="8416221" y="2718180"/>
              <a:ext cx="0" cy="59300"/>
            </a:xfrm>
            <a:custGeom>
              <a:avLst/>
              <a:gdLst/>
              <a:ahLst/>
              <a:cxnLst/>
              <a:rect l="l" t="t" r="r" b="b"/>
              <a:pathLst>
                <a:path h="97789">
                  <a:moveTo>
                    <a:pt x="0" y="0"/>
                  </a:moveTo>
                  <a:lnTo>
                    <a:pt x="0" y="97389"/>
                  </a:lnTo>
                </a:path>
              </a:pathLst>
            </a:custGeom>
            <a:ln w="3175">
              <a:solidFill>
                <a:srgbClr val="B8B4B4"/>
              </a:solidFill>
            </a:ln>
          </p:spPr>
          <p:txBody>
            <a:bodyPr wrap="square" lIns="0" tIns="0" rIns="0" bIns="0" rtlCol="0"/>
            <a:lstStyle/>
            <a:p>
              <a:endParaRPr sz="1092" dirty="0"/>
            </a:p>
          </p:txBody>
        </p:sp>
        <p:sp>
          <p:nvSpPr>
            <p:cNvPr id="960" name="object 960"/>
            <p:cNvSpPr/>
            <p:nvPr/>
          </p:nvSpPr>
          <p:spPr>
            <a:xfrm>
              <a:off x="8411978" y="2715989"/>
              <a:ext cx="0" cy="59300"/>
            </a:xfrm>
            <a:custGeom>
              <a:avLst/>
              <a:gdLst/>
              <a:ahLst/>
              <a:cxnLst/>
              <a:rect l="l" t="t" r="r" b="b"/>
              <a:pathLst>
                <a:path h="97789">
                  <a:moveTo>
                    <a:pt x="0" y="0"/>
                  </a:moveTo>
                  <a:lnTo>
                    <a:pt x="0" y="97389"/>
                  </a:lnTo>
                </a:path>
              </a:pathLst>
            </a:custGeom>
            <a:ln w="3175">
              <a:solidFill>
                <a:srgbClr val="B8B4B4"/>
              </a:solidFill>
            </a:ln>
          </p:spPr>
          <p:txBody>
            <a:bodyPr wrap="square" lIns="0" tIns="0" rIns="0" bIns="0" rtlCol="0"/>
            <a:lstStyle/>
            <a:p>
              <a:endParaRPr sz="1092" dirty="0"/>
            </a:p>
          </p:txBody>
        </p:sp>
        <p:sp>
          <p:nvSpPr>
            <p:cNvPr id="961" name="object 961"/>
            <p:cNvSpPr/>
            <p:nvPr/>
          </p:nvSpPr>
          <p:spPr>
            <a:xfrm>
              <a:off x="8407741" y="2713792"/>
              <a:ext cx="0" cy="58915"/>
            </a:xfrm>
            <a:custGeom>
              <a:avLst/>
              <a:gdLst/>
              <a:ahLst/>
              <a:cxnLst/>
              <a:rect l="l" t="t" r="r" b="b"/>
              <a:pathLst>
                <a:path h="97154">
                  <a:moveTo>
                    <a:pt x="0" y="0"/>
                  </a:moveTo>
                  <a:lnTo>
                    <a:pt x="0" y="97148"/>
                  </a:lnTo>
                </a:path>
              </a:pathLst>
            </a:custGeom>
            <a:ln w="3175">
              <a:solidFill>
                <a:srgbClr val="B8B4B4"/>
              </a:solidFill>
            </a:ln>
          </p:spPr>
          <p:txBody>
            <a:bodyPr wrap="square" lIns="0" tIns="0" rIns="0" bIns="0" rtlCol="0"/>
            <a:lstStyle/>
            <a:p>
              <a:endParaRPr sz="1092" dirty="0"/>
            </a:p>
          </p:txBody>
        </p:sp>
        <p:sp>
          <p:nvSpPr>
            <p:cNvPr id="962" name="object 962"/>
            <p:cNvSpPr/>
            <p:nvPr/>
          </p:nvSpPr>
          <p:spPr>
            <a:xfrm>
              <a:off x="8403428" y="2711460"/>
              <a:ext cx="0" cy="59300"/>
            </a:xfrm>
            <a:custGeom>
              <a:avLst/>
              <a:gdLst/>
              <a:ahLst/>
              <a:cxnLst/>
              <a:rect l="l" t="t" r="r" b="b"/>
              <a:pathLst>
                <a:path h="97789">
                  <a:moveTo>
                    <a:pt x="0" y="0"/>
                  </a:moveTo>
                  <a:lnTo>
                    <a:pt x="0" y="97379"/>
                  </a:lnTo>
                </a:path>
              </a:pathLst>
            </a:custGeom>
            <a:ln w="3175">
              <a:solidFill>
                <a:srgbClr val="B8B4B4"/>
              </a:solidFill>
            </a:ln>
          </p:spPr>
          <p:txBody>
            <a:bodyPr wrap="square" lIns="0" tIns="0" rIns="0" bIns="0" rtlCol="0"/>
            <a:lstStyle/>
            <a:p>
              <a:endParaRPr sz="1092" dirty="0"/>
            </a:p>
          </p:txBody>
        </p:sp>
        <p:sp>
          <p:nvSpPr>
            <p:cNvPr id="963" name="object 963"/>
            <p:cNvSpPr/>
            <p:nvPr/>
          </p:nvSpPr>
          <p:spPr>
            <a:xfrm>
              <a:off x="8399189" y="2709266"/>
              <a:ext cx="0" cy="59300"/>
            </a:xfrm>
            <a:custGeom>
              <a:avLst/>
              <a:gdLst/>
              <a:ahLst/>
              <a:cxnLst/>
              <a:rect l="l" t="t" r="r" b="b"/>
              <a:pathLst>
                <a:path h="97789">
                  <a:moveTo>
                    <a:pt x="0" y="0"/>
                  </a:moveTo>
                  <a:lnTo>
                    <a:pt x="0" y="97379"/>
                  </a:lnTo>
                </a:path>
              </a:pathLst>
            </a:custGeom>
            <a:ln w="3175">
              <a:solidFill>
                <a:srgbClr val="B8B4B4"/>
              </a:solidFill>
            </a:ln>
          </p:spPr>
          <p:txBody>
            <a:bodyPr wrap="square" lIns="0" tIns="0" rIns="0" bIns="0" rtlCol="0"/>
            <a:lstStyle/>
            <a:p>
              <a:endParaRPr sz="1092" dirty="0"/>
            </a:p>
          </p:txBody>
        </p:sp>
        <p:sp>
          <p:nvSpPr>
            <p:cNvPr id="964" name="object 964"/>
            <p:cNvSpPr/>
            <p:nvPr/>
          </p:nvSpPr>
          <p:spPr>
            <a:xfrm>
              <a:off x="8392323" y="2657817"/>
              <a:ext cx="124761" cy="72392"/>
            </a:xfrm>
            <a:custGeom>
              <a:avLst/>
              <a:gdLst/>
              <a:ahLst/>
              <a:cxnLst/>
              <a:rect l="l" t="t" r="r" b="b"/>
              <a:pathLst>
                <a:path w="205740" h="119379">
                  <a:moveTo>
                    <a:pt x="102687" y="0"/>
                  </a:moveTo>
                  <a:lnTo>
                    <a:pt x="0" y="63872"/>
                  </a:lnTo>
                  <a:lnTo>
                    <a:pt x="102687" y="118823"/>
                  </a:lnTo>
                  <a:lnTo>
                    <a:pt x="205365" y="54710"/>
                  </a:lnTo>
                  <a:lnTo>
                    <a:pt x="102687" y="0"/>
                  </a:lnTo>
                  <a:close/>
                </a:path>
              </a:pathLst>
            </a:custGeom>
            <a:solidFill>
              <a:srgbClr val="ECECEC"/>
            </a:solidFill>
          </p:spPr>
          <p:txBody>
            <a:bodyPr wrap="square" lIns="0" tIns="0" rIns="0" bIns="0" rtlCol="0"/>
            <a:lstStyle/>
            <a:p>
              <a:endParaRPr sz="1092" dirty="0"/>
            </a:p>
          </p:txBody>
        </p:sp>
        <p:sp>
          <p:nvSpPr>
            <p:cNvPr id="965" name="object 965"/>
            <p:cNvSpPr/>
            <p:nvPr/>
          </p:nvSpPr>
          <p:spPr>
            <a:xfrm>
              <a:off x="8400218" y="2662490"/>
              <a:ext cx="108973" cy="63150"/>
            </a:xfrm>
            <a:custGeom>
              <a:avLst/>
              <a:gdLst/>
              <a:ahLst/>
              <a:cxnLst/>
              <a:rect l="l" t="t" r="r" b="b"/>
              <a:pathLst>
                <a:path w="179705" h="104139">
                  <a:moveTo>
                    <a:pt x="89662" y="0"/>
                  </a:moveTo>
                  <a:lnTo>
                    <a:pt x="0" y="55684"/>
                  </a:lnTo>
                  <a:lnTo>
                    <a:pt x="89662" y="103892"/>
                  </a:lnTo>
                  <a:lnTo>
                    <a:pt x="179324" y="47967"/>
                  </a:lnTo>
                  <a:lnTo>
                    <a:pt x="89662" y="0"/>
                  </a:lnTo>
                  <a:close/>
                </a:path>
              </a:pathLst>
            </a:custGeom>
            <a:solidFill>
              <a:srgbClr val="DADADA"/>
            </a:solidFill>
          </p:spPr>
          <p:txBody>
            <a:bodyPr wrap="square" lIns="0" tIns="0" rIns="0" bIns="0" rtlCol="0"/>
            <a:lstStyle/>
            <a:p>
              <a:endParaRPr sz="1092" dirty="0"/>
            </a:p>
          </p:txBody>
        </p:sp>
        <p:sp>
          <p:nvSpPr>
            <p:cNvPr id="966" name="object 966"/>
            <p:cNvSpPr/>
            <p:nvPr/>
          </p:nvSpPr>
          <p:spPr>
            <a:xfrm>
              <a:off x="8322737" y="2807785"/>
              <a:ext cx="114364" cy="84714"/>
            </a:xfrm>
            <a:custGeom>
              <a:avLst/>
              <a:gdLst/>
              <a:ahLst/>
              <a:cxnLst/>
              <a:rect l="l" t="t" r="r" b="b"/>
              <a:pathLst>
                <a:path w="188594" h="139700">
                  <a:moveTo>
                    <a:pt x="73275" y="0"/>
                  </a:moveTo>
                  <a:lnTo>
                    <a:pt x="21695" y="48459"/>
                  </a:lnTo>
                  <a:lnTo>
                    <a:pt x="0" y="139336"/>
                  </a:lnTo>
                  <a:lnTo>
                    <a:pt x="84123" y="122687"/>
                  </a:lnTo>
                  <a:lnTo>
                    <a:pt x="188266" y="58814"/>
                  </a:lnTo>
                  <a:lnTo>
                    <a:pt x="73275" y="0"/>
                  </a:lnTo>
                  <a:close/>
                </a:path>
              </a:pathLst>
            </a:custGeom>
            <a:solidFill>
              <a:srgbClr val="BABABB"/>
            </a:solidFill>
          </p:spPr>
          <p:txBody>
            <a:bodyPr wrap="square" lIns="0" tIns="0" rIns="0" bIns="0" rtlCol="0"/>
            <a:lstStyle/>
            <a:p>
              <a:endParaRPr sz="1092" dirty="0"/>
            </a:p>
          </p:txBody>
        </p:sp>
        <p:sp>
          <p:nvSpPr>
            <p:cNvPr id="967" name="object 967"/>
            <p:cNvSpPr/>
            <p:nvPr/>
          </p:nvSpPr>
          <p:spPr>
            <a:xfrm>
              <a:off x="8260609" y="2781186"/>
              <a:ext cx="61995" cy="111284"/>
            </a:xfrm>
            <a:custGeom>
              <a:avLst/>
              <a:gdLst/>
              <a:ahLst/>
              <a:cxnLst/>
              <a:rect l="l" t="t" r="r" b="b"/>
              <a:pathLst>
                <a:path w="102234" h="183514">
                  <a:moveTo>
                    <a:pt x="0" y="0"/>
                  </a:moveTo>
                  <a:lnTo>
                    <a:pt x="0" y="127996"/>
                  </a:lnTo>
                  <a:lnTo>
                    <a:pt x="102206" y="183198"/>
                  </a:lnTo>
                  <a:lnTo>
                    <a:pt x="102206" y="54951"/>
                  </a:lnTo>
                  <a:lnTo>
                    <a:pt x="0" y="0"/>
                  </a:lnTo>
                  <a:close/>
                </a:path>
              </a:pathLst>
            </a:custGeom>
            <a:solidFill>
              <a:srgbClr val="F7F1F1"/>
            </a:solidFill>
          </p:spPr>
          <p:txBody>
            <a:bodyPr wrap="square" lIns="0" tIns="0" rIns="0" bIns="0" rtlCol="0"/>
            <a:lstStyle/>
            <a:p>
              <a:endParaRPr sz="1092" dirty="0"/>
            </a:p>
          </p:txBody>
        </p:sp>
        <p:sp>
          <p:nvSpPr>
            <p:cNvPr id="968" name="object 968"/>
            <p:cNvSpPr/>
            <p:nvPr/>
          </p:nvSpPr>
          <p:spPr>
            <a:xfrm>
              <a:off x="8322590" y="2775776"/>
              <a:ext cx="62766" cy="116675"/>
            </a:xfrm>
            <a:custGeom>
              <a:avLst/>
              <a:gdLst/>
              <a:ahLst/>
              <a:cxnLst/>
              <a:rect l="l" t="t" r="r" b="b"/>
              <a:pathLst>
                <a:path w="103505" h="192404">
                  <a:moveTo>
                    <a:pt x="103180" y="0"/>
                  </a:moveTo>
                  <a:lnTo>
                    <a:pt x="0" y="63872"/>
                  </a:lnTo>
                  <a:lnTo>
                    <a:pt x="0" y="192119"/>
                  </a:lnTo>
                  <a:lnTo>
                    <a:pt x="103180" y="128226"/>
                  </a:lnTo>
                  <a:lnTo>
                    <a:pt x="103180" y="0"/>
                  </a:lnTo>
                  <a:close/>
                </a:path>
              </a:pathLst>
            </a:custGeom>
            <a:solidFill>
              <a:srgbClr val="CAC4C4"/>
            </a:solidFill>
          </p:spPr>
          <p:txBody>
            <a:bodyPr wrap="square" lIns="0" tIns="0" rIns="0" bIns="0" rtlCol="0"/>
            <a:lstStyle/>
            <a:p>
              <a:endParaRPr sz="1092" dirty="0"/>
            </a:p>
          </p:txBody>
        </p:sp>
        <p:sp>
          <p:nvSpPr>
            <p:cNvPr id="969" name="object 969"/>
            <p:cNvSpPr/>
            <p:nvPr/>
          </p:nvSpPr>
          <p:spPr>
            <a:xfrm>
              <a:off x="8327132" y="2786445"/>
              <a:ext cx="54809" cy="92964"/>
            </a:xfrm>
            <a:prstGeom prst="rect">
              <a:avLst/>
            </a:prstGeom>
            <a:blipFill>
              <a:blip r:embed="rId31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970" name="object 970"/>
            <p:cNvSpPr/>
            <p:nvPr/>
          </p:nvSpPr>
          <p:spPr>
            <a:xfrm>
              <a:off x="8327129" y="2844330"/>
              <a:ext cx="55064" cy="35041"/>
            </a:xfrm>
            <a:custGeom>
              <a:avLst/>
              <a:gdLst/>
              <a:ahLst/>
              <a:cxnLst/>
              <a:rect l="l" t="t" r="r" b="b"/>
              <a:pathLst>
                <a:path w="90805" h="57785">
                  <a:moveTo>
                    <a:pt x="90395" y="0"/>
                  </a:moveTo>
                  <a:lnTo>
                    <a:pt x="0" y="55432"/>
                  </a:lnTo>
                  <a:lnTo>
                    <a:pt x="0" y="57610"/>
                  </a:lnTo>
                  <a:lnTo>
                    <a:pt x="90395" y="1685"/>
                  </a:lnTo>
                  <a:lnTo>
                    <a:pt x="90395" y="0"/>
                  </a:lnTo>
                  <a:close/>
                </a:path>
              </a:pathLst>
            </a:custGeom>
            <a:solidFill>
              <a:srgbClr val="8B8787"/>
            </a:solidFill>
          </p:spPr>
          <p:txBody>
            <a:bodyPr wrap="square" lIns="0" tIns="0" rIns="0" bIns="0" rtlCol="0"/>
            <a:lstStyle/>
            <a:p>
              <a:endParaRPr sz="1092" dirty="0"/>
            </a:p>
          </p:txBody>
        </p:sp>
        <p:sp>
          <p:nvSpPr>
            <p:cNvPr id="971" name="object 971"/>
            <p:cNvSpPr/>
            <p:nvPr/>
          </p:nvSpPr>
          <p:spPr>
            <a:xfrm>
              <a:off x="8327129" y="2831904"/>
              <a:ext cx="55064" cy="35041"/>
            </a:xfrm>
            <a:custGeom>
              <a:avLst/>
              <a:gdLst/>
              <a:ahLst/>
              <a:cxnLst/>
              <a:rect l="l" t="t" r="r" b="b"/>
              <a:pathLst>
                <a:path w="90805" h="57785">
                  <a:moveTo>
                    <a:pt x="90395" y="0"/>
                  </a:moveTo>
                  <a:lnTo>
                    <a:pt x="0" y="55202"/>
                  </a:lnTo>
                  <a:lnTo>
                    <a:pt x="0" y="57380"/>
                  </a:lnTo>
                  <a:lnTo>
                    <a:pt x="90395" y="1444"/>
                  </a:lnTo>
                  <a:lnTo>
                    <a:pt x="90395" y="0"/>
                  </a:lnTo>
                  <a:close/>
                </a:path>
              </a:pathLst>
            </a:custGeom>
            <a:solidFill>
              <a:srgbClr val="8B8787"/>
            </a:solidFill>
          </p:spPr>
          <p:txBody>
            <a:bodyPr wrap="square" lIns="0" tIns="0" rIns="0" bIns="0" rtlCol="0"/>
            <a:lstStyle/>
            <a:p>
              <a:endParaRPr sz="1092" dirty="0"/>
            </a:p>
          </p:txBody>
        </p:sp>
        <p:sp>
          <p:nvSpPr>
            <p:cNvPr id="972" name="object 972"/>
            <p:cNvSpPr/>
            <p:nvPr/>
          </p:nvSpPr>
          <p:spPr>
            <a:xfrm>
              <a:off x="8327129" y="2819334"/>
              <a:ext cx="55064" cy="35041"/>
            </a:xfrm>
            <a:custGeom>
              <a:avLst/>
              <a:gdLst/>
              <a:ahLst/>
              <a:cxnLst/>
              <a:rect l="l" t="t" r="r" b="b"/>
              <a:pathLst>
                <a:path w="90805" h="57785">
                  <a:moveTo>
                    <a:pt x="90395" y="0"/>
                  </a:moveTo>
                  <a:lnTo>
                    <a:pt x="0" y="55202"/>
                  </a:lnTo>
                  <a:lnTo>
                    <a:pt x="0" y="57369"/>
                  </a:lnTo>
                  <a:lnTo>
                    <a:pt x="90395" y="1444"/>
                  </a:lnTo>
                  <a:lnTo>
                    <a:pt x="90395" y="0"/>
                  </a:lnTo>
                  <a:close/>
                </a:path>
              </a:pathLst>
            </a:custGeom>
            <a:solidFill>
              <a:srgbClr val="8B8787"/>
            </a:solidFill>
          </p:spPr>
          <p:txBody>
            <a:bodyPr wrap="square" lIns="0" tIns="0" rIns="0" bIns="0" rtlCol="0"/>
            <a:lstStyle/>
            <a:p>
              <a:endParaRPr sz="1092" dirty="0"/>
            </a:p>
          </p:txBody>
        </p:sp>
        <p:sp>
          <p:nvSpPr>
            <p:cNvPr id="973" name="object 973"/>
            <p:cNvSpPr/>
            <p:nvPr/>
          </p:nvSpPr>
          <p:spPr>
            <a:xfrm>
              <a:off x="8327129" y="2806764"/>
              <a:ext cx="55064" cy="35041"/>
            </a:xfrm>
            <a:custGeom>
              <a:avLst/>
              <a:gdLst/>
              <a:ahLst/>
              <a:cxnLst/>
              <a:rect l="l" t="t" r="r" b="b"/>
              <a:pathLst>
                <a:path w="90805" h="57785">
                  <a:moveTo>
                    <a:pt x="90395" y="0"/>
                  </a:moveTo>
                  <a:lnTo>
                    <a:pt x="0" y="55202"/>
                  </a:lnTo>
                  <a:lnTo>
                    <a:pt x="0" y="57369"/>
                  </a:lnTo>
                  <a:lnTo>
                    <a:pt x="90395" y="1444"/>
                  </a:lnTo>
                  <a:lnTo>
                    <a:pt x="90395" y="0"/>
                  </a:lnTo>
                  <a:close/>
                </a:path>
              </a:pathLst>
            </a:custGeom>
            <a:solidFill>
              <a:srgbClr val="8B8787"/>
            </a:solidFill>
          </p:spPr>
          <p:txBody>
            <a:bodyPr wrap="square" lIns="0" tIns="0" rIns="0" bIns="0" rtlCol="0"/>
            <a:lstStyle/>
            <a:p>
              <a:endParaRPr sz="1092" dirty="0"/>
            </a:p>
          </p:txBody>
        </p:sp>
        <p:sp>
          <p:nvSpPr>
            <p:cNvPr id="974" name="object 974"/>
            <p:cNvSpPr/>
            <p:nvPr/>
          </p:nvSpPr>
          <p:spPr>
            <a:xfrm>
              <a:off x="8327129" y="2794189"/>
              <a:ext cx="55064" cy="35041"/>
            </a:xfrm>
            <a:custGeom>
              <a:avLst/>
              <a:gdLst/>
              <a:ahLst/>
              <a:cxnLst/>
              <a:rect l="l" t="t" r="r" b="b"/>
              <a:pathLst>
                <a:path w="90805" h="57785">
                  <a:moveTo>
                    <a:pt x="90395" y="0"/>
                  </a:moveTo>
                  <a:lnTo>
                    <a:pt x="0" y="55202"/>
                  </a:lnTo>
                  <a:lnTo>
                    <a:pt x="0" y="57380"/>
                  </a:lnTo>
                  <a:lnTo>
                    <a:pt x="90395" y="1696"/>
                  </a:lnTo>
                  <a:lnTo>
                    <a:pt x="90395" y="0"/>
                  </a:lnTo>
                  <a:close/>
                </a:path>
              </a:pathLst>
            </a:custGeom>
            <a:solidFill>
              <a:srgbClr val="8B8787"/>
            </a:solidFill>
          </p:spPr>
          <p:txBody>
            <a:bodyPr wrap="square" lIns="0" tIns="0" rIns="0" bIns="0" rtlCol="0"/>
            <a:lstStyle/>
            <a:p>
              <a:endParaRPr sz="1092" dirty="0"/>
            </a:p>
          </p:txBody>
        </p:sp>
        <p:sp>
          <p:nvSpPr>
            <p:cNvPr id="975" name="object 975"/>
            <p:cNvSpPr/>
            <p:nvPr/>
          </p:nvSpPr>
          <p:spPr>
            <a:xfrm>
              <a:off x="8331069" y="2818021"/>
              <a:ext cx="0" cy="59300"/>
            </a:xfrm>
            <a:custGeom>
              <a:avLst/>
              <a:gdLst/>
              <a:ahLst/>
              <a:cxnLst/>
              <a:rect l="l" t="t" r="r" b="b"/>
              <a:pathLst>
                <a:path h="97789">
                  <a:moveTo>
                    <a:pt x="0" y="0"/>
                  </a:moveTo>
                  <a:lnTo>
                    <a:pt x="0" y="97389"/>
                  </a:lnTo>
                </a:path>
              </a:pathLst>
            </a:custGeom>
            <a:ln w="3175">
              <a:solidFill>
                <a:srgbClr val="8B8787"/>
              </a:solidFill>
            </a:ln>
          </p:spPr>
          <p:txBody>
            <a:bodyPr wrap="square" lIns="0" tIns="0" rIns="0" bIns="0" rtlCol="0"/>
            <a:lstStyle/>
            <a:p>
              <a:endParaRPr sz="1092" dirty="0"/>
            </a:p>
          </p:txBody>
        </p:sp>
        <p:sp>
          <p:nvSpPr>
            <p:cNvPr id="976" name="object 976"/>
            <p:cNvSpPr/>
            <p:nvPr/>
          </p:nvSpPr>
          <p:spPr>
            <a:xfrm>
              <a:off x="8335310" y="2815244"/>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977" name="object 977"/>
            <p:cNvSpPr/>
            <p:nvPr/>
          </p:nvSpPr>
          <p:spPr>
            <a:xfrm>
              <a:off x="8339547" y="2812753"/>
              <a:ext cx="0" cy="59300"/>
            </a:xfrm>
            <a:custGeom>
              <a:avLst/>
              <a:gdLst/>
              <a:ahLst/>
              <a:cxnLst/>
              <a:rect l="l" t="t" r="r" b="b"/>
              <a:pathLst>
                <a:path h="97789">
                  <a:moveTo>
                    <a:pt x="0" y="0"/>
                  </a:moveTo>
                  <a:lnTo>
                    <a:pt x="0" y="97389"/>
                  </a:lnTo>
                </a:path>
              </a:pathLst>
            </a:custGeom>
            <a:ln w="3175">
              <a:solidFill>
                <a:srgbClr val="8B8787"/>
              </a:solidFill>
            </a:ln>
          </p:spPr>
          <p:txBody>
            <a:bodyPr wrap="square" lIns="0" tIns="0" rIns="0" bIns="0" rtlCol="0"/>
            <a:lstStyle/>
            <a:p>
              <a:endParaRPr sz="1092" dirty="0"/>
            </a:p>
          </p:txBody>
        </p:sp>
        <p:sp>
          <p:nvSpPr>
            <p:cNvPr id="978" name="object 978"/>
            <p:cNvSpPr/>
            <p:nvPr/>
          </p:nvSpPr>
          <p:spPr>
            <a:xfrm>
              <a:off x="8343786" y="2810127"/>
              <a:ext cx="0" cy="59300"/>
            </a:xfrm>
            <a:custGeom>
              <a:avLst/>
              <a:gdLst/>
              <a:ahLst/>
              <a:cxnLst/>
              <a:rect l="l" t="t" r="r" b="b"/>
              <a:pathLst>
                <a:path h="97789">
                  <a:moveTo>
                    <a:pt x="0" y="0"/>
                  </a:moveTo>
                  <a:lnTo>
                    <a:pt x="0" y="97389"/>
                  </a:lnTo>
                </a:path>
              </a:pathLst>
            </a:custGeom>
            <a:ln w="3175">
              <a:solidFill>
                <a:srgbClr val="8B8787"/>
              </a:solidFill>
            </a:ln>
          </p:spPr>
          <p:txBody>
            <a:bodyPr wrap="square" lIns="0" tIns="0" rIns="0" bIns="0" rtlCol="0"/>
            <a:lstStyle/>
            <a:p>
              <a:endParaRPr sz="1092" dirty="0"/>
            </a:p>
          </p:txBody>
        </p:sp>
        <p:sp>
          <p:nvSpPr>
            <p:cNvPr id="979" name="object 979"/>
            <p:cNvSpPr/>
            <p:nvPr/>
          </p:nvSpPr>
          <p:spPr>
            <a:xfrm>
              <a:off x="8347955" y="2807492"/>
              <a:ext cx="0" cy="59300"/>
            </a:xfrm>
            <a:custGeom>
              <a:avLst/>
              <a:gdLst/>
              <a:ahLst/>
              <a:cxnLst/>
              <a:rect l="l" t="t" r="r" b="b"/>
              <a:pathLst>
                <a:path h="97789">
                  <a:moveTo>
                    <a:pt x="0" y="0"/>
                  </a:moveTo>
                  <a:lnTo>
                    <a:pt x="0" y="97389"/>
                  </a:lnTo>
                </a:path>
              </a:pathLst>
            </a:custGeom>
            <a:ln w="3175">
              <a:solidFill>
                <a:srgbClr val="8B8787"/>
              </a:solidFill>
            </a:ln>
          </p:spPr>
          <p:txBody>
            <a:bodyPr wrap="square" lIns="0" tIns="0" rIns="0" bIns="0" rtlCol="0"/>
            <a:lstStyle/>
            <a:p>
              <a:endParaRPr sz="1092" dirty="0"/>
            </a:p>
          </p:txBody>
        </p:sp>
        <p:sp>
          <p:nvSpPr>
            <p:cNvPr id="980" name="object 980"/>
            <p:cNvSpPr/>
            <p:nvPr/>
          </p:nvSpPr>
          <p:spPr>
            <a:xfrm>
              <a:off x="8352267" y="2804860"/>
              <a:ext cx="0" cy="59300"/>
            </a:xfrm>
            <a:custGeom>
              <a:avLst/>
              <a:gdLst/>
              <a:ahLst/>
              <a:cxnLst/>
              <a:rect l="l" t="t" r="r" b="b"/>
              <a:pathLst>
                <a:path h="97789">
                  <a:moveTo>
                    <a:pt x="0" y="0"/>
                  </a:moveTo>
                  <a:lnTo>
                    <a:pt x="0" y="97630"/>
                  </a:lnTo>
                </a:path>
              </a:pathLst>
            </a:custGeom>
            <a:ln w="3175">
              <a:solidFill>
                <a:srgbClr val="8B8787"/>
              </a:solidFill>
            </a:ln>
          </p:spPr>
          <p:txBody>
            <a:bodyPr wrap="square" lIns="0" tIns="0" rIns="0" bIns="0" rtlCol="0"/>
            <a:lstStyle/>
            <a:p>
              <a:endParaRPr sz="1092" dirty="0"/>
            </a:p>
          </p:txBody>
        </p:sp>
        <p:sp>
          <p:nvSpPr>
            <p:cNvPr id="981" name="object 981"/>
            <p:cNvSpPr/>
            <p:nvPr/>
          </p:nvSpPr>
          <p:spPr>
            <a:xfrm>
              <a:off x="8356501" y="2802233"/>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982" name="object 982"/>
            <p:cNvSpPr/>
            <p:nvPr/>
          </p:nvSpPr>
          <p:spPr>
            <a:xfrm>
              <a:off x="8360741" y="2799599"/>
              <a:ext cx="0" cy="59300"/>
            </a:xfrm>
            <a:custGeom>
              <a:avLst/>
              <a:gdLst/>
              <a:ahLst/>
              <a:cxnLst/>
              <a:rect l="l" t="t" r="r" b="b"/>
              <a:pathLst>
                <a:path h="97789">
                  <a:moveTo>
                    <a:pt x="0" y="0"/>
                  </a:moveTo>
                  <a:lnTo>
                    <a:pt x="0" y="97630"/>
                  </a:lnTo>
                </a:path>
              </a:pathLst>
            </a:custGeom>
            <a:ln w="3175">
              <a:solidFill>
                <a:srgbClr val="8B8787"/>
              </a:solidFill>
            </a:ln>
          </p:spPr>
          <p:txBody>
            <a:bodyPr wrap="square" lIns="0" tIns="0" rIns="0" bIns="0" rtlCol="0"/>
            <a:lstStyle/>
            <a:p>
              <a:endParaRPr sz="1092" dirty="0"/>
            </a:p>
          </p:txBody>
        </p:sp>
        <p:sp>
          <p:nvSpPr>
            <p:cNvPr id="983" name="object 983"/>
            <p:cNvSpPr/>
            <p:nvPr/>
          </p:nvSpPr>
          <p:spPr>
            <a:xfrm>
              <a:off x="8364979" y="2796972"/>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984" name="object 984"/>
            <p:cNvSpPr/>
            <p:nvPr/>
          </p:nvSpPr>
          <p:spPr>
            <a:xfrm>
              <a:off x="8369219" y="2794338"/>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985" name="object 985"/>
            <p:cNvSpPr/>
            <p:nvPr/>
          </p:nvSpPr>
          <p:spPr>
            <a:xfrm>
              <a:off x="8373460" y="2791855"/>
              <a:ext cx="0" cy="59300"/>
            </a:xfrm>
            <a:custGeom>
              <a:avLst/>
              <a:gdLst/>
              <a:ahLst/>
              <a:cxnLst/>
              <a:rect l="l" t="t" r="r" b="b"/>
              <a:pathLst>
                <a:path h="97789">
                  <a:moveTo>
                    <a:pt x="0" y="0"/>
                  </a:moveTo>
                  <a:lnTo>
                    <a:pt x="0" y="97389"/>
                  </a:lnTo>
                </a:path>
              </a:pathLst>
            </a:custGeom>
            <a:ln w="3175">
              <a:solidFill>
                <a:srgbClr val="8B8787"/>
              </a:solidFill>
            </a:ln>
          </p:spPr>
          <p:txBody>
            <a:bodyPr wrap="square" lIns="0" tIns="0" rIns="0" bIns="0" rtlCol="0"/>
            <a:lstStyle/>
            <a:p>
              <a:endParaRPr sz="1092" dirty="0"/>
            </a:p>
          </p:txBody>
        </p:sp>
        <p:sp>
          <p:nvSpPr>
            <p:cNvPr id="986" name="object 986"/>
            <p:cNvSpPr/>
            <p:nvPr/>
          </p:nvSpPr>
          <p:spPr>
            <a:xfrm>
              <a:off x="8377698" y="2789079"/>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987" name="object 987"/>
            <p:cNvSpPr/>
            <p:nvPr/>
          </p:nvSpPr>
          <p:spPr>
            <a:xfrm>
              <a:off x="8263395" y="2791562"/>
              <a:ext cx="54669" cy="87992"/>
            </a:xfrm>
            <a:prstGeom prst="rect">
              <a:avLst/>
            </a:prstGeom>
            <a:blipFill>
              <a:blip r:embed="rId31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988" name="object 988"/>
            <p:cNvSpPr/>
            <p:nvPr/>
          </p:nvSpPr>
          <p:spPr>
            <a:xfrm>
              <a:off x="8263391" y="2849448"/>
              <a:ext cx="54679" cy="30420"/>
            </a:xfrm>
            <a:custGeom>
              <a:avLst/>
              <a:gdLst/>
              <a:ahLst/>
              <a:cxnLst/>
              <a:rect l="l" t="t" r="r" b="b"/>
              <a:pathLst>
                <a:path w="90169" h="50164">
                  <a:moveTo>
                    <a:pt x="0" y="0"/>
                  </a:moveTo>
                  <a:lnTo>
                    <a:pt x="0" y="1685"/>
                  </a:lnTo>
                  <a:lnTo>
                    <a:pt x="90164" y="49652"/>
                  </a:lnTo>
                  <a:lnTo>
                    <a:pt x="90164" y="47726"/>
                  </a:lnTo>
                  <a:lnTo>
                    <a:pt x="0" y="0"/>
                  </a:lnTo>
                  <a:close/>
                </a:path>
              </a:pathLst>
            </a:custGeom>
            <a:solidFill>
              <a:srgbClr val="B8B4B4"/>
            </a:solidFill>
          </p:spPr>
          <p:txBody>
            <a:bodyPr wrap="square" lIns="0" tIns="0" rIns="0" bIns="0" rtlCol="0"/>
            <a:lstStyle/>
            <a:p>
              <a:endParaRPr sz="1092" dirty="0"/>
            </a:p>
          </p:txBody>
        </p:sp>
        <p:sp>
          <p:nvSpPr>
            <p:cNvPr id="989" name="object 989"/>
            <p:cNvSpPr/>
            <p:nvPr/>
          </p:nvSpPr>
          <p:spPr>
            <a:xfrm>
              <a:off x="8263391" y="2837019"/>
              <a:ext cx="54679" cy="30420"/>
            </a:xfrm>
            <a:custGeom>
              <a:avLst/>
              <a:gdLst/>
              <a:ahLst/>
              <a:cxnLst/>
              <a:rect l="l" t="t" r="r" b="b"/>
              <a:pathLst>
                <a:path w="90169" h="50164">
                  <a:moveTo>
                    <a:pt x="0" y="0"/>
                  </a:moveTo>
                  <a:lnTo>
                    <a:pt x="0" y="1444"/>
                  </a:lnTo>
                  <a:lnTo>
                    <a:pt x="90164" y="49663"/>
                  </a:lnTo>
                  <a:lnTo>
                    <a:pt x="90164" y="47495"/>
                  </a:lnTo>
                  <a:lnTo>
                    <a:pt x="0" y="0"/>
                  </a:lnTo>
                  <a:close/>
                </a:path>
              </a:pathLst>
            </a:custGeom>
            <a:solidFill>
              <a:srgbClr val="B8B4B4"/>
            </a:solidFill>
          </p:spPr>
          <p:txBody>
            <a:bodyPr wrap="square" lIns="0" tIns="0" rIns="0" bIns="0" rtlCol="0"/>
            <a:lstStyle/>
            <a:p>
              <a:endParaRPr sz="1092" dirty="0"/>
            </a:p>
          </p:txBody>
        </p:sp>
        <p:sp>
          <p:nvSpPr>
            <p:cNvPr id="990" name="object 990"/>
            <p:cNvSpPr/>
            <p:nvPr/>
          </p:nvSpPr>
          <p:spPr>
            <a:xfrm>
              <a:off x="8263391" y="2824455"/>
              <a:ext cx="54679" cy="30420"/>
            </a:xfrm>
            <a:custGeom>
              <a:avLst/>
              <a:gdLst/>
              <a:ahLst/>
              <a:cxnLst/>
              <a:rect l="l" t="t" r="r" b="b"/>
              <a:pathLst>
                <a:path w="90169" h="50164">
                  <a:moveTo>
                    <a:pt x="0" y="0"/>
                  </a:moveTo>
                  <a:lnTo>
                    <a:pt x="0" y="1444"/>
                  </a:lnTo>
                  <a:lnTo>
                    <a:pt x="90164" y="49652"/>
                  </a:lnTo>
                  <a:lnTo>
                    <a:pt x="90164" y="47474"/>
                  </a:lnTo>
                  <a:lnTo>
                    <a:pt x="0" y="0"/>
                  </a:lnTo>
                  <a:close/>
                </a:path>
              </a:pathLst>
            </a:custGeom>
            <a:solidFill>
              <a:srgbClr val="B8B4B4"/>
            </a:solidFill>
          </p:spPr>
          <p:txBody>
            <a:bodyPr wrap="square" lIns="0" tIns="0" rIns="0" bIns="0" rtlCol="0"/>
            <a:lstStyle/>
            <a:p>
              <a:endParaRPr sz="1092" dirty="0"/>
            </a:p>
          </p:txBody>
        </p:sp>
        <p:sp>
          <p:nvSpPr>
            <p:cNvPr id="991" name="object 991"/>
            <p:cNvSpPr/>
            <p:nvPr/>
          </p:nvSpPr>
          <p:spPr>
            <a:xfrm>
              <a:off x="8263391" y="2811881"/>
              <a:ext cx="54679" cy="30420"/>
            </a:xfrm>
            <a:custGeom>
              <a:avLst/>
              <a:gdLst/>
              <a:ahLst/>
              <a:cxnLst/>
              <a:rect l="l" t="t" r="r" b="b"/>
              <a:pathLst>
                <a:path w="90169" h="50164">
                  <a:moveTo>
                    <a:pt x="0" y="0"/>
                  </a:moveTo>
                  <a:lnTo>
                    <a:pt x="0" y="1434"/>
                  </a:lnTo>
                  <a:lnTo>
                    <a:pt x="90164" y="49652"/>
                  </a:lnTo>
                  <a:lnTo>
                    <a:pt x="90164" y="47485"/>
                  </a:lnTo>
                  <a:lnTo>
                    <a:pt x="0" y="0"/>
                  </a:lnTo>
                  <a:close/>
                </a:path>
              </a:pathLst>
            </a:custGeom>
            <a:solidFill>
              <a:srgbClr val="B8B4B4"/>
            </a:solidFill>
          </p:spPr>
          <p:txBody>
            <a:bodyPr wrap="square" lIns="0" tIns="0" rIns="0" bIns="0" rtlCol="0"/>
            <a:lstStyle/>
            <a:p>
              <a:endParaRPr sz="1092" dirty="0"/>
            </a:p>
          </p:txBody>
        </p:sp>
        <p:sp>
          <p:nvSpPr>
            <p:cNvPr id="992" name="object 992"/>
            <p:cNvSpPr/>
            <p:nvPr/>
          </p:nvSpPr>
          <p:spPr>
            <a:xfrm>
              <a:off x="8263391" y="2799305"/>
              <a:ext cx="54679" cy="30420"/>
            </a:xfrm>
            <a:custGeom>
              <a:avLst/>
              <a:gdLst/>
              <a:ahLst/>
              <a:cxnLst/>
              <a:rect l="l" t="t" r="r" b="b"/>
              <a:pathLst>
                <a:path w="90169" h="50164">
                  <a:moveTo>
                    <a:pt x="0" y="0"/>
                  </a:moveTo>
                  <a:lnTo>
                    <a:pt x="0" y="1696"/>
                  </a:lnTo>
                  <a:lnTo>
                    <a:pt x="90164" y="49663"/>
                  </a:lnTo>
                  <a:lnTo>
                    <a:pt x="90164" y="47495"/>
                  </a:lnTo>
                  <a:lnTo>
                    <a:pt x="0" y="0"/>
                  </a:lnTo>
                  <a:close/>
                </a:path>
              </a:pathLst>
            </a:custGeom>
            <a:solidFill>
              <a:srgbClr val="B8B4B4"/>
            </a:solidFill>
          </p:spPr>
          <p:txBody>
            <a:bodyPr wrap="square" lIns="0" tIns="0" rIns="0" bIns="0" rtlCol="0"/>
            <a:lstStyle/>
            <a:p>
              <a:endParaRPr sz="1092" dirty="0"/>
            </a:p>
          </p:txBody>
        </p:sp>
        <p:sp>
          <p:nvSpPr>
            <p:cNvPr id="993" name="object 993"/>
            <p:cNvSpPr/>
            <p:nvPr/>
          </p:nvSpPr>
          <p:spPr>
            <a:xfrm>
              <a:off x="8314261" y="2818746"/>
              <a:ext cx="0" cy="58915"/>
            </a:xfrm>
            <a:custGeom>
              <a:avLst/>
              <a:gdLst/>
              <a:ahLst/>
              <a:cxnLst/>
              <a:rect l="l" t="t" r="r" b="b"/>
              <a:pathLst>
                <a:path h="97154">
                  <a:moveTo>
                    <a:pt x="0" y="0"/>
                  </a:moveTo>
                  <a:lnTo>
                    <a:pt x="0" y="97148"/>
                  </a:lnTo>
                </a:path>
              </a:pathLst>
            </a:custGeom>
            <a:ln w="3175">
              <a:solidFill>
                <a:srgbClr val="B8B4B4"/>
              </a:solidFill>
            </a:ln>
          </p:spPr>
          <p:txBody>
            <a:bodyPr wrap="square" lIns="0" tIns="0" rIns="0" bIns="0" rtlCol="0"/>
            <a:lstStyle/>
            <a:p>
              <a:endParaRPr sz="1092" dirty="0"/>
            </a:p>
          </p:txBody>
        </p:sp>
        <p:sp>
          <p:nvSpPr>
            <p:cNvPr id="994" name="object 994"/>
            <p:cNvSpPr/>
            <p:nvPr/>
          </p:nvSpPr>
          <p:spPr>
            <a:xfrm>
              <a:off x="8310021" y="2816405"/>
              <a:ext cx="0" cy="59300"/>
            </a:xfrm>
            <a:custGeom>
              <a:avLst/>
              <a:gdLst/>
              <a:ahLst/>
              <a:cxnLst/>
              <a:rect l="l" t="t" r="r" b="b"/>
              <a:pathLst>
                <a:path h="97789">
                  <a:moveTo>
                    <a:pt x="0" y="0"/>
                  </a:moveTo>
                  <a:lnTo>
                    <a:pt x="0" y="97389"/>
                  </a:lnTo>
                </a:path>
              </a:pathLst>
            </a:custGeom>
            <a:ln w="3175">
              <a:solidFill>
                <a:srgbClr val="B8B4B4"/>
              </a:solidFill>
            </a:ln>
          </p:spPr>
          <p:txBody>
            <a:bodyPr wrap="square" lIns="0" tIns="0" rIns="0" bIns="0" rtlCol="0"/>
            <a:lstStyle/>
            <a:p>
              <a:endParaRPr sz="1092" dirty="0"/>
            </a:p>
          </p:txBody>
        </p:sp>
        <p:sp>
          <p:nvSpPr>
            <p:cNvPr id="995" name="object 995"/>
            <p:cNvSpPr/>
            <p:nvPr/>
          </p:nvSpPr>
          <p:spPr>
            <a:xfrm>
              <a:off x="8305639" y="2814214"/>
              <a:ext cx="0" cy="59300"/>
            </a:xfrm>
            <a:custGeom>
              <a:avLst/>
              <a:gdLst/>
              <a:ahLst/>
              <a:cxnLst/>
              <a:rect l="l" t="t" r="r" b="b"/>
              <a:pathLst>
                <a:path h="97789">
                  <a:moveTo>
                    <a:pt x="0" y="0"/>
                  </a:moveTo>
                  <a:lnTo>
                    <a:pt x="0" y="97389"/>
                  </a:lnTo>
                </a:path>
              </a:pathLst>
            </a:custGeom>
            <a:ln w="3175">
              <a:solidFill>
                <a:srgbClr val="B8B4B4"/>
              </a:solidFill>
            </a:ln>
          </p:spPr>
          <p:txBody>
            <a:bodyPr wrap="square" lIns="0" tIns="0" rIns="0" bIns="0" rtlCol="0"/>
            <a:lstStyle/>
            <a:p>
              <a:endParaRPr sz="1092" dirty="0"/>
            </a:p>
          </p:txBody>
        </p:sp>
        <p:sp>
          <p:nvSpPr>
            <p:cNvPr id="996" name="object 996"/>
            <p:cNvSpPr/>
            <p:nvPr/>
          </p:nvSpPr>
          <p:spPr>
            <a:xfrm>
              <a:off x="8301539" y="2812023"/>
              <a:ext cx="0" cy="58915"/>
            </a:xfrm>
            <a:custGeom>
              <a:avLst/>
              <a:gdLst/>
              <a:ahLst/>
              <a:cxnLst/>
              <a:rect l="l" t="t" r="r" b="b"/>
              <a:pathLst>
                <a:path h="97154">
                  <a:moveTo>
                    <a:pt x="0" y="0"/>
                  </a:moveTo>
                  <a:lnTo>
                    <a:pt x="0" y="97138"/>
                  </a:lnTo>
                </a:path>
              </a:pathLst>
            </a:custGeom>
            <a:ln w="3175">
              <a:solidFill>
                <a:srgbClr val="B8B4B4"/>
              </a:solidFill>
            </a:ln>
          </p:spPr>
          <p:txBody>
            <a:bodyPr wrap="square" lIns="0" tIns="0" rIns="0" bIns="0" rtlCol="0"/>
            <a:lstStyle/>
            <a:p>
              <a:endParaRPr sz="1092" dirty="0"/>
            </a:p>
          </p:txBody>
        </p:sp>
        <p:sp>
          <p:nvSpPr>
            <p:cNvPr id="997" name="object 997"/>
            <p:cNvSpPr/>
            <p:nvPr/>
          </p:nvSpPr>
          <p:spPr>
            <a:xfrm>
              <a:off x="8297161" y="2809682"/>
              <a:ext cx="0" cy="58915"/>
            </a:xfrm>
            <a:custGeom>
              <a:avLst/>
              <a:gdLst/>
              <a:ahLst/>
              <a:cxnLst/>
              <a:rect l="l" t="t" r="r" b="b"/>
              <a:pathLst>
                <a:path h="97154">
                  <a:moveTo>
                    <a:pt x="0" y="0"/>
                  </a:moveTo>
                  <a:lnTo>
                    <a:pt x="0" y="97148"/>
                  </a:lnTo>
                </a:path>
              </a:pathLst>
            </a:custGeom>
            <a:ln w="3175">
              <a:solidFill>
                <a:srgbClr val="B8B4B4"/>
              </a:solidFill>
            </a:ln>
          </p:spPr>
          <p:txBody>
            <a:bodyPr wrap="square" lIns="0" tIns="0" rIns="0" bIns="0" rtlCol="0"/>
            <a:lstStyle/>
            <a:p>
              <a:endParaRPr sz="1092" dirty="0"/>
            </a:p>
          </p:txBody>
        </p:sp>
        <p:sp>
          <p:nvSpPr>
            <p:cNvPr id="998" name="object 998"/>
            <p:cNvSpPr/>
            <p:nvPr/>
          </p:nvSpPr>
          <p:spPr>
            <a:xfrm>
              <a:off x="8292992" y="2807491"/>
              <a:ext cx="0" cy="59300"/>
            </a:xfrm>
            <a:custGeom>
              <a:avLst/>
              <a:gdLst/>
              <a:ahLst/>
              <a:cxnLst/>
              <a:rect l="l" t="t" r="r" b="b"/>
              <a:pathLst>
                <a:path h="97789">
                  <a:moveTo>
                    <a:pt x="0" y="0"/>
                  </a:moveTo>
                  <a:lnTo>
                    <a:pt x="0" y="97389"/>
                  </a:lnTo>
                </a:path>
              </a:pathLst>
            </a:custGeom>
            <a:ln w="3175">
              <a:solidFill>
                <a:srgbClr val="B8B4B4"/>
              </a:solidFill>
            </a:ln>
          </p:spPr>
          <p:txBody>
            <a:bodyPr wrap="square" lIns="0" tIns="0" rIns="0" bIns="0" rtlCol="0"/>
            <a:lstStyle/>
            <a:p>
              <a:endParaRPr sz="1092" dirty="0"/>
            </a:p>
          </p:txBody>
        </p:sp>
        <p:sp>
          <p:nvSpPr>
            <p:cNvPr id="999" name="object 999"/>
            <p:cNvSpPr/>
            <p:nvPr/>
          </p:nvSpPr>
          <p:spPr>
            <a:xfrm>
              <a:off x="8288682" y="2805153"/>
              <a:ext cx="0" cy="59300"/>
            </a:xfrm>
            <a:custGeom>
              <a:avLst/>
              <a:gdLst/>
              <a:ahLst/>
              <a:cxnLst/>
              <a:rect l="l" t="t" r="r" b="b"/>
              <a:pathLst>
                <a:path h="97789">
                  <a:moveTo>
                    <a:pt x="0" y="0"/>
                  </a:moveTo>
                  <a:lnTo>
                    <a:pt x="0" y="97379"/>
                  </a:lnTo>
                </a:path>
              </a:pathLst>
            </a:custGeom>
            <a:ln w="3175">
              <a:solidFill>
                <a:srgbClr val="B8B4B4"/>
              </a:solidFill>
            </a:ln>
          </p:spPr>
          <p:txBody>
            <a:bodyPr wrap="square" lIns="0" tIns="0" rIns="0" bIns="0" rtlCol="0"/>
            <a:lstStyle/>
            <a:p>
              <a:endParaRPr sz="1092" dirty="0"/>
            </a:p>
          </p:txBody>
        </p:sp>
        <p:sp>
          <p:nvSpPr>
            <p:cNvPr id="1000" name="object 1000"/>
            <p:cNvSpPr/>
            <p:nvPr/>
          </p:nvSpPr>
          <p:spPr>
            <a:xfrm>
              <a:off x="8284440" y="2802960"/>
              <a:ext cx="0" cy="58915"/>
            </a:xfrm>
            <a:custGeom>
              <a:avLst/>
              <a:gdLst/>
              <a:ahLst/>
              <a:cxnLst/>
              <a:rect l="l" t="t" r="r" b="b"/>
              <a:pathLst>
                <a:path h="97154">
                  <a:moveTo>
                    <a:pt x="0" y="0"/>
                  </a:moveTo>
                  <a:lnTo>
                    <a:pt x="0" y="97148"/>
                  </a:lnTo>
                </a:path>
              </a:pathLst>
            </a:custGeom>
            <a:ln w="3175">
              <a:solidFill>
                <a:srgbClr val="B8B4B4"/>
              </a:solidFill>
            </a:ln>
          </p:spPr>
          <p:txBody>
            <a:bodyPr wrap="square" lIns="0" tIns="0" rIns="0" bIns="0" rtlCol="0"/>
            <a:lstStyle/>
            <a:p>
              <a:endParaRPr sz="1092" dirty="0"/>
            </a:p>
          </p:txBody>
        </p:sp>
        <p:sp>
          <p:nvSpPr>
            <p:cNvPr id="1001" name="object 1001"/>
            <p:cNvSpPr/>
            <p:nvPr/>
          </p:nvSpPr>
          <p:spPr>
            <a:xfrm>
              <a:off x="8280202" y="2800768"/>
              <a:ext cx="0" cy="58915"/>
            </a:xfrm>
            <a:custGeom>
              <a:avLst/>
              <a:gdLst/>
              <a:ahLst/>
              <a:cxnLst/>
              <a:rect l="l" t="t" r="r" b="b"/>
              <a:pathLst>
                <a:path h="97154">
                  <a:moveTo>
                    <a:pt x="0" y="0"/>
                  </a:moveTo>
                  <a:lnTo>
                    <a:pt x="0" y="97138"/>
                  </a:lnTo>
                </a:path>
              </a:pathLst>
            </a:custGeom>
            <a:ln w="3175">
              <a:solidFill>
                <a:srgbClr val="B8B4B4"/>
              </a:solidFill>
            </a:ln>
          </p:spPr>
          <p:txBody>
            <a:bodyPr wrap="square" lIns="0" tIns="0" rIns="0" bIns="0" rtlCol="0"/>
            <a:lstStyle/>
            <a:p>
              <a:endParaRPr sz="1092" dirty="0"/>
            </a:p>
          </p:txBody>
        </p:sp>
        <p:sp>
          <p:nvSpPr>
            <p:cNvPr id="1002" name="object 1002"/>
            <p:cNvSpPr/>
            <p:nvPr/>
          </p:nvSpPr>
          <p:spPr>
            <a:xfrm>
              <a:off x="8275963" y="2798427"/>
              <a:ext cx="0" cy="59300"/>
            </a:xfrm>
            <a:custGeom>
              <a:avLst/>
              <a:gdLst/>
              <a:ahLst/>
              <a:cxnLst/>
              <a:rect l="l" t="t" r="r" b="b"/>
              <a:pathLst>
                <a:path h="97789">
                  <a:moveTo>
                    <a:pt x="0" y="0"/>
                  </a:moveTo>
                  <a:lnTo>
                    <a:pt x="0" y="97389"/>
                  </a:lnTo>
                </a:path>
              </a:pathLst>
            </a:custGeom>
            <a:ln w="3175">
              <a:solidFill>
                <a:srgbClr val="B8B4B4"/>
              </a:solidFill>
            </a:ln>
          </p:spPr>
          <p:txBody>
            <a:bodyPr wrap="square" lIns="0" tIns="0" rIns="0" bIns="0" rtlCol="0"/>
            <a:lstStyle/>
            <a:p>
              <a:endParaRPr sz="1092" dirty="0"/>
            </a:p>
          </p:txBody>
        </p:sp>
        <p:sp>
          <p:nvSpPr>
            <p:cNvPr id="1003" name="object 1003"/>
            <p:cNvSpPr/>
            <p:nvPr/>
          </p:nvSpPr>
          <p:spPr>
            <a:xfrm>
              <a:off x="8271723" y="2796235"/>
              <a:ext cx="0" cy="58915"/>
            </a:xfrm>
            <a:custGeom>
              <a:avLst/>
              <a:gdLst/>
              <a:ahLst/>
              <a:cxnLst/>
              <a:rect l="l" t="t" r="r" b="b"/>
              <a:pathLst>
                <a:path h="97154">
                  <a:moveTo>
                    <a:pt x="0" y="0"/>
                  </a:moveTo>
                  <a:lnTo>
                    <a:pt x="0" y="97148"/>
                  </a:lnTo>
                </a:path>
              </a:pathLst>
            </a:custGeom>
            <a:ln w="3175">
              <a:solidFill>
                <a:srgbClr val="B8B4B4"/>
              </a:solidFill>
            </a:ln>
          </p:spPr>
          <p:txBody>
            <a:bodyPr wrap="square" lIns="0" tIns="0" rIns="0" bIns="0" rtlCol="0"/>
            <a:lstStyle/>
            <a:p>
              <a:endParaRPr sz="1092" dirty="0"/>
            </a:p>
          </p:txBody>
        </p:sp>
        <p:sp>
          <p:nvSpPr>
            <p:cNvPr id="1004" name="object 1004"/>
            <p:cNvSpPr/>
            <p:nvPr/>
          </p:nvSpPr>
          <p:spPr>
            <a:xfrm>
              <a:off x="8267483" y="2794046"/>
              <a:ext cx="0" cy="58915"/>
            </a:xfrm>
            <a:custGeom>
              <a:avLst/>
              <a:gdLst/>
              <a:ahLst/>
              <a:cxnLst/>
              <a:rect l="l" t="t" r="r" b="b"/>
              <a:pathLst>
                <a:path h="97154">
                  <a:moveTo>
                    <a:pt x="0" y="0"/>
                  </a:moveTo>
                  <a:lnTo>
                    <a:pt x="0" y="97138"/>
                  </a:lnTo>
                </a:path>
              </a:pathLst>
            </a:custGeom>
            <a:ln w="3175">
              <a:solidFill>
                <a:srgbClr val="B8B4B4"/>
              </a:solidFill>
            </a:ln>
          </p:spPr>
          <p:txBody>
            <a:bodyPr wrap="square" lIns="0" tIns="0" rIns="0" bIns="0" rtlCol="0"/>
            <a:lstStyle/>
            <a:p>
              <a:endParaRPr sz="1092" dirty="0"/>
            </a:p>
          </p:txBody>
        </p:sp>
        <p:sp>
          <p:nvSpPr>
            <p:cNvPr id="1005" name="object 1005"/>
            <p:cNvSpPr/>
            <p:nvPr/>
          </p:nvSpPr>
          <p:spPr>
            <a:xfrm>
              <a:off x="8260609" y="2742592"/>
              <a:ext cx="124761" cy="72007"/>
            </a:xfrm>
            <a:custGeom>
              <a:avLst/>
              <a:gdLst/>
              <a:ahLst/>
              <a:cxnLst/>
              <a:rect l="l" t="t" r="r" b="b"/>
              <a:pathLst>
                <a:path w="205740" h="118745">
                  <a:moveTo>
                    <a:pt x="102708" y="0"/>
                  </a:moveTo>
                  <a:lnTo>
                    <a:pt x="0" y="63642"/>
                  </a:lnTo>
                  <a:lnTo>
                    <a:pt x="102708" y="118593"/>
                  </a:lnTo>
                  <a:lnTo>
                    <a:pt x="205386" y="54720"/>
                  </a:lnTo>
                  <a:lnTo>
                    <a:pt x="102708" y="0"/>
                  </a:lnTo>
                  <a:close/>
                </a:path>
              </a:pathLst>
            </a:custGeom>
            <a:solidFill>
              <a:srgbClr val="ECECEC"/>
            </a:solidFill>
          </p:spPr>
          <p:txBody>
            <a:bodyPr wrap="square" lIns="0" tIns="0" rIns="0" bIns="0" rtlCol="0"/>
            <a:lstStyle/>
            <a:p>
              <a:endParaRPr sz="1092" dirty="0"/>
            </a:p>
          </p:txBody>
        </p:sp>
        <p:sp>
          <p:nvSpPr>
            <p:cNvPr id="1006" name="object 1006"/>
            <p:cNvSpPr/>
            <p:nvPr/>
          </p:nvSpPr>
          <p:spPr>
            <a:xfrm>
              <a:off x="8268500" y="2747126"/>
              <a:ext cx="108973" cy="63150"/>
            </a:xfrm>
            <a:custGeom>
              <a:avLst/>
              <a:gdLst/>
              <a:ahLst/>
              <a:cxnLst/>
              <a:rect l="l" t="t" r="r" b="b"/>
              <a:pathLst>
                <a:path w="179705" h="104139">
                  <a:moveTo>
                    <a:pt x="89693" y="0"/>
                  </a:moveTo>
                  <a:lnTo>
                    <a:pt x="0" y="55684"/>
                  </a:lnTo>
                  <a:lnTo>
                    <a:pt x="89693" y="103892"/>
                  </a:lnTo>
                  <a:lnTo>
                    <a:pt x="179355" y="47967"/>
                  </a:lnTo>
                  <a:lnTo>
                    <a:pt x="89693" y="0"/>
                  </a:lnTo>
                  <a:close/>
                </a:path>
              </a:pathLst>
            </a:custGeom>
            <a:solidFill>
              <a:srgbClr val="DADADA"/>
            </a:solidFill>
          </p:spPr>
          <p:txBody>
            <a:bodyPr wrap="square" lIns="0" tIns="0" rIns="0" bIns="0" rtlCol="0"/>
            <a:lstStyle/>
            <a:p>
              <a:endParaRPr sz="1092" dirty="0"/>
            </a:p>
          </p:txBody>
        </p:sp>
        <p:sp>
          <p:nvSpPr>
            <p:cNvPr id="1007" name="object 1007"/>
            <p:cNvSpPr/>
            <p:nvPr/>
          </p:nvSpPr>
          <p:spPr>
            <a:xfrm>
              <a:off x="8289415" y="2972042"/>
              <a:ext cx="200106" cy="98272"/>
            </a:xfrm>
            <a:prstGeom prst="rect">
              <a:avLst/>
            </a:prstGeom>
            <a:blipFill>
              <a:blip r:embed="rId31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08" name="object 1008"/>
            <p:cNvSpPr/>
            <p:nvPr/>
          </p:nvSpPr>
          <p:spPr>
            <a:xfrm>
              <a:off x="8093982" y="2861874"/>
              <a:ext cx="306126" cy="180595"/>
            </a:xfrm>
            <a:custGeom>
              <a:avLst/>
              <a:gdLst/>
              <a:ahLst/>
              <a:cxnLst/>
              <a:rect l="l" t="t" r="r" b="b"/>
              <a:pathLst>
                <a:path w="504825" h="297814">
                  <a:moveTo>
                    <a:pt x="183680" y="0"/>
                  </a:moveTo>
                  <a:lnTo>
                    <a:pt x="0" y="118593"/>
                  </a:lnTo>
                  <a:lnTo>
                    <a:pt x="320356" y="297216"/>
                  </a:lnTo>
                  <a:lnTo>
                    <a:pt x="504277" y="178853"/>
                  </a:lnTo>
                  <a:lnTo>
                    <a:pt x="183680" y="0"/>
                  </a:lnTo>
                  <a:close/>
                </a:path>
              </a:pathLst>
            </a:custGeom>
            <a:solidFill>
              <a:srgbClr val="FFFFFF"/>
            </a:solidFill>
          </p:spPr>
          <p:txBody>
            <a:bodyPr wrap="square" lIns="0" tIns="0" rIns="0" bIns="0" rtlCol="0"/>
            <a:lstStyle/>
            <a:p>
              <a:endParaRPr sz="1092" dirty="0"/>
            </a:p>
          </p:txBody>
        </p:sp>
        <p:sp>
          <p:nvSpPr>
            <p:cNvPr id="1009" name="object 1009"/>
            <p:cNvSpPr/>
            <p:nvPr/>
          </p:nvSpPr>
          <p:spPr>
            <a:xfrm>
              <a:off x="8288245" y="2970335"/>
              <a:ext cx="111669" cy="99347"/>
            </a:xfrm>
            <a:custGeom>
              <a:avLst/>
              <a:gdLst/>
              <a:ahLst/>
              <a:cxnLst/>
              <a:rect l="l" t="t" r="r" b="b"/>
              <a:pathLst>
                <a:path w="184150" h="163829">
                  <a:moveTo>
                    <a:pt x="183921" y="0"/>
                  </a:moveTo>
                  <a:lnTo>
                    <a:pt x="0" y="118352"/>
                  </a:lnTo>
                  <a:lnTo>
                    <a:pt x="0" y="163670"/>
                  </a:lnTo>
                  <a:lnTo>
                    <a:pt x="183921" y="45077"/>
                  </a:lnTo>
                  <a:lnTo>
                    <a:pt x="183921" y="0"/>
                  </a:lnTo>
                  <a:close/>
                </a:path>
              </a:pathLst>
            </a:custGeom>
            <a:solidFill>
              <a:srgbClr val="787371"/>
            </a:solidFill>
          </p:spPr>
          <p:txBody>
            <a:bodyPr wrap="square" lIns="0" tIns="0" rIns="0" bIns="0" rtlCol="0"/>
            <a:lstStyle/>
            <a:p>
              <a:endParaRPr sz="1092" dirty="0"/>
            </a:p>
          </p:txBody>
        </p:sp>
        <p:sp>
          <p:nvSpPr>
            <p:cNvPr id="1010" name="object 1010"/>
            <p:cNvSpPr/>
            <p:nvPr/>
          </p:nvSpPr>
          <p:spPr>
            <a:xfrm>
              <a:off x="8093981" y="2933787"/>
              <a:ext cx="194458" cy="135927"/>
            </a:xfrm>
            <a:custGeom>
              <a:avLst/>
              <a:gdLst/>
              <a:ahLst/>
              <a:cxnLst/>
              <a:rect l="l" t="t" r="r" b="b"/>
              <a:pathLst>
                <a:path w="320675" h="224154">
                  <a:moveTo>
                    <a:pt x="0" y="0"/>
                  </a:moveTo>
                  <a:lnTo>
                    <a:pt x="0" y="45317"/>
                  </a:lnTo>
                  <a:lnTo>
                    <a:pt x="320356" y="223940"/>
                  </a:lnTo>
                  <a:lnTo>
                    <a:pt x="320356" y="178622"/>
                  </a:lnTo>
                  <a:lnTo>
                    <a:pt x="0" y="0"/>
                  </a:lnTo>
                  <a:close/>
                </a:path>
              </a:pathLst>
            </a:custGeom>
            <a:solidFill>
              <a:srgbClr val="D6CCC2"/>
            </a:solidFill>
          </p:spPr>
          <p:txBody>
            <a:bodyPr wrap="square" lIns="0" tIns="0" rIns="0" bIns="0" rtlCol="0"/>
            <a:lstStyle/>
            <a:p>
              <a:endParaRPr sz="1092" dirty="0"/>
            </a:p>
          </p:txBody>
        </p:sp>
        <p:sp>
          <p:nvSpPr>
            <p:cNvPr id="1011" name="object 1011"/>
            <p:cNvSpPr/>
            <p:nvPr/>
          </p:nvSpPr>
          <p:spPr>
            <a:xfrm>
              <a:off x="8274500" y="2928674"/>
              <a:ext cx="108177" cy="85065"/>
            </a:xfrm>
            <a:prstGeom prst="rect">
              <a:avLst/>
            </a:prstGeom>
            <a:blipFill>
              <a:blip r:embed="rId31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12" name="object 1012"/>
            <p:cNvSpPr/>
            <p:nvPr/>
          </p:nvSpPr>
          <p:spPr>
            <a:xfrm>
              <a:off x="8148068" y="2878679"/>
              <a:ext cx="189837" cy="111284"/>
            </a:xfrm>
            <a:custGeom>
              <a:avLst/>
              <a:gdLst/>
              <a:ahLst/>
              <a:cxnLst/>
              <a:rect l="l" t="t" r="r" b="b"/>
              <a:pathLst>
                <a:path w="313055" h="183514">
                  <a:moveTo>
                    <a:pt x="105075" y="0"/>
                  </a:moveTo>
                  <a:lnTo>
                    <a:pt x="0" y="67736"/>
                  </a:lnTo>
                  <a:lnTo>
                    <a:pt x="207763" y="183439"/>
                  </a:lnTo>
                  <a:lnTo>
                    <a:pt x="312639" y="115954"/>
                  </a:lnTo>
                  <a:lnTo>
                    <a:pt x="105075" y="0"/>
                  </a:lnTo>
                  <a:close/>
                </a:path>
              </a:pathLst>
            </a:custGeom>
            <a:solidFill>
              <a:srgbClr val="FFFFFF"/>
            </a:solidFill>
          </p:spPr>
          <p:txBody>
            <a:bodyPr wrap="square" lIns="0" tIns="0" rIns="0" bIns="0" rtlCol="0"/>
            <a:lstStyle/>
            <a:p>
              <a:endParaRPr sz="1092" dirty="0"/>
            </a:p>
          </p:txBody>
        </p:sp>
        <p:sp>
          <p:nvSpPr>
            <p:cNvPr id="1013" name="object 1013"/>
            <p:cNvSpPr/>
            <p:nvPr/>
          </p:nvSpPr>
          <p:spPr>
            <a:xfrm>
              <a:off x="8148068" y="2919756"/>
              <a:ext cx="189582" cy="93986"/>
            </a:xfrm>
            <a:prstGeom prst="rect">
              <a:avLst/>
            </a:prstGeom>
            <a:blipFill>
              <a:blip r:embed="rId31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14" name="object 1014"/>
            <p:cNvSpPr/>
            <p:nvPr/>
          </p:nvSpPr>
          <p:spPr>
            <a:xfrm>
              <a:off x="8561044" y="2819609"/>
              <a:ext cx="87969" cy="52117"/>
            </a:xfrm>
            <a:prstGeom prst="rect">
              <a:avLst/>
            </a:prstGeom>
            <a:blipFill>
              <a:blip r:embed="rId31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15" name="object 1015"/>
            <p:cNvSpPr/>
            <p:nvPr/>
          </p:nvSpPr>
          <p:spPr>
            <a:xfrm>
              <a:off x="8544851" y="2818420"/>
              <a:ext cx="88073" cy="59983"/>
            </a:xfrm>
            <a:prstGeom prst="rect">
              <a:avLst/>
            </a:prstGeom>
            <a:blipFill>
              <a:blip r:embed="rId31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16" name="object 1016"/>
            <p:cNvSpPr/>
            <p:nvPr/>
          </p:nvSpPr>
          <p:spPr>
            <a:xfrm>
              <a:off x="8440629" y="2888787"/>
              <a:ext cx="87935" cy="52079"/>
            </a:xfrm>
            <a:prstGeom prst="rect">
              <a:avLst/>
            </a:prstGeom>
            <a:blipFill>
              <a:blip r:embed="rId31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17" name="object 1017"/>
            <p:cNvSpPr/>
            <p:nvPr/>
          </p:nvSpPr>
          <p:spPr>
            <a:xfrm>
              <a:off x="8424396" y="2887413"/>
              <a:ext cx="88151" cy="60130"/>
            </a:xfrm>
            <a:prstGeom prst="rect">
              <a:avLst/>
            </a:prstGeom>
            <a:blipFill>
              <a:blip r:embed="rId32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18" name="object 1018"/>
            <p:cNvSpPr/>
            <p:nvPr/>
          </p:nvSpPr>
          <p:spPr>
            <a:xfrm>
              <a:off x="9231081" y="4607542"/>
              <a:ext cx="365811" cy="286103"/>
            </a:xfrm>
            <a:custGeom>
              <a:avLst/>
              <a:gdLst/>
              <a:ahLst/>
              <a:cxnLst/>
              <a:rect l="l" t="t" r="r" b="b"/>
              <a:pathLst>
                <a:path w="603250" h="471804">
                  <a:moveTo>
                    <a:pt x="215941" y="0"/>
                  </a:moveTo>
                  <a:lnTo>
                    <a:pt x="215459" y="223605"/>
                  </a:lnTo>
                  <a:lnTo>
                    <a:pt x="0" y="352470"/>
                  </a:lnTo>
                  <a:lnTo>
                    <a:pt x="206297" y="471545"/>
                  </a:lnTo>
                  <a:lnTo>
                    <a:pt x="602725" y="223354"/>
                  </a:lnTo>
                  <a:lnTo>
                    <a:pt x="215941" y="0"/>
                  </a:lnTo>
                  <a:close/>
                </a:path>
              </a:pathLst>
            </a:custGeom>
            <a:solidFill>
              <a:srgbClr val="A8A9AA"/>
            </a:solidFill>
          </p:spPr>
          <p:txBody>
            <a:bodyPr wrap="square" lIns="0" tIns="0" rIns="0" bIns="0" rtlCol="0"/>
            <a:lstStyle/>
            <a:p>
              <a:endParaRPr sz="1092" dirty="0"/>
            </a:p>
          </p:txBody>
        </p:sp>
        <p:sp>
          <p:nvSpPr>
            <p:cNvPr id="1019" name="object 1019"/>
            <p:cNvSpPr/>
            <p:nvPr/>
          </p:nvSpPr>
          <p:spPr>
            <a:xfrm>
              <a:off x="9362028" y="4482594"/>
              <a:ext cx="435123" cy="260689"/>
            </a:xfrm>
            <a:custGeom>
              <a:avLst/>
              <a:gdLst/>
              <a:ahLst/>
              <a:cxnLst/>
              <a:rect l="l" t="t" r="r" b="b"/>
              <a:pathLst>
                <a:path w="717550" h="429895">
                  <a:moveTo>
                    <a:pt x="319990" y="0"/>
                  </a:moveTo>
                  <a:lnTo>
                    <a:pt x="41" y="184601"/>
                  </a:lnTo>
                  <a:lnTo>
                    <a:pt x="0" y="206046"/>
                  </a:lnTo>
                  <a:lnTo>
                    <a:pt x="386784" y="429400"/>
                  </a:lnTo>
                  <a:lnTo>
                    <a:pt x="717140" y="222569"/>
                  </a:lnTo>
                  <a:lnTo>
                    <a:pt x="319990" y="0"/>
                  </a:lnTo>
                  <a:close/>
                </a:path>
              </a:pathLst>
            </a:custGeom>
            <a:solidFill>
              <a:srgbClr val="BBBBBC"/>
            </a:solidFill>
          </p:spPr>
          <p:txBody>
            <a:bodyPr wrap="square" lIns="0" tIns="0" rIns="0" bIns="0" rtlCol="0"/>
            <a:lstStyle/>
            <a:p>
              <a:endParaRPr sz="1092" dirty="0"/>
            </a:p>
          </p:txBody>
        </p:sp>
        <p:sp>
          <p:nvSpPr>
            <p:cNvPr id="1020" name="object 1020"/>
            <p:cNvSpPr/>
            <p:nvPr/>
          </p:nvSpPr>
          <p:spPr>
            <a:xfrm>
              <a:off x="9362056" y="4374132"/>
              <a:ext cx="194073" cy="220642"/>
            </a:xfrm>
            <a:custGeom>
              <a:avLst/>
              <a:gdLst/>
              <a:ahLst/>
              <a:cxnLst/>
              <a:rect l="l" t="t" r="r" b="b"/>
              <a:pathLst>
                <a:path w="320040" h="363854">
                  <a:moveTo>
                    <a:pt x="774" y="0"/>
                  </a:moveTo>
                  <a:lnTo>
                    <a:pt x="0" y="363465"/>
                  </a:lnTo>
                  <a:lnTo>
                    <a:pt x="319937" y="178863"/>
                  </a:lnTo>
                  <a:lnTo>
                    <a:pt x="774" y="0"/>
                  </a:lnTo>
                  <a:close/>
                </a:path>
              </a:pathLst>
            </a:custGeom>
            <a:solidFill>
              <a:srgbClr val="BBBBBC"/>
            </a:solidFill>
          </p:spPr>
          <p:txBody>
            <a:bodyPr wrap="square" lIns="0" tIns="0" rIns="0" bIns="0" rtlCol="0"/>
            <a:lstStyle/>
            <a:p>
              <a:endParaRPr sz="1092" dirty="0"/>
            </a:p>
          </p:txBody>
        </p:sp>
        <p:sp>
          <p:nvSpPr>
            <p:cNvPr id="1021" name="object 1021"/>
            <p:cNvSpPr/>
            <p:nvPr/>
          </p:nvSpPr>
          <p:spPr>
            <a:xfrm>
              <a:off x="9083516" y="5046873"/>
              <a:ext cx="20408" cy="7316"/>
            </a:xfrm>
            <a:custGeom>
              <a:avLst/>
              <a:gdLst/>
              <a:ahLst/>
              <a:cxnLst/>
              <a:rect l="l" t="t" r="r" b="b"/>
              <a:pathLst>
                <a:path w="33655" h="12065">
                  <a:moveTo>
                    <a:pt x="20093" y="0"/>
                  </a:moveTo>
                  <a:lnTo>
                    <a:pt x="0" y="11591"/>
                  </a:lnTo>
                  <a:lnTo>
                    <a:pt x="26376" y="12051"/>
                  </a:lnTo>
                  <a:lnTo>
                    <a:pt x="33381" y="7664"/>
                  </a:lnTo>
                  <a:lnTo>
                    <a:pt x="20093" y="0"/>
                  </a:lnTo>
                  <a:close/>
                </a:path>
              </a:pathLst>
            </a:custGeom>
            <a:solidFill>
              <a:srgbClr val="BBBBBC"/>
            </a:solidFill>
          </p:spPr>
          <p:txBody>
            <a:bodyPr wrap="square" lIns="0" tIns="0" rIns="0" bIns="0" rtlCol="0"/>
            <a:lstStyle/>
            <a:p>
              <a:endParaRPr sz="1092" dirty="0"/>
            </a:p>
          </p:txBody>
        </p:sp>
        <p:sp>
          <p:nvSpPr>
            <p:cNvPr id="1022" name="object 1022"/>
            <p:cNvSpPr/>
            <p:nvPr/>
          </p:nvSpPr>
          <p:spPr>
            <a:xfrm>
              <a:off x="8864280" y="4975831"/>
              <a:ext cx="231424" cy="78168"/>
            </a:xfrm>
            <a:custGeom>
              <a:avLst/>
              <a:gdLst/>
              <a:ahLst/>
              <a:cxnLst/>
              <a:rect l="l" t="t" r="r" b="b"/>
              <a:pathLst>
                <a:path w="381634" h="128904">
                  <a:moveTo>
                    <a:pt x="178758" y="0"/>
                  </a:moveTo>
                  <a:lnTo>
                    <a:pt x="0" y="106918"/>
                  </a:lnTo>
                  <a:lnTo>
                    <a:pt x="28344" y="122938"/>
                  </a:lnTo>
                  <a:lnTo>
                    <a:pt x="361538" y="128750"/>
                  </a:lnTo>
                  <a:lnTo>
                    <a:pt x="381632" y="117158"/>
                  </a:lnTo>
                  <a:lnTo>
                    <a:pt x="178758" y="0"/>
                  </a:lnTo>
                  <a:close/>
                </a:path>
              </a:pathLst>
            </a:custGeom>
            <a:solidFill>
              <a:srgbClr val="A8A9AA"/>
            </a:solidFill>
          </p:spPr>
          <p:txBody>
            <a:bodyPr wrap="square" lIns="0" tIns="0" rIns="0" bIns="0" rtlCol="0"/>
            <a:lstStyle/>
            <a:p>
              <a:endParaRPr sz="1092" dirty="0"/>
            </a:p>
          </p:txBody>
        </p:sp>
        <p:sp>
          <p:nvSpPr>
            <p:cNvPr id="1023" name="object 1023"/>
            <p:cNvSpPr/>
            <p:nvPr/>
          </p:nvSpPr>
          <p:spPr>
            <a:xfrm>
              <a:off x="9095700" y="4932384"/>
              <a:ext cx="198693" cy="119370"/>
            </a:xfrm>
            <a:custGeom>
              <a:avLst/>
              <a:gdLst/>
              <a:ahLst/>
              <a:cxnLst/>
              <a:rect l="l" t="t" r="r" b="b"/>
              <a:pathLst>
                <a:path w="327659" h="196850">
                  <a:moveTo>
                    <a:pt x="327099" y="0"/>
                  </a:moveTo>
                  <a:lnTo>
                    <a:pt x="0" y="188800"/>
                  </a:lnTo>
                  <a:lnTo>
                    <a:pt x="13287" y="196475"/>
                  </a:lnTo>
                  <a:lnTo>
                    <a:pt x="327099" y="0"/>
                  </a:lnTo>
                  <a:close/>
                </a:path>
              </a:pathLst>
            </a:custGeom>
            <a:solidFill>
              <a:srgbClr val="BBBBBC"/>
            </a:solidFill>
          </p:spPr>
          <p:txBody>
            <a:bodyPr wrap="square" lIns="0" tIns="0" rIns="0" bIns="0" rtlCol="0"/>
            <a:lstStyle/>
            <a:p>
              <a:endParaRPr sz="1092" dirty="0"/>
            </a:p>
          </p:txBody>
        </p:sp>
        <p:sp>
          <p:nvSpPr>
            <p:cNvPr id="1024" name="object 1024"/>
            <p:cNvSpPr/>
            <p:nvPr/>
          </p:nvSpPr>
          <p:spPr>
            <a:xfrm>
              <a:off x="8972681" y="4821281"/>
              <a:ext cx="383524" cy="225648"/>
            </a:xfrm>
            <a:custGeom>
              <a:avLst/>
              <a:gdLst/>
              <a:ahLst/>
              <a:cxnLst/>
              <a:rect l="l" t="t" r="r" b="b"/>
              <a:pathLst>
                <a:path w="632459" h="372109">
                  <a:moveTo>
                    <a:pt x="426123" y="0"/>
                  </a:moveTo>
                  <a:lnTo>
                    <a:pt x="0" y="254861"/>
                  </a:lnTo>
                  <a:lnTo>
                    <a:pt x="202873" y="372020"/>
                  </a:lnTo>
                  <a:lnTo>
                    <a:pt x="529962" y="183219"/>
                  </a:lnTo>
                  <a:lnTo>
                    <a:pt x="632420" y="119074"/>
                  </a:lnTo>
                  <a:lnTo>
                    <a:pt x="426123" y="0"/>
                  </a:lnTo>
                  <a:close/>
                </a:path>
              </a:pathLst>
            </a:custGeom>
            <a:solidFill>
              <a:srgbClr val="A8A9AA"/>
            </a:solidFill>
          </p:spPr>
          <p:txBody>
            <a:bodyPr wrap="square" lIns="0" tIns="0" rIns="0" bIns="0" rtlCol="0"/>
            <a:lstStyle/>
            <a:p>
              <a:endParaRPr sz="1092" dirty="0"/>
            </a:p>
          </p:txBody>
        </p:sp>
        <p:sp>
          <p:nvSpPr>
            <p:cNvPr id="1025" name="object 1025"/>
            <p:cNvSpPr/>
            <p:nvPr/>
          </p:nvSpPr>
          <p:spPr>
            <a:xfrm>
              <a:off x="8496245" y="3714790"/>
              <a:ext cx="867550" cy="514061"/>
            </a:xfrm>
            <a:custGeom>
              <a:avLst/>
              <a:gdLst/>
              <a:ahLst/>
              <a:cxnLst/>
              <a:rect l="l" t="t" r="r" b="b"/>
              <a:pathLst>
                <a:path w="1430655" h="847725">
                  <a:moveTo>
                    <a:pt x="848037" y="0"/>
                  </a:moveTo>
                  <a:lnTo>
                    <a:pt x="0" y="508874"/>
                  </a:lnTo>
                  <a:lnTo>
                    <a:pt x="581416" y="847544"/>
                  </a:lnTo>
                  <a:lnTo>
                    <a:pt x="1430155" y="339644"/>
                  </a:lnTo>
                  <a:lnTo>
                    <a:pt x="848037" y="0"/>
                  </a:lnTo>
                  <a:close/>
                </a:path>
              </a:pathLst>
            </a:custGeom>
            <a:solidFill>
              <a:srgbClr val="FFFFFF"/>
            </a:solidFill>
          </p:spPr>
          <p:txBody>
            <a:bodyPr wrap="square" lIns="0" tIns="0" rIns="0" bIns="0" rtlCol="0"/>
            <a:lstStyle/>
            <a:p>
              <a:endParaRPr sz="1092" dirty="0"/>
            </a:p>
          </p:txBody>
        </p:sp>
        <p:sp>
          <p:nvSpPr>
            <p:cNvPr id="1026" name="object 1026"/>
            <p:cNvSpPr/>
            <p:nvPr/>
          </p:nvSpPr>
          <p:spPr>
            <a:xfrm>
              <a:off x="8543168" y="3740374"/>
              <a:ext cx="770899" cy="455146"/>
            </a:xfrm>
            <a:custGeom>
              <a:avLst/>
              <a:gdLst/>
              <a:ahLst/>
              <a:cxnLst/>
              <a:rect l="l" t="t" r="r" b="b"/>
              <a:pathLst>
                <a:path w="1271269" h="750570">
                  <a:moveTo>
                    <a:pt x="768720" y="0"/>
                  </a:moveTo>
                  <a:lnTo>
                    <a:pt x="0" y="455598"/>
                  </a:lnTo>
                  <a:lnTo>
                    <a:pt x="502602" y="750385"/>
                  </a:lnTo>
                  <a:lnTo>
                    <a:pt x="1271071" y="296744"/>
                  </a:lnTo>
                  <a:lnTo>
                    <a:pt x="768720" y="0"/>
                  </a:lnTo>
                  <a:close/>
                </a:path>
              </a:pathLst>
            </a:custGeom>
            <a:solidFill>
              <a:srgbClr val="ECECEC"/>
            </a:solidFill>
          </p:spPr>
          <p:txBody>
            <a:bodyPr wrap="square" lIns="0" tIns="0" rIns="0" bIns="0" rtlCol="0"/>
            <a:lstStyle/>
            <a:p>
              <a:endParaRPr sz="1092" dirty="0"/>
            </a:p>
          </p:txBody>
        </p:sp>
        <p:sp>
          <p:nvSpPr>
            <p:cNvPr id="1027" name="object 1027"/>
            <p:cNvSpPr/>
            <p:nvPr/>
          </p:nvSpPr>
          <p:spPr>
            <a:xfrm>
              <a:off x="8490548" y="4022058"/>
              <a:ext cx="358495" cy="1027352"/>
            </a:xfrm>
            <a:custGeom>
              <a:avLst/>
              <a:gdLst/>
              <a:ahLst/>
              <a:cxnLst/>
              <a:rect l="l" t="t" r="r" b="b"/>
              <a:pathLst>
                <a:path w="591184" h="1694179">
                  <a:moveTo>
                    <a:pt x="10596" y="0"/>
                  </a:moveTo>
                  <a:lnTo>
                    <a:pt x="0" y="1359047"/>
                  </a:lnTo>
                  <a:lnTo>
                    <a:pt x="590086" y="1693623"/>
                  </a:lnTo>
                  <a:lnTo>
                    <a:pt x="590809" y="340837"/>
                  </a:lnTo>
                  <a:lnTo>
                    <a:pt x="10596" y="0"/>
                  </a:lnTo>
                  <a:close/>
                </a:path>
              </a:pathLst>
            </a:custGeom>
            <a:solidFill>
              <a:srgbClr val="F7F1F1"/>
            </a:solidFill>
          </p:spPr>
          <p:txBody>
            <a:bodyPr wrap="square" lIns="0" tIns="0" rIns="0" bIns="0" rtlCol="0"/>
            <a:lstStyle/>
            <a:p>
              <a:endParaRPr sz="1092" dirty="0"/>
            </a:p>
          </p:txBody>
        </p:sp>
        <p:sp>
          <p:nvSpPr>
            <p:cNvPr id="1028" name="object 1028"/>
            <p:cNvSpPr/>
            <p:nvPr/>
          </p:nvSpPr>
          <p:spPr>
            <a:xfrm>
              <a:off x="8847789" y="3920751"/>
              <a:ext cx="515987" cy="1129779"/>
            </a:xfrm>
            <a:custGeom>
              <a:avLst/>
              <a:gdLst/>
              <a:ahLst/>
              <a:cxnLst/>
              <a:rect l="l" t="t" r="r" b="b"/>
              <a:pathLst>
                <a:path w="850900" h="1863090">
                  <a:moveTo>
                    <a:pt x="850434" y="0"/>
                  </a:moveTo>
                  <a:lnTo>
                    <a:pt x="1696" y="507659"/>
                  </a:lnTo>
                  <a:lnTo>
                    <a:pt x="0" y="1863084"/>
                  </a:lnTo>
                  <a:lnTo>
                    <a:pt x="847534" y="1356168"/>
                  </a:lnTo>
                  <a:lnTo>
                    <a:pt x="850434" y="0"/>
                  </a:lnTo>
                  <a:close/>
                </a:path>
              </a:pathLst>
            </a:custGeom>
            <a:solidFill>
              <a:srgbClr val="CAC4C4"/>
            </a:solidFill>
          </p:spPr>
          <p:txBody>
            <a:bodyPr wrap="square" lIns="0" tIns="0" rIns="0" bIns="0" rtlCol="0"/>
            <a:lstStyle/>
            <a:p>
              <a:endParaRPr sz="1092" dirty="0"/>
            </a:p>
          </p:txBody>
        </p:sp>
        <p:sp>
          <p:nvSpPr>
            <p:cNvPr id="1029" name="object 1029"/>
            <p:cNvSpPr/>
            <p:nvPr/>
          </p:nvSpPr>
          <p:spPr>
            <a:xfrm>
              <a:off x="9220831" y="4046609"/>
              <a:ext cx="81567" cy="343510"/>
            </a:xfrm>
            <a:prstGeom prst="rect">
              <a:avLst/>
            </a:prstGeom>
            <a:blipFill>
              <a:blip r:embed="rId32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30" name="object 1030"/>
            <p:cNvSpPr/>
            <p:nvPr/>
          </p:nvSpPr>
          <p:spPr>
            <a:xfrm>
              <a:off x="9220832" y="4046612"/>
              <a:ext cx="81634" cy="89335"/>
            </a:xfrm>
            <a:custGeom>
              <a:avLst/>
              <a:gdLst/>
              <a:ahLst/>
              <a:cxnLst/>
              <a:rect l="l" t="t" r="r" b="b"/>
              <a:pathLst>
                <a:path w="134619" h="147320">
                  <a:moveTo>
                    <a:pt x="134508" y="0"/>
                  </a:moveTo>
                  <a:lnTo>
                    <a:pt x="113766" y="11580"/>
                  </a:lnTo>
                  <a:lnTo>
                    <a:pt x="114006" y="57862"/>
                  </a:lnTo>
                  <a:lnTo>
                    <a:pt x="0" y="122687"/>
                  </a:lnTo>
                  <a:lnTo>
                    <a:pt x="0" y="147032"/>
                  </a:lnTo>
                  <a:lnTo>
                    <a:pt x="134508" y="70144"/>
                  </a:lnTo>
                  <a:lnTo>
                    <a:pt x="134508" y="0"/>
                  </a:lnTo>
                  <a:close/>
                </a:path>
              </a:pathLst>
            </a:custGeom>
            <a:solidFill>
              <a:srgbClr val="91949E"/>
            </a:solidFill>
          </p:spPr>
          <p:txBody>
            <a:bodyPr wrap="square" lIns="0" tIns="0" rIns="0" bIns="0" rtlCol="0"/>
            <a:lstStyle/>
            <a:p>
              <a:endParaRPr sz="1092" dirty="0"/>
            </a:p>
          </p:txBody>
        </p:sp>
        <p:sp>
          <p:nvSpPr>
            <p:cNvPr id="1031" name="object 1031"/>
            <p:cNvSpPr/>
            <p:nvPr/>
          </p:nvSpPr>
          <p:spPr>
            <a:xfrm>
              <a:off x="9220834" y="4135930"/>
              <a:ext cx="81634" cy="89720"/>
            </a:xfrm>
            <a:custGeom>
              <a:avLst/>
              <a:gdLst/>
              <a:ahLst/>
              <a:cxnLst/>
              <a:rect l="l" t="t" r="r" b="b"/>
              <a:pathLst>
                <a:path w="134619" h="147954">
                  <a:moveTo>
                    <a:pt x="134508" y="0"/>
                  </a:moveTo>
                  <a:lnTo>
                    <a:pt x="113766" y="11790"/>
                  </a:lnTo>
                  <a:lnTo>
                    <a:pt x="113996" y="57830"/>
                  </a:lnTo>
                  <a:lnTo>
                    <a:pt x="0" y="122917"/>
                  </a:lnTo>
                  <a:lnTo>
                    <a:pt x="0" y="147524"/>
                  </a:lnTo>
                  <a:lnTo>
                    <a:pt x="134508" y="70374"/>
                  </a:lnTo>
                  <a:lnTo>
                    <a:pt x="134508" y="0"/>
                  </a:lnTo>
                  <a:close/>
                </a:path>
              </a:pathLst>
            </a:custGeom>
            <a:solidFill>
              <a:srgbClr val="91949E"/>
            </a:solidFill>
          </p:spPr>
          <p:txBody>
            <a:bodyPr wrap="square" lIns="0" tIns="0" rIns="0" bIns="0" rtlCol="0"/>
            <a:lstStyle/>
            <a:p>
              <a:endParaRPr sz="1092" dirty="0"/>
            </a:p>
          </p:txBody>
        </p:sp>
        <p:sp>
          <p:nvSpPr>
            <p:cNvPr id="1032" name="object 1032"/>
            <p:cNvSpPr/>
            <p:nvPr/>
          </p:nvSpPr>
          <p:spPr>
            <a:xfrm>
              <a:off x="9220834" y="4215581"/>
              <a:ext cx="81634" cy="89335"/>
            </a:xfrm>
            <a:custGeom>
              <a:avLst/>
              <a:gdLst/>
              <a:ahLst/>
              <a:cxnLst/>
              <a:rect l="l" t="t" r="r" b="b"/>
              <a:pathLst>
                <a:path w="134619" h="147320">
                  <a:moveTo>
                    <a:pt x="134508" y="0"/>
                  </a:moveTo>
                  <a:lnTo>
                    <a:pt x="113766" y="12051"/>
                  </a:lnTo>
                  <a:lnTo>
                    <a:pt x="113996" y="57862"/>
                  </a:lnTo>
                  <a:lnTo>
                    <a:pt x="0" y="123189"/>
                  </a:lnTo>
                  <a:lnTo>
                    <a:pt x="0" y="147293"/>
                  </a:lnTo>
                  <a:lnTo>
                    <a:pt x="134508" y="70406"/>
                  </a:lnTo>
                  <a:lnTo>
                    <a:pt x="134508" y="0"/>
                  </a:lnTo>
                  <a:close/>
                </a:path>
              </a:pathLst>
            </a:custGeom>
            <a:solidFill>
              <a:srgbClr val="91949E"/>
            </a:solidFill>
          </p:spPr>
          <p:txBody>
            <a:bodyPr wrap="square" lIns="0" tIns="0" rIns="0" bIns="0" rtlCol="0"/>
            <a:lstStyle/>
            <a:p>
              <a:endParaRPr sz="1092" dirty="0"/>
            </a:p>
          </p:txBody>
        </p:sp>
        <p:sp>
          <p:nvSpPr>
            <p:cNvPr id="1033" name="object 1033"/>
            <p:cNvSpPr/>
            <p:nvPr/>
          </p:nvSpPr>
          <p:spPr>
            <a:xfrm>
              <a:off x="9220834" y="4300798"/>
              <a:ext cx="81634" cy="89335"/>
            </a:xfrm>
            <a:custGeom>
              <a:avLst/>
              <a:gdLst/>
              <a:ahLst/>
              <a:cxnLst/>
              <a:rect l="l" t="t" r="r" b="b"/>
              <a:pathLst>
                <a:path w="134619" h="147320">
                  <a:moveTo>
                    <a:pt x="134508" y="0"/>
                  </a:moveTo>
                  <a:lnTo>
                    <a:pt x="113766" y="11821"/>
                  </a:lnTo>
                  <a:lnTo>
                    <a:pt x="113996" y="57872"/>
                  </a:lnTo>
                  <a:lnTo>
                    <a:pt x="0" y="122959"/>
                  </a:lnTo>
                  <a:lnTo>
                    <a:pt x="0" y="147293"/>
                  </a:lnTo>
                  <a:lnTo>
                    <a:pt x="134508" y="70385"/>
                  </a:lnTo>
                  <a:lnTo>
                    <a:pt x="134508" y="0"/>
                  </a:lnTo>
                  <a:close/>
                </a:path>
              </a:pathLst>
            </a:custGeom>
            <a:solidFill>
              <a:srgbClr val="91949E"/>
            </a:solidFill>
          </p:spPr>
          <p:txBody>
            <a:bodyPr wrap="square" lIns="0" tIns="0" rIns="0" bIns="0" rtlCol="0"/>
            <a:lstStyle/>
            <a:p>
              <a:endParaRPr sz="1092" dirty="0"/>
            </a:p>
          </p:txBody>
        </p:sp>
        <p:sp>
          <p:nvSpPr>
            <p:cNvPr id="1034" name="object 1034"/>
            <p:cNvSpPr/>
            <p:nvPr/>
          </p:nvSpPr>
          <p:spPr>
            <a:xfrm>
              <a:off x="9220831" y="4383536"/>
              <a:ext cx="81567" cy="343656"/>
            </a:xfrm>
            <a:prstGeom prst="rect">
              <a:avLst/>
            </a:prstGeom>
            <a:blipFill>
              <a:blip r:embed="rId32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35" name="object 1035"/>
            <p:cNvSpPr/>
            <p:nvPr/>
          </p:nvSpPr>
          <p:spPr>
            <a:xfrm>
              <a:off x="9220832" y="4383540"/>
              <a:ext cx="81634" cy="89720"/>
            </a:xfrm>
            <a:custGeom>
              <a:avLst/>
              <a:gdLst/>
              <a:ahLst/>
              <a:cxnLst/>
              <a:rect l="l" t="t" r="r" b="b"/>
              <a:pathLst>
                <a:path w="134619" h="147954">
                  <a:moveTo>
                    <a:pt x="134508" y="0"/>
                  </a:moveTo>
                  <a:lnTo>
                    <a:pt x="113766" y="11811"/>
                  </a:lnTo>
                  <a:lnTo>
                    <a:pt x="114006" y="57862"/>
                  </a:lnTo>
                  <a:lnTo>
                    <a:pt x="0" y="122949"/>
                  </a:lnTo>
                  <a:lnTo>
                    <a:pt x="0" y="147524"/>
                  </a:lnTo>
                  <a:lnTo>
                    <a:pt x="134508" y="70385"/>
                  </a:lnTo>
                  <a:lnTo>
                    <a:pt x="134508" y="0"/>
                  </a:lnTo>
                  <a:close/>
                </a:path>
              </a:pathLst>
            </a:custGeom>
            <a:solidFill>
              <a:srgbClr val="91949E"/>
            </a:solidFill>
          </p:spPr>
          <p:txBody>
            <a:bodyPr wrap="square" lIns="0" tIns="0" rIns="0" bIns="0" rtlCol="0"/>
            <a:lstStyle/>
            <a:p>
              <a:endParaRPr sz="1092" dirty="0"/>
            </a:p>
          </p:txBody>
        </p:sp>
        <p:sp>
          <p:nvSpPr>
            <p:cNvPr id="1036" name="object 1036"/>
            <p:cNvSpPr/>
            <p:nvPr/>
          </p:nvSpPr>
          <p:spPr>
            <a:xfrm>
              <a:off x="9220834" y="4472995"/>
              <a:ext cx="81634" cy="89335"/>
            </a:xfrm>
            <a:custGeom>
              <a:avLst/>
              <a:gdLst/>
              <a:ahLst/>
              <a:cxnLst/>
              <a:rect l="l" t="t" r="r" b="b"/>
              <a:pathLst>
                <a:path w="134619" h="147320">
                  <a:moveTo>
                    <a:pt x="134508" y="0"/>
                  </a:moveTo>
                  <a:lnTo>
                    <a:pt x="113766" y="11821"/>
                  </a:lnTo>
                  <a:lnTo>
                    <a:pt x="113996" y="57862"/>
                  </a:lnTo>
                  <a:lnTo>
                    <a:pt x="0" y="123189"/>
                  </a:lnTo>
                  <a:lnTo>
                    <a:pt x="0" y="147293"/>
                  </a:lnTo>
                  <a:lnTo>
                    <a:pt x="134508" y="70385"/>
                  </a:lnTo>
                  <a:lnTo>
                    <a:pt x="134508" y="0"/>
                  </a:lnTo>
                  <a:close/>
                </a:path>
              </a:pathLst>
            </a:custGeom>
            <a:solidFill>
              <a:srgbClr val="91949E"/>
            </a:solidFill>
          </p:spPr>
          <p:txBody>
            <a:bodyPr wrap="square" lIns="0" tIns="0" rIns="0" bIns="0" rtlCol="0"/>
            <a:lstStyle/>
            <a:p>
              <a:endParaRPr sz="1092" dirty="0"/>
            </a:p>
          </p:txBody>
        </p:sp>
        <p:sp>
          <p:nvSpPr>
            <p:cNvPr id="1037" name="object 1037"/>
            <p:cNvSpPr/>
            <p:nvPr/>
          </p:nvSpPr>
          <p:spPr>
            <a:xfrm>
              <a:off x="9220834" y="4552806"/>
              <a:ext cx="81634" cy="89335"/>
            </a:xfrm>
            <a:custGeom>
              <a:avLst/>
              <a:gdLst/>
              <a:ahLst/>
              <a:cxnLst/>
              <a:rect l="l" t="t" r="r" b="b"/>
              <a:pathLst>
                <a:path w="134619" h="147320">
                  <a:moveTo>
                    <a:pt x="134508" y="0"/>
                  </a:moveTo>
                  <a:lnTo>
                    <a:pt x="113766" y="11821"/>
                  </a:lnTo>
                  <a:lnTo>
                    <a:pt x="113996" y="57631"/>
                  </a:lnTo>
                  <a:lnTo>
                    <a:pt x="0" y="122949"/>
                  </a:lnTo>
                  <a:lnTo>
                    <a:pt x="0" y="147293"/>
                  </a:lnTo>
                  <a:lnTo>
                    <a:pt x="134508" y="70154"/>
                  </a:lnTo>
                  <a:lnTo>
                    <a:pt x="134508" y="0"/>
                  </a:lnTo>
                  <a:close/>
                </a:path>
              </a:pathLst>
            </a:custGeom>
            <a:solidFill>
              <a:srgbClr val="91949E"/>
            </a:solidFill>
          </p:spPr>
          <p:txBody>
            <a:bodyPr wrap="square" lIns="0" tIns="0" rIns="0" bIns="0" rtlCol="0"/>
            <a:lstStyle/>
            <a:p>
              <a:endParaRPr sz="1092" dirty="0"/>
            </a:p>
          </p:txBody>
        </p:sp>
        <p:sp>
          <p:nvSpPr>
            <p:cNvPr id="1038" name="object 1038"/>
            <p:cNvSpPr/>
            <p:nvPr/>
          </p:nvSpPr>
          <p:spPr>
            <a:xfrm>
              <a:off x="9220834" y="4637886"/>
              <a:ext cx="81634" cy="89335"/>
            </a:xfrm>
            <a:custGeom>
              <a:avLst/>
              <a:gdLst/>
              <a:ahLst/>
              <a:cxnLst/>
              <a:rect l="l" t="t" r="r" b="b"/>
              <a:pathLst>
                <a:path w="134619" h="147320">
                  <a:moveTo>
                    <a:pt x="134508" y="0"/>
                  </a:moveTo>
                  <a:lnTo>
                    <a:pt x="113766" y="11559"/>
                  </a:lnTo>
                  <a:lnTo>
                    <a:pt x="113996" y="57841"/>
                  </a:lnTo>
                  <a:lnTo>
                    <a:pt x="0" y="122928"/>
                  </a:lnTo>
                  <a:lnTo>
                    <a:pt x="0" y="147273"/>
                  </a:lnTo>
                  <a:lnTo>
                    <a:pt x="134508" y="70154"/>
                  </a:lnTo>
                  <a:lnTo>
                    <a:pt x="134508" y="0"/>
                  </a:lnTo>
                  <a:close/>
                </a:path>
              </a:pathLst>
            </a:custGeom>
            <a:solidFill>
              <a:srgbClr val="91949E"/>
            </a:solidFill>
          </p:spPr>
          <p:txBody>
            <a:bodyPr wrap="square" lIns="0" tIns="0" rIns="0" bIns="0" rtlCol="0"/>
            <a:lstStyle/>
            <a:p>
              <a:endParaRPr sz="1092" dirty="0"/>
            </a:p>
          </p:txBody>
        </p:sp>
        <p:sp>
          <p:nvSpPr>
            <p:cNvPr id="1039" name="object 1039"/>
            <p:cNvSpPr/>
            <p:nvPr/>
          </p:nvSpPr>
          <p:spPr>
            <a:xfrm>
              <a:off x="9090894" y="4128620"/>
              <a:ext cx="81548" cy="343504"/>
            </a:xfrm>
            <a:prstGeom prst="rect">
              <a:avLst/>
            </a:prstGeom>
            <a:blipFill>
              <a:blip r:embed="rId32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40" name="object 1040"/>
            <p:cNvSpPr/>
            <p:nvPr/>
          </p:nvSpPr>
          <p:spPr>
            <a:xfrm>
              <a:off x="9090889" y="4128621"/>
              <a:ext cx="81634" cy="89335"/>
            </a:xfrm>
            <a:custGeom>
              <a:avLst/>
              <a:gdLst/>
              <a:ahLst/>
              <a:cxnLst/>
              <a:rect l="l" t="t" r="r" b="b"/>
              <a:pathLst>
                <a:path w="134619" h="147320">
                  <a:moveTo>
                    <a:pt x="134488" y="0"/>
                  </a:moveTo>
                  <a:lnTo>
                    <a:pt x="113766" y="11790"/>
                  </a:lnTo>
                  <a:lnTo>
                    <a:pt x="113766" y="57600"/>
                  </a:lnTo>
                  <a:lnTo>
                    <a:pt x="0" y="123158"/>
                  </a:lnTo>
                  <a:lnTo>
                    <a:pt x="0" y="147262"/>
                  </a:lnTo>
                  <a:lnTo>
                    <a:pt x="134488" y="70385"/>
                  </a:lnTo>
                  <a:lnTo>
                    <a:pt x="134488" y="0"/>
                  </a:lnTo>
                  <a:close/>
                </a:path>
              </a:pathLst>
            </a:custGeom>
            <a:solidFill>
              <a:srgbClr val="91949E"/>
            </a:solidFill>
          </p:spPr>
          <p:txBody>
            <a:bodyPr wrap="square" lIns="0" tIns="0" rIns="0" bIns="0" rtlCol="0"/>
            <a:lstStyle/>
            <a:p>
              <a:endParaRPr sz="1092" dirty="0"/>
            </a:p>
          </p:txBody>
        </p:sp>
        <p:sp>
          <p:nvSpPr>
            <p:cNvPr id="1041" name="object 1041"/>
            <p:cNvSpPr/>
            <p:nvPr/>
          </p:nvSpPr>
          <p:spPr>
            <a:xfrm>
              <a:off x="9090891" y="4218221"/>
              <a:ext cx="81634" cy="89335"/>
            </a:xfrm>
            <a:custGeom>
              <a:avLst/>
              <a:gdLst/>
              <a:ahLst/>
              <a:cxnLst/>
              <a:rect l="l" t="t" r="r" b="b"/>
              <a:pathLst>
                <a:path w="134619" h="147320">
                  <a:moveTo>
                    <a:pt x="134477" y="0"/>
                  </a:moveTo>
                  <a:lnTo>
                    <a:pt x="113766" y="11559"/>
                  </a:lnTo>
                  <a:lnTo>
                    <a:pt x="113766" y="57600"/>
                  </a:lnTo>
                  <a:lnTo>
                    <a:pt x="0" y="122928"/>
                  </a:lnTo>
                  <a:lnTo>
                    <a:pt x="0" y="147032"/>
                  </a:lnTo>
                  <a:lnTo>
                    <a:pt x="134477" y="70154"/>
                  </a:lnTo>
                  <a:lnTo>
                    <a:pt x="134477" y="0"/>
                  </a:lnTo>
                  <a:close/>
                </a:path>
              </a:pathLst>
            </a:custGeom>
            <a:solidFill>
              <a:srgbClr val="91949E"/>
            </a:solidFill>
          </p:spPr>
          <p:txBody>
            <a:bodyPr wrap="square" lIns="0" tIns="0" rIns="0" bIns="0" rtlCol="0"/>
            <a:lstStyle/>
            <a:p>
              <a:endParaRPr sz="1092" dirty="0"/>
            </a:p>
          </p:txBody>
        </p:sp>
        <p:sp>
          <p:nvSpPr>
            <p:cNvPr id="1042" name="object 1042"/>
            <p:cNvSpPr/>
            <p:nvPr/>
          </p:nvSpPr>
          <p:spPr>
            <a:xfrm>
              <a:off x="9090891" y="4297737"/>
              <a:ext cx="81634" cy="89720"/>
            </a:xfrm>
            <a:custGeom>
              <a:avLst/>
              <a:gdLst/>
              <a:ahLst/>
              <a:cxnLst/>
              <a:rect l="l" t="t" r="r" b="b"/>
              <a:pathLst>
                <a:path w="134619" h="147954">
                  <a:moveTo>
                    <a:pt x="134477" y="0"/>
                  </a:moveTo>
                  <a:lnTo>
                    <a:pt x="113766" y="11811"/>
                  </a:lnTo>
                  <a:lnTo>
                    <a:pt x="113766" y="57851"/>
                  </a:lnTo>
                  <a:lnTo>
                    <a:pt x="0" y="122938"/>
                  </a:lnTo>
                  <a:lnTo>
                    <a:pt x="0" y="147524"/>
                  </a:lnTo>
                  <a:lnTo>
                    <a:pt x="134477" y="70374"/>
                  </a:lnTo>
                  <a:lnTo>
                    <a:pt x="134477" y="0"/>
                  </a:lnTo>
                  <a:close/>
                </a:path>
              </a:pathLst>
            </a:custGeom>
            <a:solidFill>
              <a:srgbClr val="91949E"/>
            </a:solidFill>
          </p:spPr>
          <p:txBody>
            <a:bodyPr wrap="square" lIns="0" tIns="0" rIns="0" bIns="0" rtlCol="0"/>
            <a:lstStyle/>
            <a:p>
              <a:endParaRPr sz="1092" dirty="0"/>
            </a:p>
          </p:txBody>
        </p:sp>
        <p:sp>
          <p:nvSpPr>
            <p:cNvPr id="1043" name="object 1043"/>
            <p:cNvSpPr/>
            <p:nvPr/>
          </p:nvSpPr>
          <p:spPr>
            <a:xfrm>
              <a:off x="9090891" y="4382950"/>
              <a:ext cx="81634" cy="89335"/>
            </a:xfrm>
            <a:custGeom>
              <a:avLst/>
              <a:gdLst/>
              <a:ahLst/>
              <a:cxnLst/>
              <a:rect l="l" t="t" r="r" b="b"/>
              <a:pathLst>
                <a:path w="134619" h="147320">
                  <a:moveTo>
                    <a:pt x="134477" y="0"/>
                  </a:moveTo>
                  <a:lnTo>
                    <a:pt x="113766" y="11821"/>
                  </a:lnTo>
                  <a:lnTo>
                    <a:pt x="113766" y="57631"/>
                  </a:lnTo>
                  <a:lnTo>
                    <a:pt x="0" y="122697"/>
                  </a:lnTo>
                  <a:lnTo>
                    <a:pt x="0" y="147063"/>
                  </a:lnTo>
                  <a:lnTo>
                    <a:pt x="134477" y="70385"/>
                  </a:lnTo>
                  <a:lnTo>
                    <a:pt x="134477" y="0"/>
                  </a:lnTo>
                  <a:close/>
                </a:path>
              </a:pathLst>
            </a:custGeom>
            <a:solidFill>
              <a:srgbClr val="91949E"/>
            </a:solidFill>
          </p:spPr>
          <p:txBody>
            <a:bodyPr wrap="square" lIns="0" tIns="0" rIns="0" bIns="0" rtlCol="0"/>
            <a:lstStyle/>
            <a:p>
              <a:endParaRPr sz="1092" dirty="0"/>
            </a:p>
          </p:txBody>
        </p:sp>
        <p:sp>
          <p:nvSpPr>
            <p:cNvPr id="1044" name="object 1044"/>
            <p:cNvSpPr/>
            <p:nvPr/>
          </p:nvSpPr>
          <p:spPr>
            <a:xfrm>
              <a:off x="9090893" y="4463508"/>
              <a:ext cx="81549" cy="343504"/>
            </a:xfrm>
            <a:prstGeom prst="rect">
              <a:avLst/>
            </a:prstGeom>
            <a:blipFill>
              <a:blip r:embed="rId32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45" name="object 1045"/>
            <p:cNvSpPr/>
            <p:nvPr/>
          </p:nvSpPr>
          <p:spPr>
            <a:xfrm>
              <a:off x="9090889" y="4463508"/>
              <a:ext cx="81634" cy="89335"/>
            </a:xfrm>
            <a:custGeom>
              <a:avLst/>
              <a:gdLst/>
              <a:ahLst/>
              <a:cxnLst/>
              <a:rect l="l" t="t" r="r" b="b"/>
              <a:pathLst>
                <a:path w="134619" h="147320">
                  <a:moveTo>
                    <a:pt x="134488" y="0"/>
                  </a:moveTo>
                  <a:lnTo>
                    <a:pt x="113766" y="11559"/>
                  </a:lnTo>
                  <a:lnTo>
                    <a:pt x="113766" y="57600"/>
                  </a:lnTo>
                  <a:lnTo>
                    <a:pt x="0" y="122687"/>
                  </a:lnTo>
                  <a:lnTo>
                    <a:pt x="0" y="147262"/>
                  </a:lnTo>
                  <a:lnTo>
                    <a:pt x="134488" y="70385"/>
                  </a:lnTo>
                  <a:lnTo>
                    <a:pt x="134488" y="0"/>
                  </a:lnTo>
                  <a:close/>
                </a:path>
              </a:pathLst>
            </a:custGeom>
            <a:solidFill>
              <a:srgbClr val="91949E"/>
            </a:solidFill>
          </p:spPr>
          <p:txBody>
            <a:bodyPr wrap="square" lIns="0" tIns="0" rIns="0" bIns="0" rtlCol="0"/>
            <a:lstStyle/>
            <a:p>
              <a:endParaRPr sz="1092" dirty="0"/>
            </a:p>
          </p:txBody>
        </p:sp>
        <p:sp>
          <p:nvSpPr>
            <p:cNvPr id="1046" name="object 1046"/>
            <p:cNvSpPr/>
            <p:nvPr/>
          </p:nvSpPr>
          <p:spPr>
            <a:xfrm>
              <a:off x="9090891" y="4552948"/>
              <a:ext cx="81634" cy="89335"/>
            </a:xfrm>
            <a:custGeom>
              <a:avLst/>
              <a:gdLst/>
              <a:ahLst/>
              <a:cxnLst/>
              <a:rect l="l" t="t" r="r" b="b"/>
              <a:pathLst>
                <a:path w="134619" h="147320">
                  <a:moveTo>
                    <a:pt x="134477" y="0"/>
                  </a:moveTo>
                  <a:lnTo>
                    <a:pt x="113766" y="11821"/>
                  </a:lnTo>
                  <a:lnTo>
                    <a:pt x="113766" y="57872"/>
                  </a:lnTo>
                  <a:lnTo>
                    <a:pt x="0" y="122959"/>
                  </a:lnTo>
                  <a:lnTo>
                    <a:pt x="0" y="147293"/>
                  </a:lnTo>
                  <a:lnTo>
                    <a:pt x="134477" y="70154"/>
                  </a:lnTo>
                  <a:lnTo>
                    <a:pt x="134477" y="0"/>
                  </a:lnTo>
                  <a:close/>
                </a:path>
              </a:pathLst>
            </a:custGeom>
            <a:solidFill>
              <a:srgbClr val="91949E"/>
            </a:solidFill>
          </p:spPr>
          <p:txBody>
            <a:bodyPr wrap="square" lIns="0" tIns="0" rIns="0" bIns="0" rtlCol="0"/>
            <a:lstStyle/>
            <a:p>
              <a:endParaRPr sz="1092" dirty="0"/>
            </a:p>
          </p:txBody>
        </p:sp>
        <p:sp>
          <p:nvSpPr>
            <p:cNvPr id="1047" name="object 1047"/>
            <p:cNvSpPr/>
            <p:nvPr/>
          </p:nvSpPr>
          <p:spPr>
            <a:xfrm>
              <a:off x="9090891" y="4632477"/>
              <a:ext cx="81634" cy="89720"/>
            </a:xfrm>
            <a:custGeom>
              <a:avLst/>
              <a:gdLst/>
              <a:ahLst/>
              <a:cxnLst/>
              <a:rect l="l" t="t" r="r" b="b"/>
              <a:pathLst>
                <a:path w="134619" h="147954">
                  <a:moveTo>
                    <a:pt x="134477" y="0"/>
                  </a:moveTo>
                  <a:lnTo>
                    <a:pt x="113766" y="12051"/>
                  </a:lnTo>
                  <a:lnTo>
                    <a:pt x="113766" y="57862"/>
                  </a:lnTo>
                  <a:lnTo>
                    <a:pt x="0" y="123189"/>
                  </a:lnTo>
                  <a:lnTo>
                    <a:pt x="0" y="147524"/>
                  </a:lnTo>
                  <a:lnTo>
                    <a:pt x="134477" y="70385"/>
                  </a:lnTo>
                  <a:lnTo>
                    <a:pt x="134477" y="0"/>
                  </a:lnTo>
                  <a:close/>
                </a:path>
              </a:pathLst>
            </a:custGeom>
            <a:solidFill>
              <a:srgbClr val="91949E"/>
            </a:solidFill>
          </p:spPr>
          <p:txBody>
            <a:bodyPr wrap="square" lIns="0" tIns="0" rIns="0" bIns="0" rtlCol="0"/>
            <a:lstStyle/>
            <a:p>
              <a:endParaRPr sz="1092" dirty="0"/>
            </a:p>
          </p:txBody>
        </p:sp>
        <p:sp>
          <p:nvSpPr>
            <p:cNvPr id="1048" name="object 1048"/>
            <p:cNvSpPr/>
            <p:nvPr/>
          </p:nvSpPr>
          <p:spPr>
            <a:xfrm>
              <a:off x="9090891" y="4717695"/>
              <a:ext cx="81634" cy="89335"/>
            </a:xfrm>
            <a:custGeom>
              <a:avLst/>
              <a:gdLst/>
              <a:ahLst/>
              <a:cxnLst/>
              <a:rect l="l" t="t" r="r" b="b"/>
              <a:pathLst>
                <a:path w="134619" h="147320">
                  <a:moveTo>
                    <a:pt x="134477" y="0"/>
                  </a:moveTo>
                  <a:lnTo>
                    <a:pt x="113766" y="11821"/>
                  </a:lnTo>
                  <a:lnTo>
                    <a:pt x="113766" y="57841"/>
                  </a:lnTo>
                  <a:lnTo>
                    <a:pt x="0" y="122928"/>
                  </a:lnTo>
                  <a:lnTo>
                    <a:pt x="0" y="147293"/>
                  </a:lnTo>
                  <a:lnTo>
                    <a:pt x="134477" y="70385"/>
                  </a:lnTo>
                  <a:lnTo>
                    <a:pt x="134477" y="0"/>
                  </a:lnTo>
                  <a:close/>
                </a:path>
              </a:pathLst>
            </a:custGeom>
            <a:solidFill>
              <a:srgbClr val="91949E"/>
            </a:solidFill>
          </p:spPr>
          <p:txBody>
            <a:bodyPr wrap="square" lIns="0" tIns="0" rIns="0" bIns="0" rtlCol="0"/>
            <a:lstStyle/>
            <a:p>
              <a:endParaRPr sz="1092" dirty="0"/>
            </a:p>
          </p:txBody>
        </p:sp>
        <p:sp>
          <p:nvSpPr>
            <p:cNvPr id="1049" name="object 1049"/>
            <p:cNvSpPr/>
            <p:nvPr/>
          </p:nvSpPr>
          <p:spPr>
            <a:xfrm>
              <a:off x="8848671" y="4197309"/>
              <a:ext cx="204055" cy="248496"/>
            </a:xfrm>
            <a:prstGeom prst="rect">
              <a:avLst/>
            </a:prstGeom>
            <a:blipFill>
              <a:blip r:embed="rId32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50" name="object 1050"/>
            <p:cNvSpPr/>
            <p:nvPr/>
          </p:nvSpPr>
          <p:spPr>
            <a:xfrm>
              <a:off x="8848673" y="4203605"/>
              <a:ext cx="193302" cy="224493"/>
            </a:xfrm>
            <a:custGeom>
              <a:avLst/>
              <a:gdLst/>
              <a:ahLst/>
              <a:cxnLst/>
              <a:rect l="l" t="t" r="r" b="b"/>
              <a:pathLst>
                <a:path w="318769" h="370204">
                  <a:moveTo>
                    <a:pt x="318430" y="0"/>
                  </a:moveTo>
                  <a:lnTo>
                    <a:pt x="295519" y="13256"/>
                  </a:lnTo>
                  <a:lnTo>
                    <a:pt x="295519" y="173565"/>
                  </a:lnTo>
                  <a:lnTo>
                    <a:pt x="0" y="342764"/>
                  </a:lnTo>
                  <a:lnTo>
                    <a:pt x="0" y="369999"/>
                  </a:lnTo>
                  <a:lnTo>
                    <a:pt x="318670" y="187544"/>
                  </a:lnTo>
                  <a:lnTo>
                    <a:pt x="318430" y="0"/>
                  </a:lnTo>
                  <a:close/>
                </a:path>
              </a:pathLst>
            </a:custGeom>
            <a:solidFill>
              <a:srgbClr val="91949E"/>
            </a:solidFill>
          </p:spPr>
          <p:txBody>
            <a:bodyPr wrap="square" lIns="0" tIns="0" rIns="0" bIns="0" rtlCol="0"/>
            <a:lstStyle/>
            <a:p>
              <a:endParaRPr sz="1092" dirty="0"/>
            </a:p>
          </p:txBody>
        </p:sp>
        <p:sp>
          <p:nvSpPr>
            <p:cNvPr id="1051" name="object 1051"/>
            <p:cNvSpPr/>
            <p:nvPr/>
          </p:nvSpPr>
          <p:spPr>
            <a:xfrm>
              <a:off x="8848676" y="4197308"/>
              <a:ext cx="204084" cy="248751"/>
            </a:xfrm>
            <a:custGeom>
              <a:avLst/>
              <a:gdLst/>
              <a:ahLst/>
              <a:cxnLst/>
              <a:rect l="l" t="t" r="r" b="b"/>
              <a:pathLst>
                <a:path w="336550" h="410209">
                  <a:moveTo>
                    <a:pt x="336502" y="0"/>
                  </a:moveTo>
                  <a:lnTo>
                    <a:pt x="318419" y="10387"/>
                  </a:lnTo>
                  <a:lnTo>
                    <a:pt x="318660" y="197931"/>
                  </a:lnTo>
                  <a:lnTo>
                    <a:pt x="0" y="380386"/>
                  </a:lnTo>
                  <a:lnTo>
                    <a:pt x="0" y="409788"/>
                  </a:lnTo>
                  <a:lnTo>
                    <a:pt x="336502" y="216946"/>
                  </a:lnTo>
                  <a:lnTo>
                    <a:pt x="336502" y="0"/>
                  </a:lnTo>
                  <a:close/>
                </a:path>
              </a:pathLst>
            </a:custGeom>
            <a:solidFill>
              <a:srgbClr val="CAC4C4"/>
            </a:solidFill>
          </p:spPr>
          <p:txBody>
            <a:bodyPr wrap="square" lIns="0" tIns="0" rIns="0" bIns="0" rtlCol="0"/>
            <a:lstStyle/>
            <a:p>
              <a:endParaRPr sz="1092" dirty="0"/>
            </a:p>
          </p:txBody>
        </p:sp>
        <p:sp>
          <p:nvSpPr>
            <p:cNvPr id="1052" name="object 1052"/>
            <p:cNvSpPr/>
            <p:nvPr/>
          </p:nvSpPr>
          <p:spPr>
            <a:xfrm>
              <a:off x="8848531" y="4361026"/>
              <a:ext cx="204195" cy="247772"/>
            </a:xfrm>
            <a:prstGeom prst="rect">
              <a:avLst/>
            </a:prstGeom>
            <a:blipFill>
              <a:blip r:embed="rId32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53" name="object 1053"/>
            <p:cNvSpPr/>
            <p:nvPr/>
          </p:nvSpPr>
          <p:spPr>
            <a:xfrm>
              <a:off x="8848533" y="4367165"/>
              <a:ext cx="193687" cy="224108"/>
            </a:xfrm>
            <a:custGeom>
              <a:avLst/>
              <a:gdLst/>
              <a:ahLst/>
              <a:cxnLst/>
              <a:rect l="l" t="t" r="r" b="b"/>
              <a:pathLst>
                <a:path w="319405" h="369570">
                  <a:moveTo>
                    <a:pt x="318660" y="0"/>
                  </a:moveTo>
                  <a:lnTo>
                    <a:pt x="295750" y="13277"/>
                  </a:lnTo>
                  <a:lnTo>
                    <a:pt x="295750" y="173094"/>
                  </a:lnTo>
                  <a:lnTo>
                    <a:pt x="0" y="341822"/>
                  </a:lnTo>
                  <a:lnTo>
                    <a:pt x="0" y="369067"/>
                  </a:lnTo>
                  <a:lnTo>
                    <a:pt x="295750" y="200559"/>
                  </a:lnTo>
                  <a:lnTo>
                    <a:pt x="318901" y="187072"/>
                  </a:lnTo>
                  <a:lnTo>
                    <a:pt x="318660" y="0"/>
                  </a:lnTo>
                  <a:close/>
                </a:path>
              </a:pathLst>
            </a:custGeom>
            <a:solidFill>
              <a:srgbClr val="91949E"/>
            </a:solidFill>
          </p:spPr>
          <p:txBody>
            <a:bodyPr wrap="square" lIns="0" tIns="0" rIns="0" bIns="0" rtlCol="0"/>
            <a:lstStyle/>
            <a:p>
              <a:endParaRPr sz="1092" dirty="0"/>
            </a:p>
          </p:txBody>
        </p:sp>
        <p:sp>
          <p:nvSpPr>
            <p:cNvPr id="1054" name="object 1054"/>
            <p:cNvSpPr/>
            <p:nvPr/>
          </p:nvSpPr>
          <p:spPr>
            <a:xfrm>
              <a:off x="8385921" y="4182310"/>
              <a:ext cx="204469" cy="247981"/>
            </a:xfrm>
            <a:custGeom>
              <a:avLst/>
              <a:gdLst/>
              <a:ahLst/>
              <a:cxnLst/>
              <a:rect l="l" t="t" r="r" b="b"/>
              <a:pathLst>
                <a:path w="337184" h="408940">
                  <a:moveTo>
                    <a:pt x="336743" y="0"/>
                  </a:moveTo>
                  <a:lnTo>
                    <a:pt x="318660" y="10125"/>
                  </a:lnTo>
                  <a:lnTo>
                    <a:pt x="318901" y="197198"/>
                  </a:lnTo>
                  <a:lnTo>
                    <a:pt x="295760" y="210684"/>
                  </a:lnTo>
                  <a:lnTo>
                    <a:pt x="0" y="379182"/>
                  </a:lnTo>
                  <a:lnTo>
                    <a:pt x="0" y="408584"/>
                  </a:lnTo>
                  <a:lnTo>
                    <a:pt x="318660" y="226830"/>
                  </a:lnTo>
                  <a:lnTo>
                    <a:pt x="336743" y="216244"/>
                  </a:lnTo>
                  <a:lnTo>
                    <a:pt x="336743" y="0"/>
                  </a:lnTo>
                  <a:close/>
                </a:path>
              </a:pathLst>
            </a:custGeom>
            <a:solidFill>
              <a:srgbClr val="CAC4C4"/>
            </a:solidFill>
          </p:spPr>
          <p:txBody>
            <a:bodyPr wrap="square" lIns="0" tIns="0" rIns="0" bIns="0" rtlCol="0"/>
            <a:lstStyle/>
            <a:p>
              <a:endParaRPr sz="1092" dirty="0"/>
            </a:p>
          </p:txBody>
        </p:sp>
        <p:sp>
          <p:nvSpPr>
            <p:cNvPr id="1055" name="object 1055"/>
            <p:cNvSpPr/>
            <p:nvPr/>
          </p:nvSpPr>
          <p:spPr>
            <a:xfrm>
              <a:off x="8597395" y="4171886"/>
              <a:ext cx="251135" cy="273920"/>
            </a:xfrm>
            <a:prstGeom prst="rect">
              <a:avLst/>
            </a:prstGeom>
            <a:blipFill>
              <a:blip r:embed="rId32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56" name="object 1056"/>
            <p:cNvSpPr/>
            <p:nvPr/>
          </p:nvSpPr>
          <p:spPr>
            <a:xfrm>
              <a:off x="8608357" y="4178020"/>
              <a:ext cx="240280" cy="250292"/>
            </a:xfrm>
            <a:custGeom>
              <a:avLst/>
              <a:gdLst/>
              <a:ahLst/>
              <a:cxnLst/>
              <a:rect l="l" t="t" r="r" b="b"/>
              <a:pathLst>
                <a:path w="396240" h="412750">
                  <a:moveTo>
                    <a:pt x="0" y="0"/>
                  </a:moveTo>
                  <a:lnTo>
                    <a:pt x="0" y="187292"/>
                  </a:lnTo>
                  <a:lnTo>
                    <a:pt x="396061" y="412196"/>
                  </a:lnTo>
                  <a:lnTo>
                    <a:pt x="396061" y="384962"/>
                  </a:lnTo>
                  <a:lnTo>
                    <a:pt x="23140" y="173073"/>
                  </a:lnTo>
                  <a:lnTo>
                    <a:pt x="23140" y="13256"/>
                  </a:lnTo>
                  <a:lnTo>
                    <a:pt x="0" y="0"/>
                  </a:lnTo>
                  <a:close/>
                </a:path>
              </a:pathLst>
            </a:custGeom>
            <a:solidFill>
              <a:srgbClr val="B9BCC6"/>
            </a:solidFill>
          </p:spPr>
          <p:txBody>
            <a:bodyPr wrap="square" lIns="0" tIns="0" rIns="0" bIns="0" rtlCol="0"/>
            <a:lstStyle/>
            <a:p>
              <a:endParaRPr sz="1092" dirty="0"/>
            </a:p>
          </p:txBody>
        </p:sp>
        <p:sp>
          <p:nvSpPr>
            <p:cNvPr id="1057" name="object 1057"/>
            <p:cNvSpPr/>
            <p:nvPr/>
          </p:nvSpPr>
          <p:spPr>
            <a:xfrm>
              <a:off x="8597392" y="4171888"/>
              <a:ext cx="251447" cy="274166"/>
            </a:xfrm>
            <a:custGeom>
              <a:avLst/>
              <a:gdLst/>
              <a:ahLst/>
              <a:cxnLst/>
              <a:rect l="l" t="t" r="r" b="b"/>
              <a:pathLst>
                <a:path w="414655" h="452120">
                  <a:moveTo>
                    <a:pt x="261" y="0"/>
                  </a:moveTo>
                  <a:lnTo>
                    <a:pt x="0" y="216443"/>
                  </a:lnTo>
                  <a:lnTo>
                    <a:pt x="414144" y="451703"/>
                  </a:lnTo>
                  <a:lnTo>
                    <a:pt x="414144" y="422311"/>
                  </a:lnTo>
                  <a:lnTo>
                    <a:pt x="18083" y="197407"/>
                  </a:lnTo>
                  <a:lnTo>
                    <a:pt x="18083" y="10114"/>
                  </a:lnTo>
                  <a:lnTo>
                    <a:pt x="261" y="0"/>
                  </a:lnTo>
                  <a:close/>
                </a:path>
              </a:pathLst>
            </a:custGeom>
            <a:solidFill>
              <a:srgbClr val="F7F1F1"/>
            </a:solidFill>
          </p:spPr>
          <p:txBody>
            <a:bodyPr wrap="square" lIns="0" tIns="0" rIns="0" bIns="0" rtlCol="0"/>
            <a:lstStyle/>
            <a:p>
              <a:endParaRPr sz="1092" dirty="0"/>
            </a:p>
          </p:txBody>
        </p:sp>
        <p:sp>
          <p:nvSpPr>
            <p:cNvPr id="1058" name="object 1058"/>
            <p:cNvSpPr/>
            <p:nvPr/>
          </p:nvSpPr>
          <p:spPr>
            <a:xfrm>
              <a:off x="8597394" y="4335164"/>
              <a:ext cx="250978" cy="273926"/>
            </a:xfrm>
            <a:prstGeom prst="rect">
              <a:avLst/>
            </a:prstGeom>
            <a:blipFill>
              <a:blip r:embed="rId32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59" name="object 1059"/>
            <p:cNvSpPr/>
            <p:nvPr/>
          </p:nvSpPr>
          <p:spPr>
            <a:xfrm>
              <a:off x="8608354" y="4341298"/>
              <a:ext cx="240280" cy="249907"/>
            </a:xfrm>
            <a:custGeom>
              <a:avLst/>
              <a:gdLst/>
              <a:ahLst/>
              <a:cxnLst/>
              <a:rect l="l" t="t" r="r" b="b"/>
              <a:pathLst>
                <a:path w="396240" h="412115">
                  <a:moveTo>
                    <a:pt x="0" y="0"/>
                  </a:moveTo>
                  <a:lnTo>
                    <a:pt x="0" y="187051"/>
                  </a:lnTo>
                  <a:lnTo>
                    <a:pt x="395809" y="411956"/>
                  </a:lnTo>
                  <a:lnTo>
                    <a:pt x="395809" y="384951"/>
                  </a:lnTo>
                  <a:lnTo>
                    <a:pt x="22910" y="172832"/>
                  </a:lnTo>
                  <a:lnTo>
                    <a:pt x="23151" y="13015"/>
                  </a:lnTo>
                  <a:lnTo>
                    <a:pt x="0" y="0"/>
                  </a:lnTo>
                  <a:close/>
                </a:path>
              </a:pathLst>
            </a:custGeom>
            <a:solidFill>
              <a:srgbClr val="B9BCC6"/>
            </a:solidFill>
          </p:spPr>
          <p:txBody>
            <a:bodyPr wrap="square" lIns="0" tIns="0" rIns="0" bIns="0" rtlCol="0"/>
            <a:lstStyle/>
            <a:p>
              <a:endParaRPr sz="1092" dirty="0"/>
            </a:p>
          </p:txBody>
        </p:sp>
        <p:sp>
          <p:nvSpPr>
            <p:cNvPr id="1060" name="object 1060"/>
            <p:cNvSpPr/>
            <p:nvPr/>
          </p:nvSpPr>
          <p:spPr>
            <a:xfrm>
              <a:off x="8597392" y="4335162"/>
              <a:ext cx="251062" cy="274166"/>
            </a:xfrm>
            <a:custGeom>
              <a:avLst/>
              <a:gdLst/>
              <a:ahLst/>
              <a:cxnLst/>
              <a:rect l="l" t="t" r="r" b="b"/>
              <a:pathLst>
                <a:path w="414019" h="452120">
                  <a:moveTo>
                    <a:pt x="0" y="0"/>
                  </a:moveTo>
                  <a:lnTo>
                    <a:pt x="0" y="216213"/>
                  </a:lnTo>
                  <a:lnTo>
                    <a:pt x="413882" y="451734"/>
                  </a:lnTo>
                  <a:lnTo>
                    <a:pt x="413882" y="422070"/>
                  </a:lnTo>
                  <a:lnTo>
                    <a:pt x="18083" y="197166"/>
                  </a:lnTo>
                  <a:lnTo>
                    <a:pt x="18083" y="10114"/>
                  </a:lnTo>
                  <a:lnTo>
                    <a:pt x="0" y="0"/>
                  </a:lnTo>
                  <a:close/>
                </a:path>
              </a:pathLst>
            </a:custGeom>
            <a:solidFill>
              <a:srgbClr val="F7F1F1"/>
            </a:solidFill>
          </p:spPr>
          <p:txBody>
            <a:bodyPr wrap="square" lIns="0" tIns="0" rIns="0" bIns="0" rtlCol="0"/>
            <a:lstStyle/>
            <a:p>
              <a:endParaRPr sz="1092" dirty="0"/>
            </a:p>
          </p:txBody>
        </p:sp>
        <p:sp>
          <p:nvSpPr>
            <p:cNvPr id="1061" name="object 1061"/>
            <p:cNvSpPr/>
            <p:nvPr/>
          </p:nvSpPr>
          <p:spPr>
            <a:xfrm>
              <a:off x="8848670" y="4520953"/>
              <a:ext cx="204056" cy="248490"/>
            </a:xfrm>
            <a:prstGeom prst="rect">
              <a:avLst/>
            </a:prstGeom>
            <a:blipFill>
              <a:blip r:embed="rId32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62" name="object 1062"/>
            <p:cNvSpPr/>
            <p:nvPr/>
          </p:nvSpPr>
          <p:spPr>
            <a:xfrm>
              <a:off x="8848673" y="4527086"/>
              <a:ext cx="193302" cy="224493"/>
            </a:xfrm>
            <a:custGeom>
              <a:avLst/>
              <a:gdLst/>
              <a:ahLst/>
              <a:cxnLst/>
              <a:rect l="l" t="t" r="r" b="b"/>
              <a:pathLst>
                <a:path w="318769" h="370204">
                  <a:moveTo>
                    <a:pt x="318430" y="0"/>
                  </a:moveTo>
                  <a:lnTo>
                    <a:pt x="295519" y="13486"/>
                  </a:lnTo>
                  <a:lnTo>
                    <a:pt x="295519" y="173565"/>
                  </a:lnTo>
                  <a:lnTo>
                    <a:pt x="0" y="342764"/>
                  </a:lnTo>
                  <a:lnTo>
                    <a:pt x="0" y="370009"/>
                  </a:lnTo>
                  <a:lnTo>
                    <a:pt x="318670" y="187774"/>
                  </a:lnTo>
                  <a:lnTo>
                    <a:pt x="318430" y="0"/>
                  </a:lnTo>
                  <a:close/>
                </a:path>
              </a:pathLst>
            </a:custGeom>
            <a:solidFill>
              <a:srgbClr val="91949E"/>
            </a:solidFill>
          </p:spPr>
          <p:txBody>
            <a:bodyPr wrap="square" lIns="0" tIns="0" rIns="0" bIns="0" rtlCol="0"/>
            <a:lstStyle/>
            <a:p>
              <a:endParaRPr sz="1092" dirty="0"/>
            </a:p>
          </p:txBody>
        </p:sp>
        <p:sp>
          <p:nvSpPr>
            <p:cNvPr id="1063" name="object 1063"/>
            <p:cNvSpPr/>
            <p:nvPr/>
          </p:nvSpPr>
          <p:spPr>
            <a:xfrm>
              <a:off x="8848676" y="4520948"/>
              <a:ext cx="204084" cy="248751"/>
            </a:xfrm>
            <a:custGeom>
              <a:avLst/>
              <a:gdLst/>
              <a:ahLst/>
              <a:cxnLst/>
              <a:rect l="l" t="t" r="r" b="b"/>
              <a:pathLst>
                <a:path w="336550" h="410209">
                  <a:moveTo>
                    <a:pt x="336502" y="0"/>
                  </a:moveTo>
                  <a:lnTo>
                    <a:pt x="318419" y="10125"/>
                  </a:lnTo>
                  <a:lnTo>
                    <a:pt x="318660" y="197899"/>
                  </a:lnTo>
                  <a:lnTo>
                    <a:pt x="0" y="380124"/>
                  </a:lnTo>
                  <a:lnTo>
                    <a:pt x="0" y="409788"/>
                  </a:lnTo>
                  <a:lnTo>
                    <a:pt x="336502" y="216946"/>
                  </a:lnTo>
                  <a:lnTo>
                    <a:pt x="336502" y="0"/>
                  </a:lnTo>
                  <a:close/>
                </a:path>
              </a:pathLst>
            </a:custGeom>
            <a:solidFill>
              <a:srgbClr val="CAC4C4"/>
            </a:solidFill>
          </p:spPr>
          <p:txBody>
            <a:bodyPr wrap="square" lIns="0" tIns="0" rIns="0" bIns="0" rtlCol="0"/>
            <a:lstStyle/>
            <a:p>
              <a:endParaRPr sz="1092" dirty="0"/>
            </a:p>
          </p:txBody>
        </p:sp>
        <p:sp>
          <p:nvSpPr>
            <p:cNvPr id="1064" name="object 1064"/>
            <p:cNvSpPr/>
            <p:nvPr/>
          </p:nvSpPr>
          <p:spPr>
            <a:xfrm>
              <a:off x="8848531" y="4684670"/>
              <a:ext cx="204196" cy="247746"/>
            </a:xfrm>
            <a:prstGeom prst="rect">
              <a:avLst/>
            </a:prstGeom>
            <a:blipFill>
              <a:blip r:embed="rId33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65" name="object 1065"/>
            <p:cNvSpPr/>
            <p:nvPr/>
          </p:nvSpPr>
          <p:spPr>
            <a:xfrm>
              <a:off x="8848533" y="4690945"/>
              <a:ext cx="193687" cy="223723"/>
            </a:xfrm>
            <a:custGeom>
              <a:avLst/>
              <a:gdLst/>
              <a:ahLst/>
              <a:cxnLst/>
              <a:rect l="l" t="t" r="r" b="b"/>
              <a:pathLst>
                <a:path w="319405" h="368934">
                  <a:moveTo>
                    <a:pt x="318660" y="0"/>
                  </a:moveTo>
                  <a:lnTo>
                    <a:pt x="295750" y="12784"/>
                  </a:lnTo>
                  <a:lnTo>
                    <a:pt x="295750" y="172832"/>
                  </a:lnTo>
                  <a:lnTo>
                    <a:pt x="0" y="341570"/>
                  </a:lnTo>
                  <a:lnTo>
                    <a:pt x="0" y="368805"/>
                  </a:lnTo>
                  <a:lnTo>
                    <a:pt x="318901" y="186811"/>
                  </a:lnTo>
                  <a:lnTo>
                    <a:pt x="318660" y="0"/>
                  </a:lnTo>
                  <a:close/>
                </a:path>
              </a:pathLst>
            </a:custGeom>
            <a:solidFill>
              <a:srgbClr val="91949E"/>
            </a:solidFill>
          </p:spPr>
          <p:txBody>
            <a:bodyPr wrap="square" lIns="0" tIns="0" rIns="0" bIns="0" rtlCol="0"/>
            <a:lstStyle/>
            <a:p>
              <a:endParaRPr sz="1092" dirty="0"/>
            </a:p>
          </p:txBody>
        </p:sp>
        <p:sp>
          <p:nvSpPr>
            <p:cNvPr id="1066" name="object 1066"/>
            <p:cNvSpPr/>
            <p:nvPr/>
          </p:nvSpPr>
          <p:spPr>
            <a:xfrm>
              <a:off x="8848531" y="4684666"/>
              <a:ext cx="204469" cy="247982"/>
            </a:xfrm>
            <a:custGeom>
              <a:avLst/>
              <a:gdLst/>
              <a:ahLst/>
              <a:cxnLst/>
              <a:rect l="l" t="t" r="r" b="b"/>
              <a:pathLst>
                <a:path w="337184" h="408940">
                  <a:moveTo>
                    <a:pt x="336743" y="0"/>
                  </a:moveTo>
                  <a:lnTo>
                    <a:pt x="318660" y="10355"/>
                  </a:lnTo>
                  <a:lnTo>
                    <a:pt x="318901" y="197177"/>
                  </a:lnTo>
                  <a:lnTo>
                    <a:pt x="0" y="379161"/>
                  </a:lnTo>
                  <a:lnTo>
                    <a:pt x="0" y="408563"/>
                  </a:lnTo>
                  <a:lnTo>
                    <a:pt x="336743" y="216213"/>
                  </a:lnTo>
                  <a:lnTo>
                    <a:pt x="336743" y="0"/>
                  </a:lnTo>
                  <a:close/>
                </a:path>
              </a:pathLst>
            </a:custGeom>
            <a:solidFill>
              <a:srgbClr val="CAC4C4"/>
            </a:solidFill>
          </p:spPr>
          <p:txBody>
            <a:bodyPr wrap="square" lIns="0" tIns="0" rIns="0" bIns="0" rtlCol="0"/>
            <a:lstStyle/>
            <a:p>
              <a:endParaRPr sz="1092" dirty="0"/>
            </a:p>
          </p:txBody>
        </p:sp>
        <p:sp>
          <p:nvSpPr>
            <p:cNvPr id="1067" name="object 1067"/>
            <p:cNvSpPr/>
            <p:nvPr/>
          </p:nvSpPr>
          <p:spPr>
            <a:xfrm>
              <a:off x="8597394" y="4495509"/>
              <a:ext cx="251137" cy="273932"/>
            </a:xfrm>
            <a:prstGeom prst="rect">
              <a:avLst/>
            </a:prstGeom>
            <a:blipFill>
              <a:blip r:embed="rId33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68" name="object 1068"/>
            <p:cNvSpPr/>
            <p:nvPr/>
          </p:nvSpPr>
          <p:spPr>
            <a:xfrm>
              <a:off x="8608357" y="4501644"/>
              <a:ext cx="240280" cy="249907"/>
            </a:xfrm>
            <a:custGeom>
              <a:avLst/>
              <a:gdLst/>
              <a:ahLst/>
              <a:cxnLst/>
              <a:rect l="l" t="t" r="r" b="b"/>
              <a:pathLst>
                <a:path w="396240" h="412115">
                  <a:moveTo>
                    <a:pt x="0" y="0"/>
                  </a:moveTo>
                  <a:lnTo>
                    <a:pt x="0" y="187051"/>
                  </a:lnTo>
                  <a:lnTo>
                    <a:pt x="396061" y="411956"/>
                  </a:lnTo>
                  <a:lnTo>
                    <a:pt x="396061" y="384721"/>
                  </a:lnTo>
                  <a:lnTo>
                    <a:pt x="23140" y="173073"/>
                  </a:lnTo>
                  <a:lnTo>
                    <a:pt x="23140" y="13256"/>
                  </a:lnTo>
                  <a:lnTo>
                    <a:pt x="0" y="0"/>
                  </a:lnTo>
                  <a:close/>
                </a:path>
              </a:pathLst>
            </a:custGeom>
            <a:solidFill>
              <a:srgbClr val="B9BCC6"/>
            </a:solidFill>
          </p:spPr>
          <p:txBody>
            <a:bodyPr wrap="square" lIns="0" tIns="0" rIns="0" bIns="0" rtlCol="0"/>
            <a:lstStyle/>
            <a:p>
              <a:endParaRPr sz="1092" dirty="0"/>
            </a:p>
          </p:txBody>
        </p:sp>
        <p:sp>
          <p:nvSpPr>
            <p:cNvPr id="1069" name="object 1069"/>
            <p:cNvSpPr/>
            <p:nvPr/>
          </p:nvSpPr>
          <p:spPr>
            <a:xfrm>
              <a:off x="8597392" y="4495506"/>
              <a:ext cx="251447" cy="274166"/>
            </a:xfrm>
            <a:custGeom>
              <a:avLst/>
              <a:gdLst/>
              <a:ahLst/>
              <a:cxnLst/>
              <a:rect l="l" t="t" r="r" b="b"/>
              <a:pathLst>
                <a:path w="414655" h="452120">
                  <a:moveTo>
                    <a:pt x="261" y="0"/>
                  </a:moveTo>
                  <a:lnTo>
                    <a:pt x="0" y="216223"/>
                  </a:lnTo>
                  <a:lnTo>
                    <a:pt x="414144" y="451745"/>
                  </a:lnTo>
                  <a:lnTo>
                    <a:pt x="414144" y="422081"/>
                  </a:lnTo>
                  <a:lnTo>
                    <a:pt x="18083" y="197177"/>
                  </a:lnTo>
                  <a:lnTo>
                    <a:pt x="18083" y="10125"/>
                  </a:lnTo>
                  <a:lnTo>
                    <a:pt x="261" y="0"/>
                  </a:lnTo>
                  <a:close/>
                </a:path>
              </a:pathLst>
            </a:custGeom>
            <a:solidFill>
              <a:srgbClr val="F7F1F1"/>
            </a:solidFill>
          </p:spPr>
          <p:txBody>
            <a:bodyPr wrap="square" lIns="0" tIns="0" rIns="0" bIns="0" rtlCol="0"/>
            <a:lstStyle/>
            <a:p>
              <a:endParaRPr sz="1092" dirty="0"/>
            </a:p>
          </p:txBody>
        </p:sp>
        <p:sp>
          <p:nvSpPr>
            <p:cNvPr id="1070" name="object 1070"/>
            <p:cNvSpPr/>
            <p:nvPr/>
          </p:nvSpPr>
          <p:spPr>
            <a:xfrm>
              <a:off x="8597395" y="4658788"/>
              <a:ext cx="250978" cy="273786"/>
            </a:xfrm>
            <a:prstGeom prst="rect">
              <a:avLst/>
            </a:prstGeom>
            <a:blipFill>
              <a:blip r:embed="rId33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71" name="object 1071"/>
            <p:cNvSpPr/>
            <p:nvPr/>
          </p:nvSpPr>
          <p:spPr>
            <a:xfrm>
              <a:off x="8608354" y="4664921"/>
              <a:ext cx="240280" cy="249907"/>
            </a:xfrm>
            <a:custGeom>
              <a:avLst/>
              <a:gdLst/>
              <a:ahLst/>
              <a:cxnLst/>
              <a:rect l="l" t="t" r="r" b="b"/>
              <a:pathLst>
                <a:path w="396240" h="412115">
                  <a:moveTo>
                    <a:pt x="0" y="0"/>
                  </a:moveTo>
                  <a:lnTo>
                    <a:pt x="0" y="187051"/>
                  </a:lnTo>
                  <a:lnTo>
                    <a:pt x="395809" y="411956"/>
                  </a:lnTo>
                  <a:lnTo>
                    <a:pt x="395809" y="384721"/>
                  </a:lnTo>
                  <a:lnTo>
                    <a:pt x="22910" y="173094"/>
                  </a:lnTo>
                  <a:lnTo>
                    <a:pt x="23151" y="13025"/>
                  </a:lnTo>
                  <a:lnTo>
                    <a:pt x="0" y="0"/>
                  </a:lnTo>
                  <a:close/>
                </a:path>
              </a:pathLst>
            </a:custGeom>
            <a:solidFill>
              <a:srgbClr val="B9BCC6"/>
            </a:solidFill>
          </p:spPr>
          <p:txBody>
            <a:bodyPr wrap="square" lIns="0" tIns="0" rIns="0" bIns="0" rtlCol="0"/>
            <a:lstStyle/>
            <a:p>
              <a:endParaRPr sz="1092" dirty="0"/>
            </a:p>
          </p:txBody>
        </p:sp>
        <p:sp>
          <p:nvSpPr>
            <p:cNvPr id="1072" name="object 1072"/>
            <p:cNvSpPr/>
            <p:nvPr/>
          </p:nvSpPr>
          <p:spPr>
            <a:xfrm>
              <a:off x="8597392" y="4658782"/>
              <a:ext cx="251062" cy="274166"/>
            </a:xfrm>
            <a:custGeom>
              <a:avLst/>
              <a:gdLst/>
              <a:ahLst/>
              <a:cxnLst/>
              <a:rect l="l" t="t" r="r" b="b"/>
              <a:pathLst>
                <a:path w="414019" h="452120">
                  <a:moveTo>
                    <a:pt x="0" y="0"/>
                  </a:moveTo>
                  <a:lnTo>
                    <a:pt x="0" y="216485"/>
                  </a:lnTo>
                  <a:lnTo>
                    <a:pt x="413882" y="451504"/>
                  </a:lnTo>
                  <a:lnTo>
                    <a:pt x="413882" y="422081"/>
                  </a:lnTo>
                  <a:lnTo>
                    <a:pt x="18083" y="197177"/>
                  </a:lnTo>
                  <a:lnTo>
                    <a:pt x="18083" y="10125"/>
                  </a:lnTo>
                  <a:lnTo>
                    <a:pt x="0" y="0"/>
                  </a:lnTo>
                  <a:close/>
                </a:path>
              </a:pathLst>
            </a:custGeom>
            <a:solidFill>
              <a:srgbClr val="F7F1F1"/>
            </a:solidFill>
          </p:spPr>
          <p:txBody>
            <a:bodyPr wrap="square" lIns="0" tIns="0" rIns="0" bIns="0" rtlCol="0"/>
            <a:lstStyle/>
            <a:p>
              <a:endParaRPr sz="1092" dirty="0"/>
            </a:p>
          </p:txBody>
        </p:sp>
        <p:sp>
          <p:nvSpPr>
            <p:cNvPr id="1073" name="object 1073"/>
            <p:cNvSpPr/>
            <p:nvPr/>
          </p:nvSpPr>
          <p:spPr>
            <a:xfrm>
              <a:off x="8965311" y="3808490"/>
              <a:ext cx="133901" cy="93702"/>
            </a:xfrm>
            <a:prstGeom prst="rect">
              <a:avLst/>
            </a:prstGeom>
            <a:blipFill>
              <a:blip r:embed="rId33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74" name="object 1074"/>
            <p:cNvSpPr/>
            <p:nvPr/>
          </p:nvSpPr>
          <p:spPr>
            <a:xfrm>
              <a:off x="8629111" y="3955980"/>
              <a:ext cx="296592" cy="188270"/>
            </a:xfrm>
            <a:prstGeom prst="rect">
              <a:avLst/>
            </a:prstGeom>
            <a:blipFill>
              <a:blip r:embed="rId33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75" name="object 1075"/>
            <p:cNvSpPr/>
            <p:nvPr/>
          </p:nvSpPr>
          <p:spPr>
            <a:xfrm>
              <a:off x="8629112" y="3949986"/>
              <a:ext cx="190222" cy="110514"/>
            </a:xfrm>
            <a:custGeom>
              <a:avLst/>
              <a:gdLst/>
              <a:ahLst/>
              <a:cxnLst/>
              <a:rect l="l" t="t" r="r" b="b"/>
              <a:pathLst>
                <a:path w="313690" h="182245">
                  <a:moveTo>
                    <a:pt x="158141" y="0"/>
                  </a:moveTo>
                  <a:lnTo>
                    <a:pt x="0" y="92321"/>
                  </a:lnTo>
                  <a:lnTo>
                    <a:pt x="154759" y="182004"/>
                  </a:lnTo>
                  <a:lnTo>
                    <a:pt x="175377" y="169952"/>
                  </a:lnTo>
                  <a:lnTo>
                    <a:pt x="155010" y="169952"/>
                  </a:lnTo>
                  <a:lnTo>
                    <a:pt x="20501" y="92321"/>
                  </a:lnTo>
                  <a:lnTo>
                    <a:pt x="27496" y="87986"/>
                  </a:lnTo>
                  <a:lnTo>
                    <a:pt x="66546" y="87986"/>
                  </a:lnTo>
                  <a:lnTo>
                    <a:pt x="46543" y="76406"/>
                  </a:lnTo>
                  <a:lnTo>
                    <a:pt x="53767" y="72311"/>
                  </a:lnTo>
                  <a:lnTo>
                    <a:pt x="92787" y="72311"/>
                  </a:lnTo>
                  <a:lnTo>
                    <a:pt x="72814" y="60752"/>
                  </a:lnTo>
                  <a:lnTo>
                    <a:pt x="79798" y="56898"/>
                  </a:lnTo>
                  <a:lnTo>
                    <a:pt x="119328" y="56898"/>
                  </a:lnTo>
                  <a:lnTo>
                    <a:pt x="98845" y="45077"/>
                  </a:lnTo>
                  <a:lnTo>
                    <a:pt x="105839" y="40983"/>
                  </a:lnTo>
                  <a:lnTo>
                    <a:pt x="144749" y="40983"/>
                  </a:lnTo>
                  <a:lnTo>
                    <a:pt x="125116" y="29653"/>
                  </a:lnTo>
                  <a:lnTo>
                    <a:pt x="132341" y="25559"/>
                  </a:lnTo>
                  <a:lnTo>
                    <a:pt x="170970" y="25559"/>
                  </a:lnTo>
                  <a:lnTo>
                    <a:pt x="151388" y="14240"/>
                  </a:lnTo>
                  <a:lnTo>
                    <a:pt x="158382" y="10114"/>
                  </a:lnTo>
                  <a:lnTo>
                    <a:pt x="175671" y="10114"/>
                  </a:lnTo>
                  <a:lnTo>
                    <a:pt x="158141" y="0"/>
                  </a:lnTo>
                  <a:close/>
                </a:path>
                <a:path w="313690" h="182245">
                  <a:moveTo>
                    <a:pt x="66546" y="87986"/>
                  </a:moveTo>
                  <a:lnTo>
                    <a:pt x="27496" y="87986"/>
                  </a:lnTo>
                  <a:lnTo>
                    <a:pt x="162005" y="165858"/>
                  </a:lnTo>
                  <a:lnTo>
                    <a:pt x="155010" y="169952"/>
                  </a:lnTo>
                  <a:lnTo>
                    <a:pt x="175377" y="169952"/>
                  </a:lnTo>
                  <a:lnTo>
                    <a:pt x="202194" y="154278"/>
                  </a:lnTo>
                  <a:lnTo>
                    <a:pt x="181052" y="154278"/>
                  </a:lnTo>
                  <a:lnTo>
                    <a:pt x="66546" y="87986"/>
                  </a:lnTo>
                  <a:close/>
                </a:path>
                <a:path w="313690" h="182245">
                  <a:moveTo>
                    <a:pt x="92787" y="72311"/>
                  </a:moveTo>
                  <a:lnTo>
                    <a:pt x="53767" y="72311"/>
                  </a:lnTo>
                  <a:lnTo>
                    <a:pt x="188276" y="149943"/>
                  </a:lnTo>
                  <a:lnTo>
                    <a:pt x="181052" y="154278"/>
                  </a:lnTo>
                  <a:lnTo>
                    <a:pt x="202194" y="154278"/>
                  </a:lnTo>
                  <a:lnTo>
                    <a:pt x="229010" y="138603"/>
                  </a:lnTo>
                  <a:lnTo>
                    <a:pt x="207323" y="138603"/>
                  </a:lnTo>
                  <a:lnTo>
                    <a:pt x="92787" y="72311"/>
                  </a:lnTo>
                  <a:close/>
                </a:path>
                <a:path w="313690" h="182245">
                  <a:moveTo>
                    <a:pt x="119328" y="56898"/>
                  </a:moveTo>
                  <a:lnTo>
                    <a:pt x="79798" y="56898"/>
                  </a:lnTo>
                  <a:lnTo>
                    <a:pt x="214307" y="134760"/>
                  </a:lnTo>
                  <a:lnTo>
                    <a:pt x="207323" y="138603"/>
                  </a:lnTo>
                  <a:lnTo>
                    <a:pt x="229010" y="138603"/>
                  </a:lnTo>
                  <a:lnTo>
                    <a:pt x="256203" y="122708"/>
                  </a:lnTo>
                  <a:lnTo>
                    <a:pt x="233354" y="122708"/>
                  </a:lnTo>
                  <a:lnTo>
                    <a:pt x="119328" y="56898"/>
                  </a:lnTo>
                  <a:close/>
                </a:path>
                <a:path w="313690" h="182245">
                  <a:moveTo>
                    <a:pt x="144749" y="40983"/>
                  </a:moveTo>
                  <a:lnTo>
                    <a:pt x="105839" y="40983"/>
                  </a:lnTo>
                  <a:lnTo>
                    <a:pt x="240348" y="118593"/>
                  </a:lnTo>
                  <a:lnTo>
                    <a:pt x="233354" y="122708"/>
                  </a:lnTo>
                  <a:lnTo>
                    <a:pt x="256203" y="122708"/>
                  </a:lnTo>
                  <a:lnTo>
                    <a:pt x="282607" y="107274"/>
                  </a:lnTo>
                  <a:lnTo>
                    <a:pt x="259625" y="107274"/>
                  </a:lnTo>
                  <a:lnTo>
                    <a:pt x="144749" y="40983"/>
                  </a:lnTo>
                  <a:close/>
                </a:path>
                <a:path w="313690" h="182245">
                  <a:moveTo>
                    <a:pt x="170970" y="25559"/>
                  </a:moveTo>
                  <a:lnTo>
                    <a:pt x="132341" y="25559"/>
                  </a:lnTo>
                  <a:lnTo>
                    <a:pt x="266850" y="103169"/>
                  </a:lnTo>
                  <a:lnTo>
                    <a:pt x="259625" y="107274"/>
                  </a:lnTo>
                  <a:lnTo>
                    <a:pt x="282607" y="107274"/>
                  </a:lnTo>
                  <a:lnTo>
                    <a:pt x="308993" y="91850"/>
                  </a:lnTo>
                  <a:lnTo>
                    <a:pt x="285656" y="91850"/>
                  </a:lnTo>
                  <a:lnTo>
                    <a:pt x="170970" y="25559"/>
                  </a:lnTo>
                  <a:close/>
                </a:path>
                <a:path w="313690" h="182245">
                  <a:moveTo>
                    <a:pt x="175671" y="10114"/>
                  </a:moveTo>
                  <a:lnTo>
                    <a:pt x="158382" y="10114"/>
                  </a:lnTo>
                  <a:lnTo>
                    <a:pt x="292891" y="87986"/>
                  </a:lnTo>
                  <a:lnTo>
                    <a:pt x="285656" y="91850"/>
                  </a:lnTo>
                  <a:lnTo>
                    <a:pt x="308993" y="91850"/>
                  </a:lnTo>
                  <a:lnTo>
                    <a:pt x="313131" y="89431"/>
                  </a:lnTo>
                  <a:lnTo>
                    <a:pt x="175671" y="10114"/>
                  </a:lnTo>
                  <a:close/>
                </a:path>
              </a:pathLst>
            </a:custGeom>
            <a:solidFill>
              <a:srgbClr val="FFFFF6"/>
            </a:solidFill>
          </p:spPr>
          <p:txBody>
            <a:bodyPr wrap="square" lIns="0" tIns="0" rIns="0" bIns="0" rtlCol="0"/>
            <a:lstStyle/>
            <a:p>
              <a:endParaRPr sz="1092" dirty="0"/>
            </a:p>
          </p:txBody>
        </p:sp>
        <p:sp>
          <p:nvSpPr>
            <p:cNvPr id="1076" name="object 1076"/>
            <p:cNvSpPr/>
            <p:nvPr/>
          </p:nvSpPr>
          <p:spPr>
            <a:xfrm>
              <a:off x="8496245" y="2935255"/>
              <a:ext cx="867550" cy="514061"/>
            </a:xfrm>
            <a:custGeom>
              <a:avLst/>
              <a:gdLst/>
              <a:ahLst/>
              <a:cxnLst/>
              <a:rect l="l" t="t" r="r" b="b"/>
              <a:pathLst>
                <a:path w="1430655" h="847725">
                  <a:moveTo>
                    <a:pt x="848037" y="0"/>
                  </a:moveTo>
                  <a:lnTo>
                    <a:pt x="0" y="508853"/>
                  </a:lnTo>
                  <a:lnTo>
                    <a:pt x="581416" y="847523"/>
                  </a:lnTo>
                  <a:lnTo>
                    <a:pt x="1430155" y="339382"/>
                  </a:lnTo>
                  <a:lnTo>
                    <a:pt x="848037" y="0"/>
                  </a:lnTo>
                  <a:close/>
                </a:path>
              </a:pathLst>
            </a:custGeom>
            <a:solidFill>
              <a:srgbClr val="FFFFFF"/>
            </a:solidFill>
          </p:spPr>
          <p:txBody>
            <a:bodyPr wrap="square" lIns="0" tIns="0" rIns="0" bIns="0" rtlCol="0"/>
            <a:lstStyle/>
            <a:p>
              <a:endParaRPr sz="1092" dirty="0"/>
            </a:p>
          </p:txBody>
        </p:sp>
        <p:sp>
          <p:nvSpPr>
            <p:cNvPr id="1077" name="object 1077"/>
            <p:cNvSpPr/>
            <p:nvPr/>
          </p:nvSpPr>
          <p:spPr>
            <a:xfrm>
              <a:off x="8543168" y="2960835"/>
              <a:ext cx="770899" cy="455146"/>
            </a:xfrm>
            <a:custGeom>
              <a:avLst/>
              <a:gdLst/>
              <a:ahLst/>
              <a:cxnLst/>
              <a:rect l="l" t="t" r="r" b="b"/>
              <a:pathLst>
                <a:path w="1271269" h="750570">
                  <a:moveTo>
                    <a:pt x="768720" y="0"/>
                  </a:moveTo>
                  <a:lnTo>
                    <a:pt x="0" y="455336"/>
                  </a:lnTo>
                  <a:lnTo>
                    <a:pt x="502602" y="750385"/>
                  </a:lnTo>
                  <a:lnTo>
                    <a:pt x="1271071" y="296734"/>
                  </a:lnTo>
                  <a:lnTo>
                    <a:pt x="768720" y="0"/>
                  </a:lnTo>
                  <a:close/>
                </a:path>
              </a:pathLst>
            </a:custGeom>
            <a:solidFill>
              <a:srgbClr val="ECECEC"/>
            </a:solidFill>
          </p:spPr>
          <p:txBody>
            <a:bodyPr wrap="square" lIns="0" tIns="0" rIns="0" bIns="0" rtlCol="0"/>
            <a:lstStyle/>
            <a:p>
              <a:endParaRPr sz="1092" dirty="0"/>
            </a:p>
          </p:txBody>
        </p:sp>
        <p:sp>
          <p:nvSpPr>
            <p:cNvPr id="1078" name="object 1078"/>
            <p:cNvSpPr/>
            <p:nvPr/>
          </p:nvSpPr>
          <p:spPr>
            <a:xfrm>
              <a:off x="8490546" y="3242512"/>
              <a:ext cx="358495" cy="1026967"/>
            </a:xfrm>
            <a:custGeom>
              <a:avLst/>
              <a:gdLst/>
              <a:ahLst/>
              <a:cxnLst/>
              <a:rect l="l" t="t" r="r" b="b"/>
              <a:pathLst>
                <a:path w="591184" h="1693545">
                  <a:moveTo>
                    <a:pt x="10596" y="0"/>
                  </a:moveTo>
                  <a:lnTo>
                    <a:pt x="0" y="1358806"/>
                  </a:lnTo>
                  <a:lnTo>
                    <a:pt x="590086" y="1693382"/>
                  </a:lnTo>
                  <a:lnTo>
                    <a:pt x="590819" y="340837"/>
                  </a:lnTo>
                  <a:lnTo>
                    <a:pt x="10596" y="0"/>
                  </a:lnTo>
                  <a:close/>
                </a:path>
              </a:pathLst>
            </a:custGeom>
            <a:solidFill>
              <a:srgbClr val="F7F1F1"/>
            </a:solidFill>
          </p:spPr>
          <p:txBody>
            <a:bodyPr wrap="square" lIns="0" tIns="0" rIns="0" bIns="0" rtlCol="0"/>
            <a:lstStyle/>
            <a:p>
              <a:endParaRPr sz="1092" dirty="0"/>
            </a:p>
          </p:txBody>
        </p:sp>
        <p:sp>
          <p:nvSpPr>
            <p:cNvPr id="1079" name="object 1079"/>
            <p:cNvSpPr/>
            <p:nvPr/>
          </p:nvSpPr>
          <p:spPr>
            <a:xfrm>
              <a:off x="8847789" y="3141057"/>
              <a:ext cx="515987" cy="1130165"/>
            </a:xfrm>
            <a:custGeom>
              <a:avLst/>
              <a:gdLst/>
              <a:ahLst/>
              <a:cxnLst/>
              <a:rect l="l" t="t" r="r" b="b"/>
              <a:pathLst>
                <a:path w="850900" h="1863725">
                  <a:moveTo>
                    <a:pt x="850434" y="0"/>
                  </a:moveTo>
                  <a:lnTo>
                    <a:pt x="1696" y="507659"/>
                  </a:lnTo>
                  <a:lnTo>
                    <a:pt x="0" y="1863325"/>
                  </a:lnTo>
                  <a:lnTo>
                    <a:pt x="847534" y="1356157"/>
                  </a:lnTo>
                  <a:lnTo>
                    <a:pt x="850434" y="0"/>
                  </a:lnTo>
                  <a:close/>
                </a:path>
              </a:pathLst>
            </a:custGeom>
            <a:solidFill>
              <a:srgbClr val="CAC4C4"/>
            </a:solidFill>
          </p:spPr>
          <p:txBody>
            <a:bodyPr wrap="square" lIns="0" tIns="0" rIns="0" bIns="0" rtlCol="0"/>
            <a:lstStyle/>
            <a:p>
              <a:endParaRPr sz="1092" dirty="0"/>
            </a:p>
          </p:txBody>
        </p:sp>
        <p:sp>
          <p:nvSpPr>
            <p:cNvPr id="1080" name="object 1080"/>
            <p:cNvSpPr/>
            <p:nvPr/>
          </p:nvSpPr>
          <p:spPr>
            <a:xfrm>
              <a:off x="9220830" y="3266922"/>
              <a:ext cx="81568" cy="343650"/>
            </a:xfrm>
            <a:prstGeom prst="rect">
              <a:avLst/>
            </a:prstGeom>
            <a:blipFill>
              <a:blip r:embed="rId33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81" name="object 1081"/>
            <p:cNvSpPr/>
            <p:nvPr/>
          </p:nvSpPr>
          <p:spPr>
            <a:xfrm>
              <a:off x="9220832" y="3266921"/>
              <a:ext cx="81634" cy="89335"/>
            </a:xfrm>
            <a:custGeom>
              <a:avLst/>
              <a:gdLst/>
              <a:ahLst/>
              <a:cxnLst/>
              <a:rect l="l" t="t" r="r" b="b"/>
              <a:pathLst>
                <a:path w="134619" h="147320">
                  <a:moveTo>
                    <a:pt x="134508" y="0"/>
                  </a:moveTo>
                  <a:lnTo>
                    <a:pt x="113766" y="11800"/>
                  </a:lnTo>
                  <a:lnTo>
                    <a:pt x="114006" y="57851"/>
                  </a:lnTo>
                  <a:lnTo>
                    <a:pt x="0" y="122938"/>
                  </a:lnTo>
                  <a:lnTo>
                    <a:pt x="0" y="147283"/>
                  </a:lnTo>
                  <a:lnTo>
                    <a:pt x="134508" y="70385"/>
                  </a:lnTo>
                  <a:lnTo>
                    <a:pt x="134508" y="0"/>
                  </a:lnTo>
                  <a:close/>
                </a:path>
              </a:pathLst>
            </a:custGeom>
            <a:solidFill>
              <a:srgbClr val="91949E"/>
            </a:solidFill>
          </p:spPr>
          <p:txBody>
            <a:bodyPr wrap="square" lIns="0" tIns="0" rIns="0" bIns="0" rtlCol="0"/>
            <a:lstStyle/>
            <a:p>
              <a:endParaRPr sz="1092" dirty="0"/>
            </a:p>
          </p:txBody>
        </p:sp>
        <p:sp>
          <p:nvSpPr>
            <p:cNvPr id="1082" name="object 1082"/>
            <p:cNvSpPr/>
            <p:nvPr/>
          </p:nvSpPr>
          <p:spPr>
            <a:xfrm>
              <a:off x="9220834" y="3356377"/>
              <a:ext cx="81634" cy="89335"/>
            </a:xfrm>
            <a:custGeom>
              <a:avLst/>
              <a:gdLst/>
              <a:ahLst/>
              <a:cxnLst/>
              <a:rect l="l" t="t" r="r" b="b"/>
              <a:pathLst>
                <a:path w="134619" h="147320">
                  <a:moveTo>
                    <a:pt x="134508" y="0"/>
                  </a:moveTo>
                  <a:lnTo>
                    <a:pt x="113766" y="11811"/>
                  </a:lnTo>
                  <a:lnTo>
                    <a:pt x="113996" y="57851"/>
                  </a:lnTo>
                  <a:lnTo>
                    <a:pt x="0" y="122928"/>
                  </a:lnTo>
                  <a:lnTo>
                    <a:pt x="0" y="147283"/>
                  </a:lnTo>
                  <a:lnTo>
                    <a:pt x="134508" y="70395"/>
                  </a:lnTo>
                  <a:lnTo>
                    <a:pt x="134508" y="0"/>
                  </a:lnTo>
                  <a:close/>
                </a:path>
              </a:pathLst>
            </a:custGeom>
            <a:solidFill>
              <a:srgbClr val="91949E"/>
            </a:solidFill>
          </p:spPr>
          <p:txBody>
            <a:bodyPr wrap="square" lIns="0" tIns="0" rIns="0" bIns="0" rtlCol="0"/>
            <a:lstStyle/>
            <a:p>
              <a:endParaRPr sz="1092" dirty="0"/>
            </a:p>
          </p:txBody>
        </p:sp>
        <p:sp>
          <p:nvSpPr>
            <p:cNvPr id="1083" name="object 1083"/>
            <p:cNvSpPr/>
            <p:nvPr/>
          </p:nvSpPr>
          <p:spPr>
            <a:xfrm>
              <a:off x="9220834" y="3436038"/>
              <a:ext cx="81634" cy="89335"/>
            </a:xfrm>
            <a:custGeom>
              <a:avLst/>
              <a:gdLst/>
              <a:ahLst/>
              <a:cxnLst/>
              <a:rect l="l" t="t" r="r" b="b"/>
              <a:pathLst>
                <a:path w="134619" h="147320">
                  <a:moveTo>
                    <a:pt x="134508" y="0"/>
                  </a:moveTo>
                  <a:lnTo>
                    <a:pt x="113766" y="11821"/>
                  </a:lnTo>
                  <a:lnTo>
                    <a:pt x="113996" y="57851"/>
                  </a:lnTo>
                  <a:lnTo>
                    <a:pt x="0" y="122938"/>
                  </a:lnTo>
                  <a:lnTo>
                    <a:pt x="0" y="147283"/>
                  </a:lnTo>
                  <a:lnTo>
                    <a:pt x="134508" y="70385"/>
                  </a:lnTo>
                  <a:lnTo>
                    <a:pt x="134508" y="0"/>
                  </a:lnTo>
                  <a:close/>
                </a:path>
              </a:pathLst>
            </a:custGeom>
            <a:solidFill>
              <a:srgbClr val="91949E"/>
            </a:solidFill>
          </p:spPr>
          <p:txBody>
            <a:bodyPr wrap="square" lIns="0" tIns="0" rIns="0" bIns="0" rtlCol="0"/>
            <a:lstStyle/>
            <a:p>
              <a:endParaRPr sz="1092" dirty="0"/>
            </a:p>
          </p:txBody>
        </p:sp>
        <p:sp>
          <p:nvSpPr>
            <p:cNvPr id="1084" name="object 1084"/>
            <p:cNvSpPr/>
            <p:nvPr/>
          </p:nvSpPr>
          <p:spPr>
            <a:xfrm>
              <a:off x="9220834" y="3521261"/>
              <a:ext cx="81634" cy="89335"/>
            </a:xfrm>
            <a:custGeom>
              <a:avLst/>
              <a:gdLst/>
              <a:ahLst/>
              <a:cxnLst/>
              <a:rect l="l" t="t" r="r" b="b"/>
              <a:pathLst>
                <a:path w="134619" h="147320">
                  <a:moveTo>
                    <a:pt x="134508" y="0"/>
                  </a:moveTo>
                  <a:lnTo>
                    <a:pt x="113766" y="11570"/>
                  </a:lnTo>
                  <a:lnTo>
                    <a:pt x="113996" y="57610"/>
                  </a:lnTo>
                  <a:lnTo>
                    <a:pt x="0" y="122687"/>
                  </a:lnTo>
                  <a:lnTo>
                    <a:pt x="0" y="147283"/>
                  </a:lnTo>
                  <a:lnTo>
                    <a:pt x="134508" y="70154"/>
                  </a:lnTo>
                  <a:lnTo>
                    <a:pt x="134508" y="0"/>
                  </a:lnTo>
                  <a:close/>
                </a:path>
              </a:pathLst>
            </a:custGeom>
            <a:solidFill>
              <a:srgbClr val="91949E"/>
            </a:solidFill>
          </p:spPr>
          <p:txBody>
            <a:bodyPr wrap="square" lIns="0" tIns="0" rIns="0" bIns="0" rtlCol="0"/>
            <a:lstStyle/>
            <a:p>
              <a:endParaRPr sz="1092" dirty="0"/>
            </a:p>
          </p:txBody>
        </p:sp>
        <p:sp>
          <p:nvSpPr>
            <p:cNvPr id="1085" name="object 1085"/>
            <p:cNvSpPr/>
            <p:nvPr/>
          </p:nvSpPr>
          <p:spPr>
            <a:xfrm>
              <a:off x="9220831" y="3604000"/>
              <a:ext cx="81567" cy="343657"/>
            </a:xfrm>
            <a:prstGeom prst="rect">
              <a:avLst/>
            </a:prstGeom>
            <a:blipFill>
              <a:blip r:embed="rId33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86" name="object 1086"/>
            <p:cNvSpPr/>
            <p:nvPr/>
          </p:nvSpPr>
          <p:spPr>
            <a:xfrm>
              <a:off x="9220832" y="3603998"/>
              <a:ext cx="81634" cy="89335"/>
            </a:xfrm>
            <a:custGeom>
              <a:avLst/>
              <a:gdLst/>
              <a:ahLst/>
              <a:cxnLst/>
              <a:rect l="l" t="t" r="r" b="b"/>
              <a:pathLst>
                <a:path w="134619" h="147320">
                  <a:moveTo>
                    <a:pt x="134508" y="0"/>
                  </a:moveTo>
                  <a:lnTo>
                    <a:pt x="113766" y="11800"/>
                  </a:lnTo>
                  <a:lnTo>
                    <a:pt x="114006" y="57851"/>
                  </a:lnTo>
                  <a:lnTo>
                    <a:pt x="0" y="122928"/>
                  </a:lnTo>
                  <a:lnTo>
                    <a:pt x="0" y="147283"/>
                  </a:lnTo>
                  <a:lnTo>
                    <a:pt x="134508" y="70385"/>
                  </a:lnTo>
                  <a:lnTo>
                    <a:pt x="134508" y="0"/>
                  </a:lnTo>
                  <a:close/>
                </a:path>
              </a:pathLst>
            </a:custGeom>
            <a:solidFill>
              <a:srgbClr val="91949E"/>
            </a:solidFill>
          </p:spPr>
          <p:txBody>
            <a:bodyPr wrap="square" lIns="0" tIns="0" rIns="0" bIns="0" rtlCol="0"/>
            <a:lstStyle/>
            <a:p>
              <a:endParaRPr sz="1092" dirty="0"/>
            </a:p>
          </p:txBody>
        </p:sp>
        <p:sp>
          <p:nvSpPr>
            <p:cNvPr id="1087" name="object 1087"/>
            <p:cNvSpPr/>
            <p:nvPr/>
          </p:nvSpPr>
          <p:spPr>
            <a:xfrm>
              <a:off x="9220834" y="3693448"/>
              <a:ext cx="81634" cy="89335"/>
            </a:xfrm>
            <a:custGeom>
              <a:avLst/>
              <a:gdLst/>
              <a:ahLst/>
              <a:cxnLst/>
              <a:rect l="l" t="t" r="r" b="b"/>
              <a:pathLst>
                <a:path w="134619" h="147320">
                  <a:moveTo>
                    <a:pt x="134508" y="0"/>
                  </a:moveTo>
                  <a:lnTo>
                    <a:pt x="113766" y="11821"/>
                  </a:lnTo>
                  <a:lnTo>
                    <a:pt x="113996" y="57621"/>
                  </a:lnTo>
                  <a:lnTo>
                    <a:pt x="0" y="122959"/>
                  </a:lnTo>
                  <a:lnTo>
                    <a:pt x="0" y="147293"/>
                  </a:lnTo>
                  <a:lnTo>
                    <a:pt x="134508" y="70406"/>
                  </a:lnTo>
                  <a:lnTo>
                    <a:pt x="134508" y="0"/>
                  </a:lnTo>
                  <a:close/>
                </a:path>
              </a:pathLst>
            </a:custGeom>
            <a:solidFill>
              <a:srgbClr val="91949E"/>
            </a:solidFill>
          </p:spPr>
          <p:txBody>
            <a:bodyPr wrap="square" lIns="0" tIns="0" rIns="0" bIns="0" rtlCol="0"/>
            <a:lstStyle/>
            <a:p>
              <a:endParaRPr sz="1092" dirty="0"/>
            </a:p>
          </p:txBody>
        </p:sp>
        <p:sp>
          <p:nvSpPr>
            <p:cNvPr id="1088" name="object 1088"/>
            <p:cNvSpPr/>
            <p:nvPr/>
          </p:nvSpPr>
          <p:spPr>
            <a:xfrm>
              <a:off x="9220834" y="3773122"/>
              <a:ext cx="81634" cy="89335"/>
            </a:xfrm>
            <a:custGeom>
              <a:avLst/>
              <a:gdLst/>
              <a:ahLst/>
              <a:cxnLst/>
              <a:rect l="l" t="t" r="r" b="b"/>
              <a:pathLst>
                <a:path w="134619" h="147320">
                  <a:moveTo>
                    <a:pt x="134508" y="0"/>
                  </a:moveTo>
                  <a:lnTo>
                    <a:pt x="113766" y="11811"/>
                  </a:lnTo>
                  <a:lnTo>
                    <a:pt x="113996" y="57862"/>
                  </a:lnTo>
                  <a:lnTo>
                    <a:pt x="0" y="122917"/>
                  </a:lnTo>
                  <a:lnTo>
                    <a:pt x="0" y="147283"/>
                  </a:lnTo>
                  <a:lnTo>
                    <a:pt x="134508" y="70144"/>
                  </a:lnTo>
                  <a:lnTo>
                    <a:pt x="134508" y="0"/>
                  </a:lnTo>
                  <a:close/>
                </a:path>
              </a:pathLst>
            </a:custGeom>
            <a:solidFill>
              <a:srgbClr val="91949E"/>
            </a:solidFill>
          </p:spPr>
          <p:txBody>
            <a:bodyPr wrap="square" lIns="0" tIns="0" rIns="0" bIns="0" rtlCol="0"/>
            <a:lstStyle/>
            <a:p>
              <a:endParaRPr sz="1092" dirty="0"/>
            </a:p>
          </p:txBody>
        </p:sp>
        <p:sp>
          <p:nvSpPr>
            <p:cNvPr id="1089" name="object 1089"/>
            <p:cNvSpPr/>
            <p:nvPr/>
          </p:nvSpPr>
          <p:spPr>
            <a:xfrm>
              <a:off x="9220834" y="3858338"/>
              <a:ext cx="81634" cy="89335"/>
            </a:xfrm>
            <a:custGeom>
              <a:avLst/>
              <a:gdLst/>
              <a:ahLst/>
              <a:cxnLst/>
              <a:rect l="l" t="t" r="r" b="b"/>
              <a:pathLst>
                <a:path w="134619" h="147320">
                  <a:moveTo>
                    <a:pt x="134508" y="0"/>
                  </a:moveTo>
                  <a:lnTo>
                    <a:pt x="113766" y="11559"/>
                  </a:lnTo>
                  <a:lnTo>
                    <a:pt x="113996" y="57862"/>
                  </a:lnTo>
                  <a:lnTo>
                    <a:pt x="0" y="122687"/>
                  </a:lnTo>
                  <a:lnTo>
                    <a:pt x="0" y="147293"/>
                  </a:lnTo>
                  <a:lnTo>
                    <a:pt x="134508" y="70144"/>
                  </a:lnTo>
                  <a:lnTo>
                    <a:pt x="134508" y="0"/>
                  </a:lnTo>
                  <a:close/>
                </a:path>
              </a:pathLst>
            </a:custGeom>
            <a:solidFill>
              <a:srgbClr val="91949E"/>
            </a:solidFill>
          </p:spPr>
          <p:txBody>
            <a:bodyPr wrap="square" lIns="0" tIns="0" rIns="0" bIns="0" rtlCol="0"/>
            <a:lstStyle/>
            <a:p>
              <a:endParaRPr sz="1092" dirty="0"/>
            </a:p>
          </p:txBody>
        </p:sp>
        <p:sp>
          <p:nvSpPr>
            <p:cNvPr id="1090" name="object 1090"/>
            <p:cNvSpPr/>
            <p:nvPr/>
          </p:nvSpPr>
          <p:spPr>
            <a:xfrm>
              <a:off x="9090893" y="3348920"/>
              <a:ext cx="81549" cy="343656"/>
            </a:xfrm>
            <a:prstGeom prst="rect">
              <a:avLst/>
            </a:prstGeom>
            <a:blipFill>
              <a:blip r:embed="rId33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91" name="object 1091"/>
            <p:cNvSpPr/>
            <p:nvPr/>
          </p:nvSpPr>
          <p:spPr>
            <a:xfrm>
              <a:off x="9090889" y="3348924"/>
              <a:ext cx="81634" cy="89720"/>
            </a:xfrm>
            <a:custGeom>
              <a:avLst/>
              <a:gdLst/>
              <a:ahLst/>
              <a:cxnLst/>
              <a:rect l="l" t="t" r="r" b="b"/>
              <a:pathLst>
                <a:path w="134619" h="147954">
                  <a:moveTo>
                    <a:pt x="134488" y="0"/>
                  </a:moveTo>
                  <a:lnTo>
                    <a:pt x="113766" y="12051"/>
                  </a:lnTo>
                  <a:lnTo>
                    <a:pt x="113766" y="57851"/>
                  </a:lnTo>
                  <a:lnTo>
                    <a:pt x="0" y="123169"/>
                  </a:lnTo>
                  <a:lnTo>
                    <a:pt x="0" y="147524"/>
                  </a:lnTo>
                  <a:lnTo>
                    <a:pt x="134488" y="70385"/>
                  </a:lnTo>
                  <a:lnTo>
                    <a:pt x="134488" y="0"/>
                  </a:lnTo>
                  <a:close/>
                </a:path>
              </a:pathLst>
            </a:custGeom>
            <a:solidFill>
              <a:srgbClr val="91949E"/>
            </a:solidFill>
          </p:spPr>
          <p:txBody>
            <a:bodyPr wrap="square" lIns="0" tIns="0" rIns="0" bIns="0" rtlCol="0"/>
            <a:lstStyle/>
            <a:p>
              <a:endParaRPr sz="1092" dirty="0"/>
            </a:p>
          </p:txBody>
        </p:sp>
        <p:sp>
          <p:nvSpPr>
            <p:cNvPr id="1092" name="object 1092"/>
            <p:cNvSpPr/>
            <p:nvPr/>
          </p:nvSpPr>
          <p:spPr>
            <a:xfrm>
              <a:off x="9090891" y="3438522"/>
              <a:ext cx="81634" cy="89335"/>
            </a:xfrm>
            <a:custGeom>
              <a:avLst/>
              <a:gdLst/>
              <a:ahLst/>
              <a:cxnLst/>
              <a:rect l="l" t="t" r="r" b="b"/>
              <a:pathLst>
                <a:path w="134619" h="147320">
                  <a:moveTo>
                    <a:pt x="134477" y="0"/>
                  </a:moveTo>
                  <a:lnTo>
                    <a:pt x="113766" y="11821"/>
                  </a:lnTo>
                  <a:lnTo>
                    <a:pt x="113766" y="57851"/>
                  </a:lnTo>
                  <a:lnTo>
                    <a:pt x="0" y="123189"/>
                  </a:lnTo>
                  <a:lnTo>
                    <a:pt x="0" y="147053"/>
                  </a:lnTo>
                  <a:lnTo>
                    <a:pt x="134477" y="70385"/>
                  </a:lnTo>
                  <a:lnTo>
                    <a:pt x="134477" y="0"/>
                  </a:lnTo>
                  <a:close/>
                </a:path>
              </a:pathLst>
            </a:custGeom>
            <a:solidFill>
              <a:srgbClr val="91949E"/>
            </a:solidFill>
          </p:spPr>
          <p:txBody>
            <a:bodyPr wrap="square" lIns="0" tIns="0" rIns="0" bIns="0" rtlCol="0"/>
            <a:lstStyle/>
            <a:p>
              <a:endParaRPr sz="1092" dirty="0"/>
            </a:p>
          </p:txBody>
        </p:sp>
        <p:sp>
          <p:nvSpPr>
            <p:cNvPr id="1093" name="object 1093"/>
            <p:cNvSpPr/>
            <p:nvPr/>
          </p:nvSpPr>
          <p:spPr>
            <a:xfrm>
              <a:off x="9090891" y="3518195"/>
              <a:ext cx="81634" cy="89335"/>
            </a:xfrm>
            <a:custGeom>
              <a:avLst/>
              <a:gdLst/>
              <a:ahLst/>
              <a:cxnLst/>
              <a:rect l="l" t="t" r="r" b="b"/>
              <a:pathLst>
                <a:path w="134619" h="147320">
                  <a:moveTo>
                    <a:pt x="134477" y="0"/>
                  </a:moveTo>
                  <a:lnTo>
                    <a:pt x="113766" y="11800"/>
                  </a:lnTo>
                  <a:lnTo>
                    <a:pt x="113766" y="57851"/>
                  </a:lnTo>
                  <a:lnTo>
                    <a:pt x="0" y="122687"/>
                  </a:lnTo>
                  <a:lnTo>
                    <a:pt x="0" y="147273"/>
                  </a:lnTo>
                  <a:lnTo>
                    <a:pt x="134477" y="70385"/>
                  </a:lnTo>
                  <a:lnTo>
                    <a:pt x="134477" y="0"/>
                  </a:lnTo>
                  <a:close/>
                </a:path>
              </a:pathLst>
            </a:custGeom>
            <a:solidFill>
              <a:srgbClr val="91949E"/>
            </a:solidFill>
          </p:spPr>
          <p:txBody>
            <a:bodyPr wrap="square" lIns="0" tIns="0" rIns="0" bIns="0" rtlCol="0"/>
            <a:lstStyle/>
            <a:p>
              <a:endParaRPr sz="1092" dirty="0"/>
            </a:p>
          </p:txBody>
        </p:sp>
        <p:sp>
          <p:nvSpPr>
            <p:cNvPr id="1094" name="object 1094"/>
            <p:cNvSpPr/>
            <p:nvPr/>
          </p:nvSpPr>
          <p:spPr>
            <a:xfrm>
              <a:off x="9090891" y="3603264"/>
              <a:ext cx="81634" cy="89335"/>
            </a:xfrm>
            <a:custGeom>
              <a:avLst/>
              <a:gdLst/>
              <a:ahLst/>
              <a:cxnLst/>
              <a:rect l="l" t="t" r="r" b="b"/>
              <a:pathLst>
                <a:path w="134619" h="147320">
                  <a:moveTo>
                    <a:pt x="134477" y="0"/>
                  </a:moveTo>
                  <a:lnTo>
                    <a:pt x="113766" y="12051"/>
                  </a:lnTo>
                  <a:lnTo>
                    <a:pt x="113766" y="57610"/>
                  </a:lnTo>
                  <a:lnTo>
                    <a:pt x="0" y="122938"/>
                  </a:lnTo>
                  <a:lnTo>
                    <a:pt x="0" y="147293"/>
                  </a:lnTo>
                  <a:lnTo>
                    <a:pt x="134477" y="70385"/>
                  </a:lnTo>
                  <a:lnTo>
                    <a:pt x="134477" y="0"/>
                  </a:lnTo>
                  <a:close/>
                </a:path>
              </a:pathLst>
            </a:custGeom>
            <a:solidFill>
              <a:srgbClr val="91949E"/>
            </a:solidFill>
          </p:spPr>
          <p:txBody>
            <a:bodyPr wrap="square" lIns="0" tIns="0" rIns="0" bIns="0" rtlCol="0"/>
            <a:lstStyle/>
            <a:p>
              <a:endParaRPr sz="1092" dirty="0"/>
            </a:p>
          </p:txBody>
        </p:sp>
        <p:sp>
          <p:nvSpPr>
            <p:cNvPr id="1095" name="object 1095"/>
            <p:cNvSpPr/>
            <p:nvPr/>
          </p:nvSpPr>
          <p:spPr>
            <a:xfrm>
              <a:off x="9090894" y="3683948"/>
              <a:ext cx="81548" cy="343517"/>
            </a:xfrm>
            <a:prstGeom prst="rect">
              <a:avLst/>
            </a:prstGeom>
            <a:blipFill>
              <a:blip r:embed="rId33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096" name="object 1096"/>
            <p:cNvSpPr/>
            <p:nvPr/>
          </p:nvSpPr>
          <p:spPr>
            <a:xfrm>
              <a:off x="9090889" y="3683954"/>
              <a:ext cx="81634" cy="89335"/>
            </a:xfrm>
            <a:custGeom>
              <a:avLst/>
              <a:gdLst/>
              <a:ahLst/>
              <a:cxnLst/>
              <a:rect l="l" t="t" r="r" b="b"/>
              <a:pathLst>
                <a:path w="134619" h="147320">
                  <a:moveTo>
                    <a:pt x="134488" y="0"/>
                  </a:moveTo>
                  <a:lnTo>
                    <a:pt x="113766" y="11570"/>
                  </a:lnTo>
                  <a:lnTo>
                    <a:pt x="113766" y="57610"/>
                  </a:lnTo>
                  <a:lnTo>
                    <a:pt x="0" y="122697"/>
                  </a:lnTo>
                  <a:lnTo>
                    <a:pt x="0" y="147042"/>
                  </a:lnTo>
                  <a:lnTo>
                    <a:pt x="134488" y="70144"/>
                  </a:lnTo>
                  <a:lnTo>
                    <a:pt x="134488" y="0"/>
                  </a:lnTo>
                  <a:close/>
                </a:path>
              </a:pathLst>
            </a:custGeom>
            <a:solidFill>
              <a:srgbClr val="91949E"/>
            </a:solidFill>
          </p:spPr>
          <p:txBody>
            <a:bodyPr wrap="square" lIns="0" tIns="0" rIns="0" bIns="0" rtlCol="0"/>
            <a:lstStyle/>
            <a:p>
              <a:endParaRPr sz="1092" dirty="0"/>
            </a:p>
          </p:txBody>
        </p:sp>
        <p:sp>
          <p:nvSpPr>
            <p:cNvPr id="1097" name="object 1097"/>
            <p:cNvSpPr/>
            <p:nvPr/>
          </p:nvSpPr>
          <p:spPr>
            <a:xfrm>
              <a:off x="9090891" y="3773119"/>
              <a:ext cx="81634" cy="89720"/>
            </a:xfrm>
            <a:custGeom>
              <a:avLst/>
              <a:gdLst/>
              <a:ahLst/>
              <a:cxnLst/>
              <a:rect l="l" t="t" r="r" b="b"/>
              <a:pathLst>
                <a:path w="134619" h="147954">
                  <a:moveTo>
                    <a:pt x="134477" y="0"/>
                  </a:moveTo>
                  <a:lnTo>
                    <a:pt x="113766" y="12051"/>
                  </a:lnTo>
                  <a:lnTo>
                    <a:pt x="113766" y="58092"/>
                  </a:lnTo>
                  <a:lnTo>
                    <a:pt x="0" y="123189"/>
                  </a:lnTo>
                  <a:lnTo>
                    <a:pt x="0" y="147765"/>
                  </a:lnTo>
                  <a:lnTo>
                    <a:pt x="134477" y="70385"/>
                  </a:lnTo>
                  <a:lnTo>
                    <a:pt x="134477" y="0"/>
                  </a:lnTo>
                  <a:close/>
                </a:path>
              </a:pathLst>
            </a:custGeom>
            <a:solidFill>
              <a:srgbClr val="91949E"/>
            </a:solidFill>
          </p:spPr>
          <p:txBody>
            <a:bodyPr wrap="square" lIns="0" tIns="0" rIns="0" bIns="0" rtlCol="0"/>
            <a:lstStyle/>
            <a:p>
              <a:endParaRPr sz="1092" dirty="0"/>
            </a:p>
          </p:txBody>
        </p:sp>
        <p:sp>
          <p:nvSpPr>
            <p:cNvPr id="1098" name="object 1098"/>
            <p:cNvSpPr/>
            <p:nvPr/>
          </p:nvSpPr>
          <p:spPr>
            <a:xfrm>
              <a:off x="9090891" y="3852932"/>
              <a:ext cx="81634" cy="89335"/>
            </a:xfrm>
            <a:custGeom>
              <a:avLst/>
              <a:gdLst/>
              <a:ahLst/>
              <a:cxnLst/>
              <a:rect l="l" t="t" r="r" b="b"/>
              <a:pathLst>
                <a:path w="134619" h="147320">
                  <a:moveTo>
                    <a:pt x="134477" y="0"/>
                  </a:moveTo>
                  <a:lnTo>
                    <a:pt x="113766" y="11811"/>
                  </a:lnTo>
                  <a:lnTo>
                    <a:pt x="113766" y="57600"/>
                  </a:lnTo>
                  <a:lnTo>
                    <a:pt x="0" y="123179"/>
                  </a:lnTo>
                  <a:lnTo>
                    <a:pt x="0" y="147283"/>
                  </a:lnTo>
                  <a:lnTo>
                    <a:pt x="134477" y="70374"/>
                  </a:lnTo>
                  <a:lnTo>
                    <a:pt x="134477" y="0"/>
                  </a:lnTo>
                  <a:close/>
                </a:path>
              </a:pathLst>
            </a:custGeom>
            <a:solidFill>
              <a:srgbClr val="91949E"/>
            </a:solidFill>
          </p:spPr>
          <p:txBody>
            <a:bodyPr wrap="square" lIns="0" tIns="0" rIns="0" bIns="0" rtlCol="0"/>
            <a:lstStyle/>
            <a:p>
              <a:endParaRPr sz="1092" dirty="0"/>
            </a:p>
          </p:txBody>
        </p:sp>
        <p:sp>
          <p:nvSpPr>
            <p:cNvPr id="1099" name="object 1099"/>
            <p:cNvSpPr/>
            <p:nvPr/>
          </p:nvSpPr>
          <p:spPr>
            <a:xfrm>
              <a:off x="9090891" y="3938149"/>
              <a:ext cx="81634" cy="89335"/>
            </a:xfrm>
            <a:custGeom>
              <a:avLst/>
              <a:gdLst/>
              <a:ahLst/>
              <a:cxnLst/>
              <a:rect l="l" t="t" r="r" b="b"/>
              <a:pathLst>
                <a:path w="134619" h="147320">
                  <a:moveTo>
                    <a:pt x="134477" y="0"/>
                  </a:moveTo>
                  <a:lnTo>
                    <a:pt x="113766" y="11559"/>
                  </a:lnTo>
                  <a:lnTo>
                    <a:pt x="113766" y="57600"/>
                  </a:lnTo>
                  <a:lnTo>
                    <a:pt x="0" y="122928"/>
                  </a:lnTo>
                  <a:lnTo>
                    <a:pt x="0" y="147293"/>
                  </a:lnTo>
                  <a:lnTo>
                    <a:pt x="134477" y="70154"/>
                  </a:lnTo>
                  <a:lnTo>
                    <a:pt x="134477" y="0"/>
                  </a:lnTo>
                  <a:close/>
                </a:path>
              </a:pathLst>
            </a:custGeom>
            <a:solidFill>
              <a:srgbClr val="91949E"/>
            </a:solidFill>
          </p:spPr>
          <p:txBody>
            <a:bodyPr wrap="square" lIns="0" tIns="0" rIns="0" bIns="0" rtlCol="0"/>
            <a:lstStyle/>
            <a:p>
              <a:endParaRPr sz="1092" dirty="0"/>
            </a:p>
          </p:txBody>
        </p:sp>
        <p:sp>
          <p:nvSpPr>
            <p:cNvPr id="1100" name="object 1100"/>
            <p:cNvSpPr/>
            <p:nvPr/>
          </p:nvSpPr>
          <p:spPr>
            <a:xfrm>
              <a:off x="8848672" y="3417768"/>
              <a:ext cx="204056" cy="248350"/>
            </a:xfrm>
            <a:prstGeom prst="rect">
              <a:avLst/>
            </a:prstGeom>
            <a:blipFill>
              <a:blip r:embed="rId33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101" name="object 1101"/>
            <p:cNvSpPr/>
            <p:nvPr/>
          </p:nvSpPr>
          <p:spPr>
            <a:xfrm>
              <a:off x="8848673" y="3424057"/>
              <a:ext cx="193302" cy="224493"/>
            </a:xfrm>
            <a:custGeom>
              <a:avLst/>
              <a:gdLst/>
              <a:ahLst/>
              <a:cxnLst/>
              <a:rect l="l" t="t" r="r" b="b"/>
              <a:pathLst>
                <a:path w="318769" h="370204">
                  <a:moveTo>
                    <a:pt x="318430" y="0"/>
                  </a:moveTo>
                  <a:lnTo>
                    <a:pt x="295519" y="13256"/>
                  </a:lnTo>
                  <a:lnTo>
                    <a:pt x="295519" y="173314"/>
                  </a:lnTo>
                  <a:lnTo>
                    <a:pt x="0" y="342764"/>
                  </a:lnTo>
                  <a:lnTo>
                    <a:pt x="0" y="370020"/>
                  </a:lnTo>
                  <a:lnTo>
                    <a:pt x="295519" y="200548"/>
                  </a:lnTo>
                  <a:lnTo>
                    <a:pt x="318670" y="187533"/>
                  </a:lnTo>
                  <a:lnTo>
                    <a:pt x="318430" y="0"/>
                  </a:lnTo>
                  <a:close/>
                </a:path>
              </a:pathLst>
            </a:custGeom>
            <a:solidFill>
              <a:srgbClr val="91949E"/>
            </a:solidFill>
          </p:spPr>
          <p:txBody>
            <a:bodyPr wrap="square" lIns="0" tIns="0" rIns="0" bIns="0" rtlCol="0"/>
            <a:lstStyle/>
            <a:p>
              <a:endParaRPr sz="1092" dirty="0"/>
            </a:p>
          </p:txBody>
        </p:sp>
        <p:sp>
          <p:nvSpPr>
            <p:cNvPr id="1102" name="object 1102"/>
            <p:cNvSpPr/>
            <p:nvPr/>
          </p:nvSpPr>
          <p:spPr>
            <a:xfrm>
              <a:off x="8848676" y="3417769"/>
              <a:ext cx="204084" cy="248367"/>
            </a:xfrm>
            <a:custGeom>
              <a:avLst/>
              <a:gdLst/>
              <a:ahLst/>
              <a:cxnLst/>
              <a:rect l="l" t="t" r="r" b="b"/>
              <a:pathLst>
                <a:path w="336550" h="409575">
                  <a:moveTo>
                    <a:pt x="336502" y="0"/>
                  </a:moveTo>
                  <a:lnTo>
                    <a:pt x="318419" y="10366"/>
                  </a:lnTo>
                  <a:lnTo>
                    <a:pt x="318660" y="197899"/>
                  </a:lnTo>
                  <a:lnTo>
                    <a:pt x="295519" y="210915"/>
                  </a:lnTo>
                  <a:lnTo>
                    <a:pt x="0" y="380386"/>
                  </a:lnTo>
                  <a:lnTo>
                    <a:pt x="0" y="409558"/>
                  </a:lnTo>
                  <a:lnTo>
                    <a:pt x="318419" y="227071"/>
                  </a:lnTo>
                  <a:lnTo>
                    <a:pt x="336502" y="216946"/>
                  </a:lnTo>
                  <a:lnTo>
                    <a:pt x="336502" y="0"/>
                  </a:lnTo>
                  <a:close/>
                </a:path>
              </a:pathLst>
            </a:custGeom>
            <a:solidFill>
              <a:srgbClr val="CAC4C4"/>
            </a:solidFill>
          </p:spPr>
          <p:txBody>
            <a:bodyPr wrap="square" lIns="0" tIns="0" rIns="0" bIns="0" rtlCol="0"/>
            <a:lstStyle/>
            <a:p>
              <a:endParaRPr sz="1092" dirty="0"/>
            </a:p>
          </p:txBody>
        </p:sp>
        <p:sp>
          <p:nvSpPr>
            <p:cNvPr id="1103" name="object 1103"/>
            <p:cNvSpPr/>
            <p:nvPr/>
          </p:nvSpPr>
          <p:spPr>
            <a:xfrm>
              <a:off x="8848532" y="3581339"/>
              <a:ext cx="204196" cy="247766"/>
            </a:xfrm>
            <a:prstGeom prst="rect">
              <a:avLst/>
            </a:prstGeom>
            <a:blipFill>
              <a:blip r:embed="rId34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104" name="object 1104"/>
            <p:cNvSpPr/>
            <p:nvPr/>
          </p:nvSpPr>
          <p:spPr>
            <a:xfrm>
              <a:off x="8848533" y="3587625"/>
              <a:ext cx="193687" cy="224108"/>
            </a:xfrm>
            <a:custGeom>
              <a:avLst/>
              <a:gdLst/>
              <a:ahLst/>
              <a:cxnLst/>
              <a:rect l="l" t="t" r="r" b="b"/>
              <a:pathLst>
                <a:path w="319405" h="369570">
                  <a:moveTo>
                    <a:pt x="318660" y="0"/>
                  </a:moveTo>
                  <a:lnTo>
                    <a:pt x="295750" y="13256"/>
                  </a:lnTo>
                  <a:lnTo>
                    <a:pt x="295750" y="173073"/>
                  </a:lnTo>
                  <a:lnTo>
                    <a:pt x="0" y="341811"/>
                  </a:lnTo>
                  <a:lnTo>
                    <a:pt x="0" y="369046"/>
                  </a:lnTo>
                  <a:lnTo>
                    <a:pt x="318901" y="187051"/>
                  </a:lnTo>
                  <a:lnTo>
                    <a:pt x="318660" y="0"/>
                  </a:lnTo>
                  <a:close/>
                </a:path>
              </a:pathLst>
            </a:custGeom>
            <a:solidFill>
              <a:srgbClr val="91949E"/>
            </a:solidFill>
          </p:spPr>
          <p:txBody>
            <a:bodyPr wrap="square" lIns="0" tIns="0" rIns="0" bIns="0" rtlCol="0"/>
            <a:lstStyle/>
            <a:p>
              <a:endParaRPr sz="1092" dirty="0"/>
            </a:p>
          </p:txBody>
        </p:sp>
        <p:sp>
          <p:nvSpPr>
            <p:cNvPr id="1105" name="object 1105"/>
            <p:cNvSpPr/>
            <p:nvPr/>
          </p:nvSpPr>
          <p:spPr>
            <a:xfrm>
              <a:off x="8848531" y="3581337"/>
              <a:ext cx="204469" cy="247982"/>
            </a:xfrm>
            <a:custGeom>
              <a:avLst/>
              <a:gdLst/>
              <a:ahLst/>
              <a:cxnLst/>
              <a:rect l="l" t="t" r="r" b="b"/>
              <a:pathLst>
                <a:path w="337184" h="408939">
                  <a:moveTo>
                    <a:pt x="336743" y="0"/>
                  </a:moveTo>
                  <a:lnTo>
                    <a:pt x="318660" y="10366"/>
                  </a:lnTo>
                  <a:lnTo>
                    <a:pt x="318901" y="197418"/>
                  </a:lnTo>
                  <a:lnTo>
                    <a:pt x="0" y="379423"/>
                  </a:lnTo>
                  <a:lnTo>
                    <a:pt x="0" y="408584"/>
                  </a:lnTo>
                  <a:lnTo>
                    <a:pt x="336743" y="216464"/>
                  </a:lnTo>
                  <a:lnTo>
                    <a:pt x="336743" y="0"/>
                  </a:lnTo>
                  <a:close/>
                </a:path>
              </a:pathLst>
            </a:custGeom>
            <a:solidFill>
              <a:srgbClr val="CAC4C4"/>
            </a:solidFill>
          </p:spPr>
          <p:txBody>
            <a:bodyPr wrap="square" lIns="0" tIns="0" rIns="0" bIns="0" rtlCol="0"/>
            <a:lstStyle/>
            <a:p>
              <a:endParaRPr sz="1092" dirty="0"/>
            </a:p>
          </p:txBody>
        </p:sp>
        <p:sp>
          <p:nvSpPr>
            <p:cNvPr id="1106" name="object 1106"/>
            <p:cNvSpPr/>
            <p:nvPr/>
          </p:nvSpPr>
          <p:spPr>
            <a:xfrm>
              <a:off x="8597393" y="3392338"/>
              <a:ext cx="251139" cy="273780"/>
            </a:xfrm>
            <a:prstGeom prst="rect">
              <a:avLst/>
            </a:prstGeom>
            <a:blipFill>
              <a:blip r:embed="rId34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107" name="object 1107"/>
            <p:cNvSpPr/>
            <p:nvPr/>
          </p:nvSpPr>
          <p:spPr>
            <a:xfrm>
              <a:off x="8608357" y="3398474"/>
              <a:ext cx="240280" cy="250292"/>
            </a:xfrm>
            <a:custGeom>
              <a:avLst/>
              <a:gdLst/>
              <a:ahLst/>
              <a:cxnLst/>
              <a:rect l="l" t="t" r="r" b="b"/>
              <a:pathLst>
                <a:path w="396240" h="412750">
                  <a:moveTo>
                    <a:pt x="0" y="0"/>
                  </a:moveTo>
                  <a:lnTo>
                    <a:pt x="0" y="187051"/>
                  </a:lnTo>
                  <a:lnTo>
                    <a:pt x="396061" y="412207"/>
                  </a:lnTo>
                  <a:lnTo>
                    <a:pt x="396061" y="384962"/>
                  </a:lnTo>
                  <a:lnTo>
                    <a:pt x="23140" y="173073"/>
                  </a:lnTo>
                  <a:lnTo>
                    <a:pt x="23140" y="13025"/>
                  </a:lnTo>
                  <a:lnTo>
                    <a:pt x="0" y="0"/>
                  </a:lnTo>
                  <a:close/>
                </a:path>
              </a:pathLst>
            </a:custGeom>
            <a:solidFill>
              <a:srgbClr val="B9BCC6"/>
            </a:solidFill>
          </p:spPr>
          <p:txBody>
            <a:bodyPr wrap="square" lIns="0" tIns="0" rIns="0" bIns="0" rtlCol="0"/>
            <a:lstStyle/>
            <a:p>
              <a:endParaRPr sz="1092" dirty="0"/>
            </a:p>
          </p:txBody>
        </p:sp>
        <p:sp>
          <p:nvSpPr>
            <p:cNvPr id="1108" name="object 1108"/>
            <p:cNvSpPr/>
            <p:nvPr/>
          </p:nvSpPr>
          <p:spPr>
            <a:xfrm>
              <a:off x="8597392" y="3392342"/>
              <a:ext cx="251447" cy="273780"/>
            </a:xfrm>
            <a:custGeom>
              <a:avLst/>
              <a:gdLst/>
              <a:ahLst/>
              <a:cxnLst/>
              <a:rect l="l" t="t" r="r" b="b"/>
              <a:pathLst>
                <a:path w="414655" h="451485">
                  <a:moveTo>
                    <a:pt x="261" y="0"/>
                  </a:moveTo>
                  <a:lnTo>
                    <a:pt x="0" y="216213"/>
                  </a:lnTo>
                  <a:lnTo>
                    <a:pt x="414144" y="451483"/>
                  </a:lnTo>
                  <a:lnTo>
                    <a:pt x="414144" y="422322"/>
                  </a:lnTo>
                  <a:lnTo>
                    <a:pt x="18083" y="197166"/>
                  </a:lnTo>
                  <a:lnTo>
                    <a:pt x="18083" y="10114"/>
                  </a:lnTo>
                  <a:lnTo>
                    <a:pt x="261" y="0"/>
                  </a:lnTo>
                  <a:close/>
                </a:path>
              </a:pathLst>
            </a:custGeom>
            <a:solidFill>
              <a:srgbClr val="F7F1F1"/>
            </a:solidFill>
          </p:spPr>
          <p:txBody>
            <a:bodyPr wrap="square" lIns="0" tIns="0" rIns="0" bIns="0" rtlCol="0"/>
            <a:lstStyle/>
            <a:p>
              <a:endParaRPr sz="1092" dirty="0"/>
            </a:p>
          </p:txBody>
        </p:sp>
        <p:sp>
          <p:nvSpPr>
            <p:cNvPr id="1109" name="object 1109"/>
            <p:cNvSpPr/>
            <p:nvPr/>
          </p:nvSpPr>
          <p:spPr>
            <a:xfrm>
              <a:off x="8597393" y="3555464"/>
              <a:ext cx="250978" cy="273926"/>
            </a:xfrm>
            <a:prstGeom prst="rect">
              <a:avLst/>
            </a:prstGeom>
            <a:blipFill>
              <a:blip r:embed="rId34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110" name="object 1110"/>
            <p:cNvSpPr/>
            <p:nvPr/>
          </p:nvSpPr>
          <p:spPr>
            <a:xfrm>
              <a:off x="8608354" y="3561749"/>
              <a:ext cx="240280" cy="249907"/>
            </a:xfrm>
            <a:custGeom>
              <a:avLst/>
              <a:gdLst/>
              <a:ahLst/>
              <a:cxnLst/>
              <a:rect l="l" t="t" r="r" b="b"/>
              <a:pathLst>
                <a:path w="396240" h="412114">
                  <a:moveTo>
                    <a:pt x="0" y="0"/>
                  </a:moveTo>
                  <a:lnTo>
                    <a:pt x="0" y="187051"/>
                  </a:lnTo>
                  <a:lnTo>
                    <a:pt x="395809" y="411956"/>
                  </a:lnTo>
                  <a:lnTo>
                    <a:pt x="395809" y="384721"/>
                  </a:lnTo>
                  <a:lnTo>
                    <a:pt x="22910" y="172602"/>
                  </a:lnTo>
                  <a:lnTo>
                    <a:pt x="23151" y="12774"/>
                  </a:lnTo>
                  <a:lnTo>
                    <a:pt x="0" y="0"/>
                  </a:lnTo>
                  <a:close/>
                </a:path>
              </a:pathLst>
            </a:custGeom>
            <a:solidFill>
              <a:srgbClr val="B9BCC6"/>
            </a:solidFill>
          </p:spPr>
          <p:txBody>
            <a:bodyPr wrap="square" lIns="0" tIns="0" rIns="0" bIns="0" rtlCol="0"/>
            <a:lstStyle/>
            <a:p>
              <a:endParaRPr sz="1092" dirty="0"/>
            </a:p>
          </p:txBody>
        </p:sp>
        <p:sp>
          <p:nvSpPr>
            <p:cNvPr id="1111" name="object 1111"/>
            <p:cNvSpPr/>
            <p:nvPr/>
          </p:nvSpPr>
          <p:spPr>
            <a:xfrm>
              <a:off x="8597392" y="3555466"/>
              <a:ext cx="251062" cy="274166"/>
            </a:xfrm>
            <a:custGeom>
              <a:avLst/>
              <a:gdLst/>
              <a:ahLst/>
              <a:cxnLst/>
              <a:rect l="l" t="t" r="r" b="b"/>
              <a:pathLst>
                <a:path w="414019" h="452120">
                  <a:moveTo>
                    <a:pt x="0" y="0"/>
                  </a:moveTo>
                  <a:lnTo>
                    <a:pt x="0" y="216464"/>
                  </a:lnTo>
                  <a:lnTo>
                    <a:pt x="413882" y="451724"/>
                  </a:lnTo>
                  <a:lnTo>
                    <a:pt x="413882" y="422322"/>
                  </a:lnTo>
                  <a:lnTo>
                    <a:pt x="18083" y="197418"/>
                  </a:lnTo>
                  <a:lnTo>
                    <a:pt x="18083" y="10366"/>
                  </a:lnTo>
                  <a:lnTo>
                    <a:pt x="0" y="0"/>
                  </a:lnTo>
                  <a:close/>
                </a:path>
              </a:pathLst>
            </a:custGeom>
            <a:solidFill>
              <a:srgbClr val="F7F1F1"/>
            </a:solidFill>
          </p:spPr>
          <p:txBody>
            <a:bodyPr wrap="square" lIns="0" tIns="0" rIns="0" bIns="0" rtlCol="0"/>
            <a:lstStyle/>
            <a:p>
              <a:endParaRPr sz="1092" dirty="0"/>
            </a:p>
          </p:txBody>
        </p:sp>
        <p:sp>
          <p:nvSpPr>
            <p:cNvPr id="1112" name="object 1112"/>
            <p:cNvSpPr/>
            <p:nvPr/>
          </p:nvSpPr>
          <p:spPr>
            <a:xfrm>
              <a:off x="8848672" y="3741252"/>
              <a:ext cx="204053" cy="248344"/>
            </a:xfrm>
            <a:prstGeom prst="rect">
              <a:avLst/>
            </a:prstGeom>
            <a:blipFill>
              <a:blip r:embed="rId34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113" name="object 1113"/>
            <p:cNvSpPr/>
            <p:nvPr/>
          </p:nvSpPr>
          <p:spPr>
            <a:xfrm>
              <a:off x="8848673" y="3747538"/>
              <a:ext cx="193302" cy="224493"/>
            </a:xfrm>
            <a:custGeom>
              <a:avLst/>
              <a:gdLst/>
              <a:ahLst/>
              <a:cxnLst/>
              <a:rect l="l" t="t" r="r" b="b"/>
              <a:pathLst>
                <a:path w="318769" h="370204">
                  <a:moveTo>
                    <a:pt x="318430" y="0"/>
                  </a:moveTo>
                  <a:lnTo>
                    <a:pt x="295519" y="13256"/>
                  </a:lnTo>
                  <a:lnTo>
                    <a:pt x="295519" y="173565"/>
                  </a:lnTo>
                  <a:lnTo>
                    <a:pt x="0" y="342764"/>
                  </a:lnTo>
                  <a:lnTo>
                    <a:pt x="0" y="369768"/>
                  </a:lnTo>
                  <a:lnTo>
                    <a:pt x="318670" y="187544"/>
                  </a:lnTo>
                  <a:lnTo>
                    <a:pt x="318430" y="0"/>
                  </a:lnTo>
                  <a:close/>
                </a:path>
              </a:pathLst>
            </a:custGeom>
            <a:solidFill>
              <a:srgbClr val="91949E"/>
            </a:solidFill>
          </p:spPr>
          <p:txBody>
            <a:bodyPr wrap="square" lIns="0" tIns="0" rIns="0" bIns="0" rtlCol="0"/>
            <a:lstStyle/>
            <a:p>
              <a:endParaRPr sz="1092" dirty="0"/>
            </a:p>
          </p:txBody>
        </p:sp>
        <p:sp>
          <p:nvSpPr>
            <p:cNvPr id="1114" name="object 1114"/>
            <p:cNvSpPr/>
            <p:nvPr/>
          </p:nvSpPr>
          <p:spPr>
            <a:xfrm>
              <a:off x="8848676" y="3741250"/>
              <a:ext cx="204084" cy="248367"/>
            </a:xfrm>
            <a:custGeom>
              <a:avLst/>
              <a:gdLst/>
              <a:ahLst/>
              <a:cxnLst/>
              <a:rect l="l" t="t" r="r" b="b"/>
              <a:pathLst>
                <a:path w="336550" h="409575">
                  <a:moveTo>
                    <a:pt x="336502" y="0"/>
                  </a:moveTo>
                  <a:lnTo>
                    <a:pt x="318419" y="10366"/>
                  </a:lnTo>
                  <a:lnTo>
                    <a:pt x="318660" y="197910"/>
                  </a:lnTo>
                  <a:lnTo>
                    <a:pt x="0" y="380135"/>
                  </a:lnTo>
                  <a:lnTo>
                    <a:pt x="0" y="409537"/>
                  </a:lnTo>
                  <a:lnTo>
                    <a:pt x="318419" y="227312"/>
                  </a:lnTo>
                  <a:lnTo>
                    <a:pt x="336502" y="217197"/>
                  </a:lnTo>
                  <a:lnTo>
                    <a:pt x="336502" y="0"/>
                  </a:lnTo>
                  <a:close/>
                </a:path>
              </a:pathLst>
            </a:custGeom>
            <a:solidFill>
              <a:srgbClr val="CAC4C4"/>
            </a:solidFill>
          </p:spPr>
          <p:txBody>
            <a:bodyPr wrap="square" lIns="0" tIns="0" rIns="0" bIns="0" rtlCol="0"/>
            <a:lstStyle/>
            <a:p>
              <a:endParaRPr sz="1092" dirty="0"/>
            </a:p>
          </p:txBody>
        </p:sp>
        <p:sp>
          <p:nvSpPr>
            <p:cNvPr id="1115" name="object 1115"/>
            <p:cNvSpPr/>
            <p:nvPr/>
          </p:nvSpPr>
          <p:spPr>
            <a:xfrm>
              <a:off x="8848530" y="3904963"/>
              <a:ext cx="204198" cy="247766"/>
            </a:xfrm>
            <a:prstGeom prst="rect">
              <a:avLst/>
            </a:prstGeom>
            <a:blipFill>
              <a:blip r:embed="rId34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116" name="object 1116"/>
            <p:cNvSpPr/>
            <p:nvPr/>
          </p:nvSpPr>
          <p:spPr>
            <a:xfrm>
              <a:off x="8848533" y="3911256"/>
              <a:ext cx="193687" cy="223723"/>
            </a:xfrm>
            <a:custGeom>
              <a:avLst/>
              <a:gdLst/>
              <a:ahLst/>
              <a:cxnLst/>
              <a:rect l="l" t="t" r="r" b="b"/>
              <a:pathLst>
                <a:path w="319405" h="368934">
                  <a:moveTo>
                    <a:pt x="318660" y="0"/>
                  </a:moveTo>
                  <a:lnTo>
                    <a:pt x="295750" y="12784"/>
                  </a:lnTo>
                  <a:lnTo>
                    <a:pt x="295750" y="172832"/>
                  </a:lnTo>
                  <a:lnTo>
                    <a:pt x="0" y="341801"/>
                  </a:lnTo>
                  <a:lnTo>
                    <a:pt x="0" y="368805"/>
                  </a:lnTo>
                  <a:lnTo>
                    <a:pt x="318901" y="187051"/>
                  </a:lnTo>
                  <a:lnTo>
                    <a:pt x="318660" y="0"/>
                  </a:lnTo>
                  <a:close/>
                </a:path>
              </a:pathLst>
            </a:custGeom>
            <a:solidFill>
              <a:srgbClr val="91949E"/>
            </a:solidFill>
          </p:spPr>
          <p:txBody>
            <a:bodyPr wrap="square" lIns="0" tIns="0" rIns="0" bIns="0" rtlCol="0"/>
            <a:lstStyle/>
            <a:p>
              <a:endParaRPr sz="1092" dirty="0"/>
            </a:p>
          </p:txBody>
        </p:sp>
        <p:sp>
          <p:nvSpPr>
            <p:cNvPr id="1117" name="object 1117"/>
            <p:cNvSpPr/>
            <p:nvPr/>
          </p:nvSpPr>
          <p:spPr>
            <a:xfrm>
              <a:off x="8848531" y="3904960"/>
              <a:ext cx="204469" cy="247982"/>
            </a:xfrm>
            <a:custGeom>
              <a:avLst/>
              <a:gdLst/>
              <a:ahLst/>
              <a:cxnLst/>
              <a:rect l="l" t="t" r="r" b="b"/>
              <a:pathLst>
                <a:path w="337184" h="408940">
                  <a:moveTo>
                    <a:pt x="336743" y="0"/>
                  </a:moveTo>
                  <a:lnTo>
                    <a:pt x="318660" y="10387"/>
                  </a:lnTo>
                  <a:lnTo>
                    <a:pt x="318901" y="197428"/>
                  </a:lnTo>
                  <a:lnTo>
                    <a:pt x="0" y="379182"/>
                  </a:lnTo>
                  <a:lnTo>
                    <a:pt x="0" y="408584"/>
                  </a:lnTo>
                  <a:lnTo>
                    <a:pt x="318660" y="226600"/>
                  </a:lnTo>
                  <a:lnTo>
                    <a:pt x="336743" y="216475"/>
                  </a:lnTo>
                  <a:lnTo>
                    <a:pt x="336743" y="0"/>
                  </a:lnTo>
                  <a:close/>
                </a:path>
              </a:pathLst>
            </a:custGeom>
            <a:solidFill>
              <a:srgbClr val="CAC4C4"/>
            </a:solidFill>
          </p:spPr>
          <p:txBody>
            <a:bodyPr wrap="square" lIns="0" tIns="0" rIns="0" bIns="0" rtlCol="0"/>
            <a:lstStyle/>
            <a:p>
              <a:endParaRPr sz="1092" dirty="0"/>
            </a:p>
          </p:txBody>
        </p:sp>
        <p:sp>
          <p:nvSpPr>
            <p:cNvPr id="1118" name="object 1118"/>
            <p:cNvSpPr/>
            <p:nvPr/>
          </p:nvSpPr>
          <p:spPr>
            <a:xfrm>
              <a:off x="8597393" y="3715823"/>
              <a:ext cx="251139" cy="273773"/>
            </a:xfrm>
            <a:prstGeom prst="rect">
              <a:avLst/>
            </a:prstGeom>
            <a:blipFill>
              <a:blip r:embed="rId34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119" name="object 1119"/>
            <p:cNvSpPr/>
            <p:nvPr/>
          </p:nvSpPr>
          <p:spPr>
            <a:xfrm>
              <a:off x="8608357" y="3721962"/>
              <a:ext cx="240280" cy="249907"/>
            </a:xfrm>
            <a:custGeom>
              <a:avLst/>
              <a:gdLst/>
              <a:ahLst/>
              <a:cxnLst/>
              <a:rect l="l" t="t" r="r" b="b"/>
              <a:pathLst>
                <a:path w="396240" h="412115">
                  <a:moveTo>
                    <a:pt x="0" y="0"/>
                  </a:moveTo>
                  <a:lnTo>
                    <a:pt x="0" y="187041"/>
                  </a:lnTo>
                  <a:lnTo>
                    <a:pt x="396061" y="411945"/>
                  </a:lnTo>
                  <a:lnTo>
                    <a:pt x="396061" y="384951"/>
                  </a:lnTo>
                  <a:lnTo>
                    <a:pt x="23140" y="173062"/>
                  </a:lnTo>
                  <a:lnTo>
                    <a:pt x="23140" y="13245"/>
                  </a:lnTo>
                  <a:lnTo>
                    <a:pt x="0" y="0"/>
                  </a:lnTo>
                  <a:close/>
                </a:path>
              </a:pathLst>
            </a:custGeom>
            <a:solidFill>
              <a:srgbClr val="B9BCC6"/>
            </a:solidFill>
          </p:spPr>
          <p:txBody>
            <a:bodyPr wrap="square" lIns="0" tIns="0" rIns="0" bIns="0" rtlCol="0"/>
            <a:lstStyle/>
            <a:p>
              <a:endParaRPr sz="1092" dirty="0"/>
            </a:p>
          </p:txBody>
        </p:sp>
        <p:sp>
          <p:nvSpPr>
            <p:cNvPr id="1120" name="object 1120"/>
            <p:cNvSpPr/>
            <p:nvPr/>
          </p:nvSpPr>
          <p:spPr>
            <a:xfrm>
              <a:off x="8597392" y="3715822"/>
              <a:ext cx="251447" cy="273780"/>
            </a:xfrm>
            <a:custGeom>
              <a:avLst/>
              <a:gdLst/>
              <a:ahLst/>
              <a:cxnLst/>
              <a:rect l="l" t="t" r="r" b="b"/>
              <a:pathLst>
                <a:path w="414655" h="451484">
                  <a:moveTo>
                    <a:pt x="261" y="0"/>
                  </a:moveTo>
                  <a:lnTo>
                    <a:pt x="0" y="216213"/>
                  </a:lnTo>
                  <a:lnTo>
                    <a:pt x="18083" y="226830"/>
                  </a:lnTo>
                  <a:lnTo>
                    <a:pt x="41223" y="239584"/>
                  </a:lnTo>
                  <a:lnTo>
                    <a:pt x="414144" y="451473"/>
                  </a:lnTo>
                  <a:lnTo>
                    <a:pt x="414144" y="422070"/>
                  </a:lnTo>
                  <a:lnTo>
                    <a:pt x="18083" y="197166"/>
                  </a:lnTo>
                  <a:lnTo>
                    <a:pt x="18083" y="10114"/>
                  </a:lnTo>
                  <a:lnTo>
                    <a:pt x="261" y="0"/>
                  </a:lnTo>
                  <a:close/>
                </a:path>
              </a:pathLst>
            </a:custGeom>
            <a:solidFill>
              <a:srgbClr val="F7F1F1"/>
            </a:solidFill>
          </p:spPr>
          <p:txBody>
            <a:bodyPr wrap="square" lIns="0" tIns="0" rIns="0" bIns="0" rtlCol="0"/>
            <a:lstStyle/>
            <a:p>
              <a:endParaRPr sz="1092" dirty="0"/>
            </a:p>
          </p:txBody>
        </p:sp>
        <p:sp>
          <p:nvSpPr>
            <p:cNvPr id="1121" name="object 1121"/>
            <p:cNvSpPr/>
            <p:nvPr/>
          </p:nvSpPr>
          <p:spPr>
            <a:xfrm>
              <a:off x="8597395" y="3879095"/>
              <a:ext cx="250978" cy="273792"/>
            </a:xfrm>
            <a:prstGeom prst="rect">
              <a:avLst/>
            </a:prstGeom>
            <a:blipFill>
              <a:blip r:embed="rId34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122" name="object 1122"/>
            <p:cNvSpPr/>
            <p:nvPr/>
          </p:nvSpPr>
          <p:spPr>
            <a:xfrm>
              <a:off x="8608354" y="3885376"/>
              <a:ext cx="240280" cy="249907"/>
            </a:xfrm>
            <a:custGeom>
              <a:avLst/>
              <a:gdLst/>
              <a:ahLst/>
              <a:cxnLst/>
              <a:rect l="l" t="t" r="r" b="b"/>
              <a:pathLst>
                <a:path w="396240" h="412115">
                  <a:moveTo>
                    <a:pt x="0" y="0"/>
                  </a:moveTo>
                  <a:lnTo>
                    <a:pt x="0" y="187072"/>
                  </a:lnTo>
                  <a:lnTo>
                    <a:pt x="395809" y="411715"/>
                  </a:lnTo>
                  <a:lnTo>
                    <a:pt x="395809" y="384480"/>
                  </a:lnTo>
                  <a:lnTo>
                    <a:pt x="22910" y="172832"/>
                  </a:lnTo>
                  <a:lnTo>
                    <a:pt x="23151" y="13015"/>
                  </a:lnTo>
                  <a:lnTo>
                    <a:pt x="0" y="0"/>
                  </a:lnTo>
                  <a:close/>
                </a:path>
              </a:pathLst>
            </a:custGeom>
            <a:solidFill>
              <a:srgbClr val="B9BCC6"/>
            </a:solidFill>
          </p:spPr>
          <p:txBody>
            <a:bodyPr wrap="square" lIns="0" tIns="0" rIns="0" bIns="0" rtlCol="0"/>
            <a:lstStyle/>
            <a:p>
              <a:endParaRPr sz="1092" dirty="0"/>
            </a:p>
          </p:txBody>
        </p:sp>
        <p:sp>
          <p:nvSpPr>
            <p:cNvPr id="1123" name="object 1123"/>
            <p:cNvSpPr/>
            <p:nvPr/>
          </p:nvSpPr>
          <p:spPr>
            <a:xfrm>
              <a:off x="8597392" y="3879093"/>
              <a:ext cx="251062" cy="274166"/>
            </a:xfrm>
            <a:custGeom>
              <a:avLst/>
              <a:gdLst/>
              <a:ahLst/>
              <a:cxnLst/>
              <a:rect l="l" t="t" r="r" b="b"/>
              <a:pathLst>
                <a:path w="414019" h="452120">
                  <a:moveTo>
                    <a:pt x="0" y="0"/>
                  </a:moveTo>
                  <a:lnTo>
                    <a:pt x="0" y="216485"/>
                  </a:lnTo>
                  <a:lnTo>
                    <a:pt x="413882" y="451504"/>
                  </a:lnTo>
                  <a:lnTo>
                    <a:pt x="413882" y="422081"/>
                  </a:lnTo>
                  <a:lnTo>
                    <a:pt x="18083" y="197439"/>
                  </a:lnTo>
                  <a:lnTo>
                    <a:pt x="18083" y="10366"/>
                  </a:lnTo>
                  <a:lnTo>
                    <a:pt x="0" y="0"/>
                  </a:lnTo>
                  <a:close/>
                </a:path>
              </a:pathLst>
            </a:custGeom>
            <a:solidFill>
              <a:srgbClr val="F7F1F1"/>
            </a:solidFill>
          </p:spPr>
          <p:txBody>
            <a:bodyPr wrap="square" lIns="0" tIns="0" rIns="0" bIns="0" rtlCol="0"/>
            <a:lstStyle/>
            <a:p>
              <a:endParaRPr sz="1092" dirty="0"/>
            </a:p>
          </p:txBody>
        </p:sp>
        <p:sp>
          <p:nvSpPr>
            <p:cNvPr id="1124" name="object 1124"/>
            <p:cNvSpPr/>
            <p:nvPr/>
          </p:nvSpPr>
          <p:spPr>
            <a:xfrm>
              <a:off x="9002012" y="3026461"/>
              <a:ext cx="114364" cy="84714"/>
            </a:xfrm>
            <a:custGeom>
              <a:avLst/>
              <a:gdLst/>
              <a:ahLst/>
              <a:cxnLst/>
              <a:rect l="l" t="t" r="r" b="b"/>
              <a:pathLst>
                <a:path w="188594" h="139700">
                  <a:moveTo>
                    <a:pt x="73285" y="0"/>
                  </a:moveTo>
                  <a:lnTo>
                    <a:pt x="21915" y="48207"/>
                  </a:lnTo>
                  <a:lnTo>
                    <a:pt x="0" y="139084"/>
                  </a:lnTo>
                  <a:lnTo>
                    <a:pt x="84112" y="122457"/>
                  </a:lnTo>
                  <a:lnTo>
                    <a:pt x="188256" y="58584"/>
                  </a:lnTo>
                  <a:lnTo>
                    <a:pt x="73285" y="0"/>
                  </a:lnTo>
                  <a:close/>
                </a:path>
              </a:pathLst>
            </a:custGeom>
            <a:solidFill>
              <a:srgbClr val="BABABB"/>
            </a:solidFill>
          </p:spPr>
          <p:txBody>
            <a:bodyPr wrap="square" lIns="0" tIns="0" rIns="0" bIns="0" rtlCol="0"/>
            <a:lstStyle/>
            <a:p>
              <a:endParaRPr sz="1092" dirty="0"/>
            </a:p>
          </p:txBody>
        </p:sp>
        <p:sp>
          <p:nvSpPr>
            <p:cNvPr id="1125" name="object 1125"/>
            <p:cNvSpPr/>
            <p:nvPr/>
          </p:nvSpPr>
          <p:spPr>
            <a:xfrm>
              <a:off x="8939891" y="2999712"/>
              <a:ext cx="62380" cy="111284"/>
            </a:xfrm>
            <a:custGeom>
              <a:avLst/>
              <a:gdLst/>
              <a:ahLst/>
              <a:cxnLst/>
              <a:rect l="l" t="t" r="r" b="b"/>
              <a:pathLst>
                <a:path w="102869" h="183514">
                  <a:moveTo>
                    <a:pt x="0" y="0"/>
                  </a:moveTo>
                  <a:lnTo>
                    <a:pt x="0" y="127996"/>
                  </a:lnTo>
                  <a:lnTo>
                    <a:pt x="102447" y="183198"/>
                  </a:lnTo>
                  <a:lnTo>
                    <a:pt x="102185" y="55202"/>
                  </a:lnTo>
                  <a:lnTo>
                    <a:pt x="0" y="0"/>
                  </a:lnTo>
                  <a:close/>
                </a:path>
              </a:pathLst>
            </a:custGeom>
            <a:solidFill>
              <a:srgbClr val="F7F1F1"/>
            </a:solidFill>
          </p:spPr>
          <p:txBody>
            <a:bodyPr wrap="square" lIns="0" tIns="0" rIns="0" bIns="0" rtlCol="0"/>
            <a:lstStyle/>
            <a:p>
              <a:endParaRPr sz="1092" dirty="0"/>
            </a:p>
          </p:txBody>
        </p:sp>
        <p:sp>
          <p:nvSpPr>
            <p:cNvPr id="1126" name="object 1126"/>
            <p:cNvSpPr/>
            <p:nvPr/>
          </p:nvSpPr>
          <p:spPr>
            <a:xfrm>
              <a:off x="9001856" y="2994308"/>
              <a:ext cx="62766" cy="116675"/>
            </a:xfrm>
            <a:custGeom>
              <a:avLst/>
              <a:gdLst/>
              <a:ahLst/>
              <a:cxnLst/>
              <a:rect l="l" t="t" r="r" b="b"/>
              <a:pathLst>
                <a:path w="103505" h="192404">
                  <a:moveTo>
                    <a:pt x="102949" y="0"/>
                  </a:moveTo>
                  <a:lnTo>
                    <a:pt x="0" y="64113"/>
                  </a:lnTo>
                  <a:lnTo>
                    <a:pt x="261" y="192109"/>
                  </a:lnTo>
                  <a:lnTo>
                    <a:pt x="102949" y="127985"/>
                  </a:lnTo>
                  <a:lnTo>
                    <a:pt x="102949" y="0"/>
                  </a:lnTo>
                  <a:close/>
                </a:path>
              </a:pathLst>
            </a:custGeom>
            <a:solidFill>
              <a:srgbClr val="CAC4C4"/>
            </a:solidFill>
          </p:spPr>
          <p:txBody>
            <a:bodyPr wrap="square" lIns="0" tIns="0" rIns="0" bIns="0" rtlCol="0"/>
            <a:lstStyle/>
            <a:p>
              <a:endParaRPr sz="1092" dirty="0"/>
            </a:p>
          </p:txBody>
        </p:sp>
        <p:sp>
          <p:nvSpPr>
            <p:cNvPr id="1127" name="object 1127"/>
            <p:cNvSpPr/>
            <p:nvPr/>
          </p:nvSpPr>
          <p:spPr>
            <a:xfrm>
              <a:off x="9006393" y="3004977"/>
              <a:ext cx="54816" cy="92964"/>
            </a:xfrm>
            <a:prstGeom prst="rect">
              <a:avLst/>
            </a:prstGeom>
            <a:blipFill>
              <a:blip r:embed="rId34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128" name="object 1128"/>
            <p:cNvSpPr/>
            <p:nvPr/>
          </p:nvSpPr>
          <p:spPr>
            <a:xfrm>
              <a:off x="9006542" y="3063005"/>
              <a:ext cx="54679" cy="35041"/>
            </a:xfrm>
            <a:custGeom>
              <a:avLst/>
              <a:gdLst/>
              <a:ahLst/>
              <a:cxnLst/>
              <a:rect l="l" t="t" r="r" b="b"/>
              <a:pathLst>
                <a:path w="90169" h="57785">
                  <a:moveTo>
                    <a:pt x="90154" y="0"/>
                  </a:moveTo>
                  <a:lnTo>
                    <a:pt x="0" y="55202"/>
                  </a:lnTo>
                  <a:lnTo>
                    <a:pt x="0" y="57369"/>
                  </a:lnTo>
                  <a:lnTo>
                    <a:pt x="90154" y="1444"/>
                  </a:lnTo>
                  <a:lnTo>
                    <a:pt x="90154" y="0"/>
                  </a:lnTo>
                  <a:close/>
                </a:path>
              </a:pathLst>
            </a:custGeom>
            <a:solidFill>
              <a:srgbClr val="8B8787"/>
            </a:solidFill>
          </p:spPr>
          <p:txBody>
            <a:bodyPr wrap="square" lIns="0" tIns="0" rIns="0" bIns="0" rtlCol="0"/>
            <a:lstStyle/>
            <a:p>
              <a:endParaRPr sz="1092" dirty="0"/>
            </a:p>
          </p:txBody>
        </p:sp>
        <p:sp>
          <p:nvSpPr>
            <p:cNvPr id="1129" name="object 1129"/>
            <p:cNvSpPr/>
            <p:nvPr/>
          </p:nvSpPr>
          <p:spPr>
            <a:xfrm>
              <a:off x="9006395" y="3050436"/>
              <a:ext cx="55064" cy="35041"/>
            </a:xfrm>
            <a:custGeom>
              <a:avLst/>
              <a:gdLst/>
              <a:ahLst/>
              <a:cxnLst/>
              <a:rect l="l" t="t" r="r" b="b"/>
              <a:pathLst>
                <a:path w="90805" h="57785">
                  <a:moveTo>
                    <a:pt x="90395" y="0"/>
                  </a:moveTo>
                  <a:lnTo>
                    <a:pt x="0" y="55202"/>
                  </a:lnTo>
                  <a:lnTo>
                    <a:pt x="0" y="57369"/>
                  </a:lnTo>
                  <a:lnTo>
                    <a:pt x="90395" y="1444"/>
                  </a:lnTo>
                  <a:lnTo>
                    <a:pt x="90395" y="0"/>
                  </a:lnTo>
                  <a:close/>
                </a:path>
              </a:pathLst>
            </a:custGeom>
            <a:solidFill>
              <a:srgbClr val="8B8787"/>
            </a:solidFill>
          </p:spPr>
          <p:txBody>
            <a:bodyPr wrap="square" lIns="0" tIns="0" rIns="0" bIns="0" rtlCol="0"/>
            <a:lstStyle/>
            <a:p>
              <a:endParaRPr sz="1092" dirty="0"/>
            </a:p>
          </p:txBody>
        </p:sp>
        <p:sp>
          <p:nvSpPr>
            <p:cNvPr id="1130" name="object 1130"/>
            <p:cNvSpPr/>
            <p:nvPr/>
          </p:nvSpPr>
          <p:spPr>
            <a:xfrm>
              <a:off x="9006395" y="3037867"/>
              <a:ext cx="55064" cy="35041"/>
            </a:xfrm>
            <a:custGeom>
              <a:avLst/>
              <a:gdLst/>
              <a:ahLst/>
              <a:cxnLst/>
              <a:rect l="l" t="t" r="r" b="b"/>
              <a:pathLst>
                <a:path w="90805" h="57785">
                  <a:moveTo>
                    <a:pt x="90395" y="0"/>
                  </a:moveTo>
                  <a:lnTo>
                    <a:pt x="0" y="55202"/>
                  </a:lnTo>
                  <a:lnTo>
                    <a:pt x="0" y="57369"/>
                  </a:lnTo>
                  <a:lnTo>
                    <a:pt x="90395" y="1434"/>
                  </a:lnTo>
                  <a:lnTo>
                    <a:pt x="90395" y="0"/>
                  </a:lnTo>
                  <a:close/>
                </a:path>
              </a:pathLst>
            </a:custGeom>
            <a:solidFill>
              <a:srgbClr val="8B8787"/>
            </a:solidFill>
          </p:spPr>
          <p:txBody>
            <a:bodyPr wrap="square" lIns="0" tIns="0" rIns="0" bIns="0" rtlCol="0"/>
            <a:lstStyle/>
            <a:p>
              <a:endParaRPr sz="1092" dirty="0"/>
            </a:p>
          </p:txBody>
        </p:sp>
        <p:sp>
          <p:nvSpPr>
            <p:cNvPr id="1131" name="object 1131"/>
            <p:cNvSpPr/>
            <p:nvPr/>
          </p:nvSpPr>
          <p:spPr>
            <a:xfrm>
              <a:off x="9006395" y="3025291"/>
              <a:ext cx="55064" cy="35041"/>
            </a:xfrm>
            <a:custGeom>
              <a:avLst/>
              <a:gdLst/>
              <a:ahLst/>
              <a:cxnLst/>
              <a:rect l="l" t="t" r="r" b="b"/>
              <a:pathLst>
                <a:path w="90805" h="57785">
                  <a:moveTo>
                    <a:pt x="90395" y="0"/>
                  </a:moveTo>
                  <a:lnTo>
                    <a:pt x="0" y="55202"/>
                  </a:lnTo>
                  <a:lnTo>
                    <a:pt x="0" y="57380"/>
                  </a:lnTo>
                  <a:lnTo>
                    <a:pt x="90395" y="1444"/>
                  </a:lnTo>
                  <a:lnTo>
                    <a:pt x="90395" y="0"/>
                  </a:lnTo>
                  <a:close/>
                </a:path>
              </a:pathLst>
            </a:custGeom>
            <a:solidFill>
              <a:srgbClr val="8B8787"/>
            </a:solidFill>
          </p:spPr>
          <p:txBody>
            <a:bodyPr wrap="square" lIns="0" tIns="0" rIns="0" bIns="0" rtlCol="0"/>
            <a:lstStyle/>
            <a:p>
              <a:endParaRPr sz="1092" dirty="0"/>
            </a:p>
          </p:txBody>
        </p:sp>
        <p:sp>
          <p:nvSpPr>
            <p:cNvPr id="1132" name="object 1132"/>
            <p:cNvSpPr/>
            <p:nvPr/>
          </p:nvSpPr>
          <p:spPr>
            <a:xfrm>
              <a:off x="9006395" y="3012722"/>
              <a:ext cx="55064" cy="35041"/>
            </a:xfrm>
            <a:custGeom>
              <a:avLst/>
              <a:gdLst/>
              <a:ahLst/>
              <a:cxnLst/>
              <a:rect l="l" t="t" r="r" b="b"/>
              <a:pathLst>
                <a:path w="90805" h="57785">
                  <a:moveTo>
                    <a:pt x="90395" y="0"/>
                  </a:moveTo>
                  <a:lnTo>
                    <a:pt x="0" y="55432"/>
                  </a:lnTo>
                  <a:lnTo>
                    <a:pt x="0" y="57369"/>
                  </a:lnTo>
                  <a:lnTo>
                    <a:pt x="90395" y="1685"/>
                  </a:lnTo>
                  <a:lnTo>
                    <a:pt x="90395" y="0"/>
                  </a:lnTo>
                  <a:close/>
                </a:path>
              </a:pathLst>
            </a:custGeom>
            <a:solidFill>
              <a:srgbClr val="8B8787"/>
            </a:solidFill>
          </p:spPr>
          <p:txBody>
            <a:bodyPr wrap="square" lIns="0" tIns="0" rIns="0" bIns="0" rtlCol="0"/>
            <a:lstStyle/>
            <a:p>
              <a:endParaRPr sz="1092" dirty="0"/>
            </a:p>
          </p:txBody>
        </p:sp>
        <p:sp>
          <p:nvSpPr>
            <p:cNvPr id="1133" name="object 1133"/>
            <p:cNvSpPr/>
            <p:nvPr/>
          </p:nvSpPr>
          <p:spPr>
            <a:xfrm>
              <a:off x="9010343" y="3036547"/>
              <a:ext cx="0" cy="59300"/>
            </a:xfrm>
            <a:custGeom>
              <a:avLst/>
              <a:gdLst/>
              <a:ahLst/>
              <a:cxnLst/>
              <a:rect l="l" t="t" r="r" b="b"/>
              <a:pathLst>
                <a:path h="97789">
                  <a:moveTo>
                    <a:pt x="0" y="0"/>
                  </a:moveTo>
                  <a:lnTo>
                    <a:pt x="0" y="97389"/>
                  </a:lnTo>
                </a:path>
              </a:pathLst>
            </a:custGeom>
            <a:ln w="3175">
              <a:solidFill>
                <a:srgbClr val="8B8787"/>
              </a:solidFill>
            </a:ln>
          </p:spPr>
          <p:txBody>
            <a:bodyPr wrap="square" lIns="0" tIns="0" rIns="0" bIns="0" rtlCol="0"/>
            <a:lstStyle/>
            <a:p>
              <a:endParaRPr sz="1092" dirty="0"/>
            </a:p>
          </p:txBody>
        </p:sp>
        <p:sp>
          <p:nvSpPr>
            <p:cNvPr id="1134" name="object 1134"/>
            <p:cNvSpPr/>
            <p:nvPr/>
          </p:nvSpPr>
          <p:spPr>
            <a:xfrm>
              <a:off x="9014503" y="3033769"/>
              <a:ext cx="0" cy="59300"/>
            </a:xfrm>
            <a:custGeom>
              <a:avLst/>
              <a:gdLst/>
              <a:ahLst/>
              <a:cxnLst/>
              <a:rect l="l" t="t" r="r" b="b"/>
              <a:pathLst>
                <a:path h="97789">
                  <a:moveTo>
                    <a:pt x="0" y="0"/>
                  </a:moveTo>
                  <a:lnTo>
                    <a:pt x="0" y="97630"/>
                  </a:lnTo>
                </a:path>
              </a:pathLst>
            </a:custGeom>
            <a:ln w="3175">
              <a:solidFill>
                <a:srgbClr val="8B8787"/>
              </a:solidFill>
            </a:ln>
          </p:spPr>
          <p:txBody>
            <a:bodyPr wrap="square" lIns="0" tIns="0" rIns="0" bIns="0" rtlCol="0"/>
            <a:lstStyle/>
            <a:p>
              <a:endParaRPr sz="1092" dirty="0"/>
            </a:p>
          </p:txBody>
        </p:sp>
        <p:sp>
          <p:nvSpPr>
            <p:cNvPr id="1135" name="object 1135"/>
            <p:cNvSpPr/>
            <p:nvPr/>
          </p:nvSpPr>
          <p:spPr>
            <a:xfrm>
              <a:off x="9018813" y="3031286"/>
              <a:ext cx="0" cy="59300"/>
            </a:xfrm>
            <a:custGeom>
              <a:avLst/>
              <a:gdLst/>
              <a:ahLst/>
              <a:cxnLst/>
              <a:rect l="l" t="t" r="r" b="b"/>
              <a:pathLst>
                <a:path h="97789">
                  <a:moveTo>
                    <a:pt x="0" y="0"/>
                  </a:moveTo>
                  <a:lnTo>
                    <a:pt x="0" y="97389"/>
                  </a:lnTo>
                </a:path>
              </a:pathLst>
            </a:custGeom>
            <a:ln w="3175">
              <a:solidFill>
                <a:srgbClr val="8B8787"/>
              </a:solidFill>
            </a:ln>
          </p:spPr>
          <p:txBody>
            <a:bodyPr wrap="square" lIns="0" tIns="0" rIns="0" bIns="0" rtlCol="0"/>
            <a:lstStyle/>
            <a:p>
              <a:endParaRPr sz="1092" dirty="0"/>
            </a:p>
          </p:txBody>
        </p:sp>
        <p:sp>
          <p:nvSpPr>
            <p:cNvPr id="1136" name="object 1136"/>
            <p:cNvSpPr/>
            <p:nvPr/>
          </p:nvSpPr>
          <p:spPr>
            <a:xfrm>
              <a:off x="9022982" y="3028652"/>
              <a:ext cx="0" cy="59300"/>
            </a:xfrm>
            <a:custGeom>
              <a:avLst/>
              <a:gdLst/>
              <a:ahLst/>
              <a:cxnLst/>
              <a:rect l="l" t="t" r="r" b="b"/>
              <a:pathLst>
                <a:path h="97789">
                  <a:moveTo>
                    <a:pt x="0" y="0"/>
                  </a:moveTo>
                  <a:lnTo>
                    <a:pt x="0" y="97389"/>
                  </a:lnTo>
                </a:path>
              </a:pathLst>
            </a:custGeom>
            <a:ln w="3175">
              <a:solidFill>
                <a:srgbClr val="8B8787"/>
              </a:solidFill>
            </a:ln>
          </p:spPr>
          <p:txBody>
            <a:bodyPr wrap="square" lIns="0" tIns="0" rIns="0" bIns="0" rtlCol="0"/>
            <a:lstStyle/>
            <a:p>
              <a:endParaRPr sz="1092" dirty="0"/>
            </a:p>
          </p:txBody>
        </p:sp>
        <p:sp>
          <p:nvSpPr>
            <p:cNvPr id="1137" name="object 1137"/>
            <p:cNvSpPr/>
            <p:nvPr/>
          </p:nvSpPr>
          <p:spPr>
            <a:xfrm>
              <a:off x="9027223" y="3026025"/>
              <a:ext cx="0" cy="59300"/>
            </a:xfrm>
            <a:custGeom>
              <a:avLst/>
              <a:gdLst/>
              <a:ahLst/>
              <a:cxnLst/>
              <a:rect l="l" t="t" r="r" b="b"/>
              <a:pathLst>
                <a:path h="97789">
                  <a:moveTo>
                    <a:pt x="0" y="0"/>
                  </a:moveTo>
                  <a:lnTo>
                    <a:pt x="0" y="97389"/>
                  </a:lnTo>
                </a:path>
              </a:pathLst>
            </a:custGeom>
            <a:ln w="3175">
              <a:solidFill>
                <a:srgbClr val="8B8787"/>
              </a:solidFill>
            </a:ln>
          </p:spPr>
          <p:txBody>
            <a:bodyPr wrap="square" lIns="0" tIns="0" rIns="0" bIns="0" rtlCol="0"/>
            <a:lstStyle/>
            <a:p>
              <a:endParaRPr sz="1092" dirty="0"/>
            </a:p>
          </p:txBody>
        </p:sp>
        <p:sp>
          <p:nvSpPr>
            <p:cNvPr id="1138" name="object 1138"/>
            <p:cNvSpPr/>
            <p:nvPr/>
          </p:nvSpPr>
          <p:spPr>
            <a:xfrm>
              <a:off x="9031462" y="3023393"/>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1139" name="object 1139"/>
            <p:cNvSpPr/>
            <p:nvPr/>
          </p:nvSpPr>
          <p:spPr>
            <a:xfrm>
              <a:off x="9035774" y="3020759"/>
              <a:ext cx="0" cy="59300"/>
            </a:xfrm>
            <a:custGeom>
              <a:avLst/>
              <a:gdLst/>
              <a:ahLst/>
              <a:cxnLst/>
              <a:rect l="l" t="t" r="r" b="b"/>
              <a:pathLst>
                <a:path h="97789">
                  <a:moveTo>
                    <a:pt x="0" y="0"/>
                  </a:moveTo>
                  <a:lnTo>
                    <a:pt x="0" y="97630"/>
                  </a:lnTo>
                </a:path>
              </a:pathLst>
            </a:custGeom>
            <a:ln w="3175">
              <a:solidFill>
                <a:srgbClr val="8B8787"/>
              </a:solidFill>
            </a:ln>
          </p:spPr>
          <p:txBody>
            <a:bodyPr wrap="square" lIns="0" tIns="0" rIns="0" bIns="0" rtlCol="0"/>
            <a:lstStyle/>
            <a:p>
              <a:endParaRPr sz="1092" dirty="0"/>
            </a:p>
          </p:txBody>
        </p:sp>
        <p:sp>
          <p:nvSpPr>
            <p:cNvPr id="1140" name="object 1140"/>
            <p:cNvSpPr/>
            <p:nvPr/>
          </p:nvSpPr>
          <p:spPr>
            <a:xfrm>
              <a:off x="9040012" y="3018132"/>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1141" name="object 1141"/>
            <p:cNvSpPr/>
            <p:nvPr/>
          </p:nvSpPr>
          <p:spPr>
            <a:xfrm>
              <a:off x="9044254" y="3015498"/>
              <a:ext cx="0" cy="59300"/>
            </a:xfrm>
            <a:custGeom>
              <a:avLst/>
              <a:gdLst/>
              <a:ahLst/>
              <a:cxnLst/>
              <a:rect l="l" t="t" r="r" b="b"/>
              <a:pathLst>
                <a:path h="97789">
                  <a:moveTo>
                    <a:pt x="0" y="0"/>
                  </a:moveTo>
                  <a:lnTo>
                    <a:pt x="0" y="97630"/>
                  </a:lnTo>
                </a:path>
              </a:pathLst>
            </a:custGeom>
            <a:ln w="3175">
              <a:solidFill>
                <a:srgbClr val="8B8787"/>
              </a:solidFill>
            </a:ln>
          </p:spPr>
          <p:txBody>
            <a:bodyPr wrap="square" lIns="0" tIns="0" rIns="0" bIns="0" rtlCol="0"/>
            <a:lstStyle/>
            <a:p>
              <a:endParaRPr sz="1092" dirty="0"/>
            </a:p>
          </p:txBody>
        </p:sp>
        <p:sp>
          <p:nvSpPr>
            <p:cNvPr id="1142" name="object 1142"/>
            <p:cNvSpPr/>
            <p:nvPr/>
          </p:nvSpPr>
          <p:spPr>
            <a:xfrm>
              <a:off x="9048492" y="3012871"/>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1143" name="object 1143"/>
            <p:cNvSpPr/>
            <p:nvPr/>
          </p:nvSpPr>
          <p:spPr>
            <a:xfrm>
              <a:off x="9052733" y="3010380"/>
              <a:ext cx="0" cy="59300"/>
            </a:xfrm>
            <a:custGeom>
              <a:avLst/>
              <a:gdLst/>
              <a:ahLst/>
              <a:cxnLst/>
              <a:rect l="l" t="t" r="r" b="b"/>
              <a:pathLst>
                <a:path h="97789">
                  <a:moveTo>
                    <a:pt x="0" y="0"/>
                  </a:moveTo>
                  <a:lnTo>
                    <a:pt x="0" y="97389"/>
                  </a:lnTo>
                </a:path>
              </a:pathLst>
            </a:custGeom>
            <a:ln w="3175">
              <a:solidFill>
                <a:srgbClr val="8B8787"/>
              </a:solidFill>
            </a:ln>
          </p:spPr>
          <p:txBody>
            <a:bodyPr wrap="square" lIns="0" tIns="0" rIns="0" bIns="0" rtlCol="0"/>
            <a:lstStyle/>
            <a:p>
              <a:endParaRPr sz="1092" dirty="0"/>
            </a:p>
          </p:txBody>
        </p:sp>
        <p:sp>
          <p:nvSpPr>
            <p:cNvPr id="1144" name="object 1144"/>
            <p:cNvSpPr/>
            <p:nvPr/>
          </p:nvSpPr>
          <p:spPr>
            <a:xfrm>
              <a:off x="9057115" y="3007754"/>
              <a:ext cx="0" cy="59300"/>
            </a:xfrm>
            <a:custGeom>
              <a:avLst/>
              <a:gdLst/>
              <a:ahLst/>
              <a:cxnLst/>
              <a:rect l="l" t="t" r="r" b="b"/>
              <a:pathLst>
                <a:path h="97789">
                  <a:moveTo>
                    <a:pt x="0" y="0"/>
                  </a:moveTo>
                  <a:lnTo>
                    <a:pt x="0" y="97389"/>
                  </a:lnTo>
                </a:path>
              </a:pathLst>
            </a:custGeom>
            <a:ln w="3175">
              <a:solidFill>
                <a:srgbClr val="8B8787"/>
              </a:solidFill>
            </a:ln>
          </p:spPr>
          <p:txBody>
            <a:bodyPr wrap="square" lIns="0" tIns="0" rIns="0" bIns="0" rtlCol="0"/>
            <a:lstStyle/>
            <a:p>
              <a:endParaRPr sz="1092" dirty="0"/>
            </a:p>
          </p:txBody>
        </p:sp>
        <p:sp>
          <p:nvSpPr>
            <p:cNvPr id="1145" name="object 1145"/>
            <p:cNvSpPr/>
            <p:nvPr/>
          </p:nvSpPr>
          <p:spPr>
            <a:xfrm>
              <a:off x="8942517" y="3010089"/>
              <a:ext cx="54816" cy="87852"/>
            </a:xfrm>
            <a:prstGeom prst="rect">
              <a:avLst/>
            </a:prstGeom>
            <a:blipFill>
              <a:blip r:embed="rId34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146" name="object 1146"/>
            <p:cNvSpPr/>
            <p:nvPr/>
          </p:nvSpPr>
          <p:spPr>
            <a:xfrm>
              <a:off x="8942656" y="3068120"/>
              <a:ext cx="54679" cy="30420"/>
            </a:xfrm>
            <a:custGeom>
              <a:avLst/>
              <a:gdLst/>
              <a:ahLst/>
              <a:cxnLst/>
              <a:rect l="l" t="t" r="r" b="b"/>
              <a:pathLst>
                <a:path w="90169" h="50164">
                  <a:moveTo>
                    <a:pt x="0" y="0"/>
                  </a:moveTo>
                  <a:lnTo>
                    <a:pt x="0" y="1455"/>
                  </a:lnTo>
                  <a:lnTo>
                    <a:pt x="90164" y="49663"/>
                  </a:lnTo>
                  <a:lnTo>
                    <a:pt x="90164" y="47495"/>
                  </a:lnTo>
                  <a:lnTo>
                    <a:pt x="0" y="0"/>
                  </a:lnTo>
                  <a:close/>
                </a:path>
              </a:pathLst>
            </a:custGeom>
            <a:solidFill>
              <a:srgbClr val="B8B4B4"/>
            </a:solidFill>
          </p:spPr>
          <p:txBody>
            <a:bodyPr wrap="square" lIns="0" tIns="0" rIns="0" bIns="0" rtlCol="0"/>
            <a:lstStyle/>
            <a:p>
              <a:endParaRPr sz="1092" dirty="0"/>
            </a:p>
          </p:txBody>
        </p:sp>
        <p:sp>
          <p:nvSpPr>
            <p:cNvPr id="1147" name="object 1147"/>
            <p:cNvSpPr/>
            <p:nvPr/>
          </p:nvSpPr>
          <p:spPr>
            <a:xfrm>
              <a:off x="8942656" y="3055551"/>
              <a:ext cx="54679" cy="30420"/>
            </a:xfrm>
            <a:custGeom>
              <a:avLst/>
              <a:gdLst/>
              <a:ahLst/>
              <a:cxnLst/>
              <a:rect l="l" t="t" r="r" b="b"/>
              <a:pathLst>
                <a:path w="90169" h="50164">
                  <a:moveTo>
                    <a:pt x="0" y="0"/>
                  </a:moveTo>
                  <a:lnTo>
                    <a:pt x="0" y="1455"/>
                  </a:lnTo>
                  <a:lnTo>
                    <a:pt x="90164" y="49663"/>
                  </a:lnTo>
                  <a:lnTo>
                    <a:pt x="90164" y="47485"/>
                  </a:lnTo>
                  <a:lnTo>
                    <a:pt x="0" y="0"/>
                  </a:lnTo>
                  <a:close/>
                </a:path>
              </a:pathLst>
            </a:custGeom>
            <a:solidFill>
              <a:srgbClr val="B8B4B4"/>
            </a:solidFill>
          </p:spPr>
          <p:txBody>
            <a:bodyPr wrap="square" lIns="0" tIns="0" rIns="0" bIns="0" rtlCol="0"/>
            <a:lstStyle/>
            <a:p>
              <a:endParaRPr sz="1092" dirty="0"/>
            </a:p>
          </p:txBody>
        </p:sp>
        <p:sp>
          <p:nvSpPr>
            <p:cNvPr id="1148" name="object 1148"/>
            <p:cNvSpPr/>
            <p:nvPr/>
          </p:nvSpPr>
          <p:spPr>
            <a:xfrm>
              <a:off x="8942517" y="3042975"/>
              <a:ext cx="55064" cy="30420"/>
            </a:xfrm>
            <a:custGeom>
              <a:avLst/>
              <a:gdLst/>
              <a:ahLst/>
              <a:cxnLst/>
              <a:rect l="l" t="t" r="r" b="b"/>
              <a:pathLst>
                <a:path w="90805" h="50164">
                  <a:moveTo>
                    <a:pt x="0" y="0"/>
                  </a:moveTo>
                  <a:lnTo>
                    <a:pt x="0" y="1455"/>
                  </a:lnTo>
                  <a:lnTo>
                    <a:pt x="90395" y="49663"/>
                  </a:lnTo>
                  <a:lnTo>
                    <a:pt x="90395" y="47495"/>
                  </a:lnTo>
                  <a:lnTo>
                    <a:pt x="0" y="0"/>
                  </a:lnTo>
                  <a:close/>
                </a:path>
              </a:pathLst>
            </a:custGeom>
            <a:solidFill>
              <a:srgbClr val="B8B4B4"/>
            </a:solidFill>
          </p:spPr>
          <p:txBody>
            <a:bodyPr wrap="square" lIns="0" tIns="0" rIns="0" bIns="0" rtlCol="0"/>
            <a:lstStyle/>
            <a:p>
              <a:endParaRPr sz="1092" dirty="0"/>
            </a:p>
          </p:txBody>
        </p:sp>
        <p:sp>
          <p:nvSpPr>
            <p:cNvPr id="1149" name="object 1149"/>
            <p:cNvSpPr/>
            <p:nvPr/>
          </p:nvSpPr>
          <p:spPr>
            <a:xfrm>
              <a:off x="8942517" y="3030408"/>
              <a:ext cx="55064" cy="30420"/>
            </a:xfrm>
            <a:custGeom>
              <a:avLst/>
              <a:gdLst/>
              <a:ahLst/>
              <a:cxnLst/>
              <a:rect l="l" t="t" r="r" b="b"/>
              <a:pathLst>
                <a:path w="90805" h="50164">
                  <a:moveTo>
                    <a:pt x="0" y="0"/>
                  </a:moveTo>
                  <a:lnTo>
                    <a:pt x="0" y="1444"/>
                  </a:lnTo>
                  <a:lnTo>
                    <a:pt x="90395" y="49663"/>
                  </a:lnTo>
                  <a:lnTo>
                    <a:pt x="90395" y="47495"/>
                  </a:lnTo>
                  <a:lnTo>
                    <a:pt x="0" y="0"/>
                  </a:lnTo>
                  <a:close/>
                </a:path>
              </a:pathLst>
            </a:custGeom>
            <a:solidFill>
              <a:srgbClr val="B8B4B4"/>
            </a:solidFill>
          </p:spPr>
          <p:txBody>
            <a:bodyPr wrap="square" lIns="0" tIns="0" rIns="0" bIns="0" rtlCol="0"/>
            <a:lstStyle/>
            <a:p>
              <a:endParaRPr sz="1092" dirty="0"/>
            </a:p>
          </p:txBody>
        </p:sp>
        <p:sp>
          <p:nvSpPr>
            <p:cNvPr id="1150" name="object 1150"/>
            <p:cNvSpPr/>
            <p:nvPr/>
          </p:nvSpPr>
          <p:spPr>
            <a:xfrm>
              <a:off x="8942517" y="3017843"/>
              <a:ext cx="55064" cy="30420"/>
            </a:xfrm>
            <a:custGeom>
              <a:avLst/>
              <a:gdLst/>
              <a:ahLst/>
              <a:cxnLst/>
              <a:rect l="l" t="t" r="r" b="b"/>
              <a:pathLst>
                <a:path w="90805" h="50164">
                  <a:moveTo>
                    <a:pt x="0" y="0"/>
                  </a:moveTo>
                  <a:lnTo>
                    <a:pt x="0" y="1675"/>
                  </a:lnTo>
                  <a:lnTo>
                    <a:pt x="90395" y="49652"/>
                  </a:lnTo>
                  <a:lnTo>
                    <a:pt x="90395" y="47474"/>
                  </a:lnTo>
                  <a:lnTo>
                    <a:pt x="0" y="0"/>
                  </a:lnTo>
                  <a:close/>
                </a:path>
              </a:pathLst>
            </a:custGeom>
            <a:solidFill>
              <a:srgbClr val="B8B4B4"/>
            </a:solidFill>
          </p:spPr>
          <p:txBody>
            <a:bodyPr wrap="square" lIns="0" tIns="0" rIns="0" bIns="0" rtlCol="0"/>
            <a:lstStyle/>
            <a:p>
              <a:endParaRPr sz="1092" dirty="0"/>
            </a:p>
          </p:txBody>
        </p:sp>
        <p:sp>
          <p:nvSpPr>
            <p:cNvPr id="1151" name="object 1151"/>
            <p:cNvSpPr/>
            <p:nvPr/>
          </p:nvSpPr>
          <p:spPr>
            <a:xfrm>
              <a:off x="8993527" y="3037282"/>
              <a:ext cx="0" cy="58915"/>
            </a:xfrm>
            <a:custGeom>
              <a:avLst/>
              <a:gdLst/>
              <a:ahLst/>
              <a:cxnLst/>
              <a:rect l="l" t="t" r="r" b="b"/>
              <a:pathLst>
                <a:path h="97154">
                  <a:moveTo>
                    <a:pt x="0" y="0"/>
                  </a:moveTo>
                  <a:lnTo>
                    <a:pt x="0" y="97138"/>
                  </a:lnTo>
                </a:path>
              </a:pathLst>
            </a:custGeom>
            <a:ln w="3175">
              <a:solidFill>
                <a:srgbClr val="B8B4B4"/>
              </a:solidFill>
            </a:ln>
          </p:spPr>
          <p:txBody>
            <a:bodyPr wrap="square" lIns="0" tIns="0" rIns="0" bIns="0" rtlCol="0"/>
            <a:lstStyle/>
            <a:p>
              <a:endParaRPr sz="1092" dirty="0"/>
            </a:p>
          </p:txBody>
        </p:sp>
        <p:sp>
          <p:nvSpPr>
            <p:cNvPr id="1152" name="object 1152"/>
            <p:cNvSpPr/>
            <p:nvPr/>
          </p:nvSpPr>
          <p:spPr>
            <a:xfrm>
              <a:off x="8989216" y="3034941"/>
              <a:ext cx="0" cy="59300"/>
            </a:xfrm>
            <a:custGeom>
              <a:avLst/>
              <a:gdLst/>
              <a:ahLst/>
              <a:cxnLst/>
              <a:rect l="l" t="t" r="r" b="b"/>
              <a:pathLst>
                <a:path h="97789">
                  <a:moveTo>
                    <a:pt x="0" y="0"/>
                  </a:moveTo>
                  <a:lnTo>
                    <a:pt x="0" y="97379"/>
                  </a:lnTo>
                </a:path>
              </a:pathLst>
            </a:custGeom>
            <a:ln w="3175">
              <a:solidFill>
                <a:srgbClr val="B8B4B4"/>
              </a:solidFill>
            </a:ln>
          </p:spPr>
          <p:txBody>
            <a:bodyPr wrap="square" lIns="0" tIns="0" rIns="0" bIns="0" rtlCol="0"/>
            <a:lstStyle/>
            <a:p>
              <a:endParaRPr sz="1092" dirty="0"/>
            </a:p>
          </p:txBody>
        </p:sp>
        <p:sp>
          <p:nvSpPr>
            <p:cNvPr id="1153" name="object 1153"/>
            <p:cNvSpPr/>
            <p:nvPr/>
          </p:nvSpPr>
          <p:spPr>
            <a:xfrm>
              <a:off x="8984906" y="3032747"/>
              <a:ext cx="0" cy="59300"/>
            </a:xfrm>
            <a:custGeom>
              <a:avLst/>
              <a:gdLst/>
              <a:ahLst/>
              <a:cxnLst/>
              <a:rect l="l" t="t" r="r" b="b"/>
              <a:pathLst>
                <a:path h="97789">
                  <a:moveTo>
                    <a:pt x="0" y="0"/>
                  </a:moveTo>
                  <a:lnTo>
                    <a:pt x="0" y="97389"/>
                  </a:lnTo>
                </a:path>
              </a:pathLst>
            </a:custGeom>
            <a:ln w="3175">
              <a:solidFill>
                <a:srgbClr val="B8B4B4"/>
              </a:solidFill>
            </a:ln>
          </p:spPr>
          <p:txBody>
            <a:bodyPr wrap="square" lIns="0" tIns="0" rIns="0" bIns="0" rtlCol="0"/>
            <a:lstStyle/>
            <a:p>
              <a:endParaRPr sz="1092" dirty="0"/>
            </a:p>
          </p:txBody>
        </p:sp>
        <p:sp>
          <p:nvSpPr>
            <p:cNvPr id="1154" name="object 1154"/>
            <p:cNvSpPr/>
            <p:nvPr/>
          </p:nvSpPr>
          <p:spPr>
            <a:xfrm>
              <a:off x="8980665" y="3030556"/>
              <a:ext cx="0" cy="58915"/>
            </a:xfrm>
            <a:custGeom>
              <a:avLst/>
              <a:gdLst/>
              <a:ahLst/>
              <a:cxnLst/>
              <a:rect l="l" t="t" r="r" b="b"/>
              <a:pathLst>
                <a:path h="97154">
                  <a:moveTo>
                    <a:pt x="0" y="0"/>
                  </a:moveTo>
                  <a:lnTo>
                    <a:pt x="0" y="97138"/>
                  </a:lnTo>
                </a:path>
              </a:pathLst>
            </a:custGeom>
            <a:ln w="3175">
              <a:solidFill>
                <a:srgbClr val="B8B4B4"/>
              </a:solidFill>
            </a:ln>
          </p:spPr>
          <p:txBody>
            <a:bodyPr wrap="square" lIns="0" tIns="0" rIns="0" bIns="0" rtlCol="0"/>
            <a:lstStyle/>
            <a:p>
              <a:endParaRPr sz="1092" dirty="0"/>
            </a:p>
          </p:txBody>
        </p:sp>
        <p:sp>
          <p:nvSpPr>
            <p:cNvPr id="1155" name="object 1155"/>
            <p:cNvSpPr/>
            <p:nvPr/>
          </p:nvSpPr>
          <p:spPr>
            <a:xfrm>
              <a:off x="8976427" y="3028214"/>
              <a:ext cx="0" cy="59300"/>
            </a:xfrm>
            <a:custGeom>
              <a:avLst/>
              <a:gdLst/>
              <a:ahLst/>
              <a:cxnLst/>
              <a:rect l="l" t="t" r="r" b="b"/>
              <a:pathLst>
                <a:path h="97789">
                  <a:moveTo>
                    <a:pt x="0" y="0"/>
                  </a:moveTo>
                  <a:lnTo>
                    <a:pt x="0" y="97389"/>
                  </a:lnTo>
                </a:path>
              </a:pathLst>
            </a:custGeom>
            <a:ln w="3175">
              <a:solidFill>
                <a:srgbClr val="B8B4B4"/>
              </a:solidFill>
            </a:ln>
          </p:spPr>
          <p:txBody>
            <a:bodyPr wrap="square" lIns="0" tIns="0" rIns="0" bIns="0" rtlCol="0"/>
            <a:lstStyle/>
            <a:p>
              <a:endParaRPr sz="1092" dirty="0"/>
            </a:p>
          </p:txBody>
        </p:sp>
        <p:sp>
          <p:nvSpPr>
            <p:cNvPr id="1156" name="object 1156"/>
            <p:cNvSpPr/>
            <p:nvPr/>
          </p:nvSpPr>
          <p:spPr>
            <a:xfrm>
              <a:off x="8972265" y="3026023"/>
              <a:ext cx="0" cy="58915"/>
            </a:xfrm>
            <a:custGeom>
              <a:avLst/>
              <a:gdLst/>
              <a:ahLst/>
              <a:cxnLst/>
              <a:rect l="l" t="t" r="r" b="b"/>
              <a:pathLst>
                <a:path h="97154">
                  <a:moveTo>
                    <a:pt x="0" y="0"/>
                  </a:moveTo>
                  <a:lnTo>
                    <a:pt x="0" y="97138"/>
                  </a:lnTo>
                </a:path>
              </a:pathLst>
            </a:custGeom>
            <a:ln w="3175">
              <a:solidFill>
                <a:srgbClr val="B8B4B4"/>
              </a:solidFill>
            </a:ln>
          </p:spPr>
          <p:txBody>
            <a:bodyPr wrap="square" lIns="0" tIns="0" rIns="0" bIns="0" rtlCol="0"/>
            <a:lstStyle/>
            <a:p>
              <a:endParaRPr sz="1092" dirty="0"/>
            </a:p>
          </p:txBody>
        </p:sp>
        <p:sp>
          <p:nvSpPr>
            <p:cNvPr id="1157" name="object 1157"/>
            <p:cNvSpPr/>
            <p:nvPr/>
          </p:nvSpPr>
          <p:spPr>
            <a:xfrm>
              <a:off x="8967948" y="3023685"/>
              <a:ext cx="0" cy="59300"/>
            </a:xfrm>
            <a:custGeom>
              <a:avLst/>
              <a:gdLst/>
              <a:ahLst/>
              <a:cxnLst/>
              <a:rect l="l" t="t" r="r" b="b"/>
              <a:pathLst>
                <a:path h="97789">
                  <a:moveTo>
                    <a:pt x="0" y="0"/>
                  </a:moveTo>
                  <a:lnTo>
                    <a:pt x="0" y="97379"/>
                  </a:lnTo>
                </a:path>
              </a:pathLst>
            </a:custGeom>
            <a:ln w="3175">
              <a:solidFill>
                <a:srgbClr val="B8B4B4"/>
              </a:solidFill>
            </a:ln>
          </p:spPr>
          <p:txBody>
            <a:bodyPr wrap="square" lIns="0" tIns="0" rIns="0" bIns="0" rtlCol="0"/>
            <a:lstStyle/>
            <a:p>
              <a:endParaRPr sz="1092" dirty="0"/>
            </a:p>
          </p:txBody>
        </p:sp>
        <p:sp>
          <p:nvSpPr>
            <p:cNvPr id="1158" name="object 1158"/>
            <p:cNvSpPr/>
            <p:nvPr/>
          </p:nvSpPr>
          <p:spPr>
            <a:xfrm>
              <a:off x="8963785" y="3021492"/>
              <a:ext cx="0" cy="59300"/>
            </a:xfrm>
            <a:custGeom>
              <a:avLst/>
              <a:gdLst/>
              <a:ahLst/>
              <a:cxnLst/>
              <a:rect l="l" t="t" r="r" b="b"/>
              <a:pathLst>
                <a:path h="97789">
                  <a:moveTo>
                    <a:pt x="0" y="0"/>
                  </a:moveTo>
                  <a:lnTo>
                    <a:pt x="0" y="97389"/>
                  </a:lnTo>
                </a:path>
              </a:pathLst>
            </a:custGeom>
            <a:ln w="3175">
              <a:solidFill>
                <a:srgbClr val="B8B4B4"/>
              </a:solidFill>
            </a:ln>
          </p:spPr>
          <p:txBody>
            <a:bodyPr wrap="square" lIns="0" tIns="0" rIns="0" bIns="0" rtlCol="0"/>
            <a:lstStyle/>
            <a:p>
              <a:endParaRPr sz="1092" dirty="0"/>
            </a:p>
          </p:txBody>
        </p:sp>
        <p:sp>
          <p:nvSpPr>
            <p:cNvPr id="1159" name="object 1159"/>
            <p:cNvSpPr/>
            <p:nvPr/>
          </p:nvSpPr>
          <p:spPr>
            <a:xfrm>
              <a:off x="8959546" y="3019300"/>
              <a:ext cx="0" cy="59300"/>
            </a:xfrm>
            <a:custGeom>
              <a:avLst/>
              <a:gdLst/>
              <a:ahLst/>
              <a:cxnLst/>
              <a:rect l="l" t="t" r="r" b="b"/>
              <a:pathLst>
                <a:path h="97789">
                  <a:moveTo>
                    <a:pt x="0" y="0"/>
                  </a:moveTo>
                  <a:lnTo>
                    <a:pt x="0" y="97389"/>
                  </a:lnTo>
                </a:path>
              </a:pathLst>
            </a:custGeom>
            <a:ln w="3175">
              <a:solidFill>
                <a:srgbClr val="B8B4B4"/>
              </a:solidFill>
            </a:ln>
          </p:spPr>
          <p:txBody>
            <a:bodyPr wrap="square" lIns="0" tIns="0" rIns="0" bIns="0" rtlCol="0"/>
            <a:lstStyle/>
            <a:p>
              <a:endParaRPr sz="1092" dirty="0"/>
            </a:p>
          </p:txBody>
        </p:sp>
        <p:sp>
          <p:nvSpPr>
            <p:cNvPr id="1160" name="object 1160"/>
            <p:cNvSpPr/>
            <p:nvPr/>
          </p:nvSpPr>
          <p:spPr>
            <a:xfrm>
              <a:off x="8955233" y="3016958"/>
              <a:ext cx="0" cy="59300"/>
            </a:xfrm>
            <a:custGeom>
              <a:avLst/>
              <a:gdLst/>
              <a:ahLst/>
              <a:cxnLst/>
              <a:rect l="l" t="t" r="r" b="b"/>
              <a:pathLst>
                <a:path h="97789">
                  <a:moveTo>
                    <a:pt x="0" y="0"/>
                  </a:moveTo>
                  <a:lnTo>
                    <a:pt x="0" y="97389"/>
                  </a:lnTo>
                </a:path>
              </a:pathLst>
            </a:custGeom>
            <a:ln w="3175">
              <a:solidFill>
                <a:srgbClr val="B8B4B4"/>
              </a:solidFill>
            </a:ln>
          </p:spPr>
          <p:txBody>
            <a:bodyPr wrap="square" lIns="0" tIns="0" rIns="0" bIns="0" rtlCol="0"/>
            <a:lstStyle/>
            <a:p>
              <a:endParaRPr sz="1092" dirty="0"/>
            </a:p>
          </p:txBody>
        </p:sp>
        <p:sp>
          <p:nvSpPr>
            <p:cNvPr id="1161" name="object 1161"/>
            <p:cNvSpPr/>
            <p:nvPr/>
          </p:nvSpPr>
          <p:spPr>
            <a:xfrm>
              <a:off x="8950996" y="3014768"/>
              <a:ext cx="0" cy="58915"/>
            </a:xfrm>
            <a:custGeom>
              <a:avLst/>
              <a:gdLst/>
              <a:ahLst/>
              <a:cxnLst/>
              <a:rect l="l" t="t" r="r" b="b"/>
              <a:pathLst>
                <a:path h="97154">
                  <a:moveTo>
                    <a:pt x="0" y="0"/>
                  </a:moveTo>
                  <a:lnTo>
                    <a:pt x="0" y="97138"/>
                  </a:lnTo>
                </a:path>
              </a:pathLst>
            </a:custGeom>
            <a:ln w="3175">
              <a:solidFill>
                <a:srgbClr val="B8B4B4"/>
              </a:solidFill>
            </a:ln>
          </p:spPr>
          <p:txBody>
            <a:bodyPr wrap="square" lIns="0" tIns="0" rIns="0" bIns="0" rtlCol="0"/>
            <a:lstStyle/>
            <a:p>
              <a:endParaRPr sz="1092" dirty="0"/>
            </a:p>
          </p:txBody>
        </p:sp>
        <p:sp>
          <p:nvSpPr>
            <p:cNvPr id="1162" name="object 1162"/>
            <p:cNvSpPr/>
            <p:nvPr/>
          </p:nvSpPr>
          <p:spPr>
            <a:xfrm>
              <a:off x="8946757" y="3012430"/>
              <a:ext cx="0" cy="59300"/>
            </a:xfrm>
            <a:custGeom>
              <a:avLst/>
              <a:gdLst/>
              <a:ahLst/>
              <a:cxnLst/>
              <a:rect l="l" t="t" r="r" b="b"/>
              <a:pathLst>
                <a:path h="97789">
                  <a:moveTo>
                    <a:pt x="0" y="0"/>
                  </a:moveTo>
                  <a:lnTo>
                    <a:pt x="0" y="97379"/>
                  </a:lnTo>
                </a:path>
              </a:pathLst>
            </a:custGeom>
            <a:ln w="3175">
              <a:solidFill>
                <a:srgbClr val="B8B4B4"/>
              </a:solidFill>
            </a:ln>
          </p:spPr>
          <p:txBody>
            <a:bodyPr wrap="square" lIns="0" tIns="0" rIns="0" bIns="0" rtlCol="0"/>
            <a:lstStyle/>
            <a:p>
              <a:endParaRPr sz="1092" dirty="0"/>
            </a:p>
          </p:txBody>
        </p:sp>
        <p:sp>
          <p:nvSpPr>
            <p:cNvPr id="1163" name="object 1163"/>
            <p:cNvSpPr/>
            <p:nvPr/>
          </p:nvSpPr>
          <p:spPr>
            <a:xfrm>
              <a:off x="8939890" y="2960977"/>
              <a:ext cx="124761" cy="72392"/>
            </a:xfrm>
            <a:custGeom>
              <a:avLst/>
              <a:gdLst/>
              <a:ahLst/>
              <a:cxnLst/>
              <a:rect l="l" t="t" r="r" b="b"/>
              <a:pathLst>
                <a:path w="205740" h="119379">
                  <a:moveTo>
                    <a:pt x="102447" y="0"/>
                  </a:moveTo>
                  <a:lnTo>
                    <a:pt x="0" y="63872"/>
                  </a:lnTo>
                  <a:lnTo>
                    <a:pt x="102447" y="119074"/>
                  </a:lnTo>
                  <a:lnTo>
                    <a:pt x="205124" y="54961"/>
                  </a:lnTo>
                  <a:lnTo>
                    <a:pt x="102447" y="0"/>
                  </a:lnTo>
                  <a:close/>
                </a:path>
              </a:pathLst>
            </a:custGeom>
            <a:solidFill>
              <a:srgbClr val="ECECEC"/>
            </a:solidFill>
          </p:spPr>
          <p:txBody>
            <a:bodyPr wrap="square" lIns="0" tIns="0" rIns="0" bIns="0" rtlCol="0"/>
            <a:lstStyle/>
            <a:p>
              <a:endParaRPr sz="1092" dirty="0"/>
            </a:p>
          </p:txBody>
        </p:sp>
        <p:sp>
          <p:nvSpPr>
            <p:cNvPr id="1164" name="object 1164"/>
            <p:cNvSpPr/>
            <p:nvPr/>
          </p:nvSpPr>
          <p:spPr>
            <a:xfrm>
              <a:off x="8947630" y="2965652"/>
              <a:ext cx="108973" cy="63150"/>
            </a:xfrm>
            <a:custGeom>
              <a:avLst/>
              <a:gdLst/>
              <a:ahLst/>
              <a:cxnLst/>
              <a:rect l="l" t="t" r="r" b="b"/>
              <a:pathLst>
                <a:path w="179705" h="104139">
                  <a:moveTo>
                    <a:pt x="89683" y="0"/>
                  </a:moveTo>
                  <a:lnTo>
                    <a:pt x="0" y="55684"/>
                  </a:lnTo>
                  <a:lnTo>
                    <a:pt x="89683" y="103892"/>
                  </a:lnTo>
                  <a:lnTo>
                    <a:pt x="179345" y="47977"/>
                  </a:lnTo>
                  <a:lnTo>
                    <a:pt x="89683" y="0"/>
                  </a:lnTo>
                  <a:close/>
                </a:path>
              </a:pathLst>
            </a:custGeom>
            <a:solidFill>
              <a:srgbClr val="DADADA"/>
            </a:solidFill>
          </p:spPr>
          <p:txBody>
            <a:bodyPr wrap="square" lIns="0" tIns="0" rIns="0" bIns="0" rtlCol="0"/>
            <a:lstStyle/>
            <a:p>
              <a:endParaRPr sz="1092" dirty="0"/>
            </a:p>
          </p:txBody>
        </p:sp>
        <p:sp>
          <p:nvSpPr>
            <p:cNvPr id="1165" name="object 1165"/>
            <p:cNvSpPr/>
            <p:nvPr/>
          </p:nvSpPr>
          <p:spPr>
            <a:xfrm>
              <a:off x="8870158" y="3111097"/>
              <a:ext cx="114364" cy="84714"/>
            </a:xfrm>
            <a:custGeom>
              <a:avLst/>
              <a:gdLst/>
              <a:ahLst/>
              <a:cxnLst/>
              <a:rect l="l" t="t" r="r" b="b"/>
              <a:pathLst>
                <a:path w="188594" h="139700">
                  <a:moveTo>
                    <a:pt x="73285" y="0"/>
                  </a:moveTo>
                  <a:lnTo>
                    <a:pt x="21936" y="48207"/>
                  </a:lnTo>
                  <a:lnTo>
                    <a:pt x="0" y="139084"/>
                  </a:lnTo>
                  <a:lnTo>
                    <a:pt x="84363" y="122446"/>
                  </a:lnTo>
                  <a:lnTo>
                    <a:pt x="188507" y="58574"/>
                  </a:lnTo>
                  <a:lnTo>
                    <a:pt x="73285" y="0"/>
                  </a:lnTo>
                  <a:close/>
                </a:path>
              </a:pathLst>
            </a:custGeom>
            <a:solidFill>
              <a:srgbClr val="BABABB"/>
            </a:solidFill>
          </p:spPr>
          <p:txBody>
            <a:bodyPr wrap="square" lIns="0" tIns="0" rIns="0" bIns="0" rtlCol="0"/>
            <a:lstStyle/>
            <a:p>
              <a:endParaRPr sz="1092" dirty="0"/>
            </a:p>
          </p:txBody>
        </p:sp>
        <p:sp>
          <p:nvSpPr>
            <p:cNvPr id="1166" name="object 1166"/>
            <p:cNvSpPr/>
            <p:nvPr/>
          </p:nvSpPr>
          <p:spPr>
            <a:xfrm>
              <a:off x="8808176" y="3084347"/>
              <a:ext cx="61995" cy="111284"/>
            </a:xfrm>
            <a:custGeom>
              <a:avLst/>
              <a:gdLst/>
              <a:ahLst/>
              <a:cxnLst/>
              <a:rect l="l" t="t" r="r" b="b"/>
              <a:pathLst>
                <a:path w="102234" h="183514">
                  <a:moveTo>
                    <a:pt x="0" y="0"/>
                  </a:moveTo>
                  <a:lnTo>
                    <a:pt x="0" y="127996"/>
                  </a:lnTo>
                  <a:lnTo>
                    <a:pt x="102216" y="183198"/>
                  </a:lnTo>
                  <a:lnTo>
                    <a:pt x="102216" y="55202"/>
                  </a:lnTo>
                  <a:lnTo>
                    <a:pt x="0" y="0"/>
                  </a:lnTo>
                  <a:close/>
                </a:path>
              </a:pathLst>
            </a:custGeom>
            <a:solidFill>
              <a:srgbClr val="F7F1F1"/>
            </a:solidFill>
          </p:spPr>
          <p:txBody>
            <a:bodyPr wrap="square" lIns="0" tIns="0" rIns="0" bIns="0" rtlCol="0"/>
            <a:lstStyle/>
            <a:p>
              <a:endParaRPr sz="1092" dirty="0"/>
            </a:p>
          </p:txBody>
        </p:sp>
        <p:sp>
          <p:nvSpPr>
            <p:cNvPr id="1167" name="object 1167"/>
            <p:cNvSpPr/>
            <p:nvPr/>
          </p:nvSpPr>
          <p:spPr>
            <a:xfrm>
              <a:off x="8870158" y="3078938"/>
              <a:ext cx="62766" cy="116675"/>
            </a:xfrm>
            <a:custGeom>
              <a:avLst/>
              <a:gdLst/>
              <a:ahLst/>
              <a:cxnLst/>
              <a:rect l="l" t="t" r="r" b="b"/>
              <a:pathLst>
                <a:path w="103505" h="192404">
                  <a:moveTo>
                    <a:pt x="103180" y="0"/>
                  </a:moveTo>
                  <a:lnTo>
                    <a:pt x="0" y="64123"/>
                  </a:lnTo>
                  <a:lnTo>
                    <a:pt x="0" y="192119"/>
                  </a:lnTo>
                  <a:lnTo>
                    <a:pt x="103180" y="128247"/>
                  </a:lnTo>
                  <a:lnTo>
                    <a:pt x="103180" y="0"/>
                  </a:lnTo>
                  <a:close/>
                </a:path>
              </a:pathLst>
            </a:custGeom>
            <a:solidFill>
              <a:srgbClr val="CAC4C4"/>
            </a:solidFill>
          </p:spPr>
          <p:txBody>
            <a:bodyPr wrap="square" lIns="0" tIns="0" rIns="0" bIns="0" rtlCol="0"/>
            <a:lstStyle/>
            <a:p>
              <a:endParaRPr sz="1092" dirty="0"/>
            </a:p>
          </p:txBody>
        </p:sp>
        <p:sp>
          <p:nvSpPr>
            <p:cNvPr id="1168" name="object 1168"/>
            <p:cNvSpPr/>
            <p:nvPr/>
          </p:nvSpPr>
          <p:spPr>
            <a:xfrm>
              <a:off x="8874698" y="3089756"/>
              <a:ext cx="54816" cy="92824"/>
            </a:xfrm>
            <a:prstGeom prst="rect">
              <a:avLst/>
            </a:prstGeom>
            <a:blipFill>
              <a:blip r:embed="rId34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169" name="object 1169"/>
            <p:cNvSpPr/>
            <p:nvPr/>
          </p:nvSpPr>
          <p:spPr>
            <a:xfrm>
              <a:off x="8874843" y="3147641"/>
              <a:ext cx="54679" cy="35041"/>
            </a:xfrm>
            <a:custGeom>
              <a:avLst/>
              <a:gdLst/>
              <a:ahLst/>
              <a:cxnLst/>
              <a:rect l="l" t="t" r="r" b="b"/>
              <a:pathLst>
                <a:path w="90169" h="57785">
                  <a:moveTo>
                    <a:pt x="90154" y="0"/>
                  </a:moveTo>
                  <a:lnTo>
                    <a:pt x="0" y="55202"/>
                  </a:lnTo>
                  <a:lnTo>
                    <a:pt x="0" y="57369"/>
                  </a:lnTo>
                  <a:lnTo>
                    <a:pt x="90154" y="1444"/>
                  </a:lnTo>
                  <a:lnTo>
                    <a:pt x="90154" y="0"/>
                  </a:lnTo>
                  <a:close/>
                </a:path>
              </a:pathLst>
            </a:custGeom>
            <a:solidFill>
              <a:srgbClr val="8B8787"/>
            </a:solidFill>
          </p:spPr>
          <p:txBody>
            <a:bodyPr wrap="square" lIns="0" tIns="0" rIns="0" bIns="0" rtlCol="0"/>
            <a:lstStyle/>
            <a:p>
              <a:endParaRPr sz="1092" dirty="0"/>
            </a:p>
          </p:txBody>
        </p:sp>
        <p:sp>
          <p:nvSpPr>
            <p:cNvPr id="1170" name="object 1170"/>
            <p:cNvSpPr/>
            <p:nvPr/>
          </p:nvSpPr>
          <p:spPr>
            <a:xfrm>
              <a:off x="8874697" y="3135072"/>
              <a:ext cx="55064" cy="35041"/>
            </a:xfrm>
            <a:custGeom>
              <a:avLst/>
              <a:gdLst/>
              <a:ahLst/>
              <a:cxnLst/>
              <a:rect l="l" t="t" r="r" b="b"/>
              <a:pathLst>
                <a:path w="90805" h="57785">
                  <a:moveTo>
                    <a:pt x="90395" y="0"/>
                  </a:moveTo>
                  <a:lnTo>
                    <a:pt x="0" y="55432"/>
                  </a:lnTo>
                  <a:lnTo>
                    <a:pt x="0" y="57369"/>
                  </a:lnTo>
                  <a:lnTo>
                    <a:pt x="90395" y="1444"/>
                  </a:lnTo>
                  <a:lnTo>
                    <a:pt x="90395" y="0"/>
                  </a:lnTo>
                  <a:close/>
                </a:path>
              </a:pathLst>
            </a:custGeom>
            <a:solidFill>
              <a:srgbClr val="8B8787"/>
            </a:solidFill>
          </p:spPr>
          <p:txBody>
            <a:bodyPr wrap="square" lIns="0" tIns="0" rIns="0" bIns="0" rtlCol="0"/>
            <a:lstStyle/>
            <a:p>
              <a:endParaRPr sz="1092" dirty="0"/>
            </a:p>
          </p:txBody>
        </p:sp>
        <p:sp>
          <p:nvSpPr>
            <p:cNvPr id="1171" name="object 1171"/>
            <p:cNvSpPr/>
            <p:nvPr/>
          </p:nvSpPr>
          <p:spPr>
            <a:xfrm>
              <a:off x="8874697" y="3122502"/>
              <a:ext cx="55064" cy="35041"/>
            </a:xfrm>
            <a:custGeom>
              <a:avLst/>
              <a:gdLst/>
              <a:ahLst/>
              <a:cxnLst/>
              <a:rect l="l" t="t" r="r" b="b"/>
              <a:pathLst>
                <a:path w="90805" h="57785">
                  <a:moveTo>
                    <a:pt x="90395" y="0"/>
                  </a:moveTo>
                  <a:lnTo>
                    <a:pt x="0" y="55432"/>
                  </a:lnTo>
                  <a:lnTo>
                    <a:pt x="0" y="57369"/>
                  </a:lnTo>
                  <a:lnTo>
                    <a:pt x="90395" y="1685"/>
                  </a:lnTo>
                  <a:lnTo>
                    <a:pt x="90395" y="0"/>
                  </a:lnTo>
                  <a:close/>
                </a:path>
              </a:pathLst>
            </a:custGeom>
            <a:solidFill>
              <a:srgbClr val="8B8787"/>
            </a:solidFill>
          </p:spPr>
          <p:txBody>
            <a:bodyPr wrap="square" lIns="0" tIns="0" rIns="0" bIns="0" rtlCol="0"/>
            <a:lstStyle/>
            <a:p>
              <a:endParaRPr sz="1092" dirty="0"/>
            </a:p>
          </p:txBody>
        </p:sp>
        <p:sp>
          <p:nvSpPr>
            <p:cNvPr id="1172" name="object 1172"/>
            <p:cNvSpPr/>
            <p:nvPr/>
          </p:nvSpPr>
          <p:spPr>
            <a:xfrm>
              <a:off x="8874697" y="3109927"/>
              <a:ext cx="55064" cy="35041"/>
            </a:xfrm>
            <a:custGeom>
              <a:avLst/>
              <a:gdLst/>
              <a:ahLst/>
              <a:cxnLst/>
              <a:rect l="l" t="t" r="r" b="b"/>
              <a:pathLst>
                <a:path w="90805" h="57785">
                  <a:moveTo>
                    <a:pt x="90395" y="0"/>
                  </a:moveTo>
                  <a:lnTo>
                    <a:pt x="0" y="55453"/>
                  </a:lnTo>
                  <a:lnTo>
                    <a:pt x="0" y="57610"/>
                  </a:lnTo>
                  <a:lnTo>
                    <a:pt x="90395" y="1696"/>
                  </a:lnTo>
                  <a:lnTo>
                    <a:pt x="90395" y="0"/>
                  </a:lnTo>
                  <a:close/>
                </a:path>
              </a:pathLst>
            </a:custGeom>
            <a:solidFill>
              <a:srgbClr val="8B8787"/>
            </a:solidFill>
          </p:spPr>
          <p:txBody>
            <a:bodyPr wrap="square" lIns="0" tIns="0" rIns="0" bIns="0" rtlCol="0"/>
            <a:lstStyle/>
            <a:p>
              <a:endParaRPr sz="1092" dirty="0"/>
            </a:p>
          </p:txBody>
        </p:sp>
        <p:sp>
          <p:nvSpPr>
            <p:cNvPr id="1173" name="object 1173"/>
            <p:cNvSpPr/>
            <p:nvPr/>
          </p:nvSpPr>
          <p:spPr>
            <a:xfrm>
              <a:off x="8874697" y="3097500"/>
              <a:ext cx="55064" cy="35041"/>
            </a:xfrm>
            <a:custGeom>
              <a:avLst/>
              <a:gdLst/>
              <a:ahLst/>
              <a:cxnLst/>
              <a:rect l="l" t="t" r="r" b="b"/>
              <a:pathLst>
                <a:path w="90805" h="57785">
                  <a:moveTo>
                    <a:pt x="90395" y="0"/>
                  </a:moveTo>
                  <a:lnTo>
                    <a:pt x="0" y="55202"/>
                  </a:lnTo>
                  <a:lnTo>
                    <a:pt x="0" y="57380"/>
                  </a:lnTo>
                  <a:lnTo>
                    <a:pt x="90395" y="1444"/>
                  </a:lnTo>
                  <a:lnTo>
                    <a:pt x="90395" y="0"/>
                  </a:lnTo>
                  <a:close/>
                </a:path>
              </a:pathLst>
            </a:custGeom>
            <a:solidFill>
              <a:srgbClr val="8B8787"/>
            </a:solidFill>
          </p:spPr>
          <p:txBody>
            <a:bodyPr wrap="square" lIns="0" tIns="0" rIns="0" bIns="0" rtlCol="0"/>
            <a:lstStyle/>
            <a:p>
              <a:endParaRPr sz="1092" dirty="0"/>
            </a:p>
          </p:txBody>
        </p:sp>
        <p:sp>
          <p:nvSpPr>
            <p:cNvPr id="1174" name="object 1174"/>
            <p:cNvSpPr/>
            <p:nvPr/>
          </p:nvSpPr>
          <p:spPr>
            <a:xfrm>
              <a:off x="8878565" y="3121182"/>
              <a:ext cx="0" cy="59300"/>
            </a:xfrm>
            <a:custGeom>
              <a:avLst/>
              <a:gdLst/>
              <a:ahLst/>
              <a:cxnLst/>
              <a:rect l="l" t="t" r="r" b="b"/>
              <a:pathLst>
                <a:path h="97789">
                  <a:moveTo>
                    <a:pt x="0" y="0"/>
                  </a:moveTo>
                  <a:lnTo>
                    <a:pt x="0" y="97630"/>
                  </a:lnTo>
                </a:path>
              </a:pathLst>
            </a:custGeom>
            <a:ln w="3175">
              <a:solidFill>
                <a:srgbClr val="8B8787"/>
              </a:solidFill>
            </a:ln>
          </p:spPr>
          <p:txBody>
            <a:bodyPr wrap="square" lIns="0" tIns="0" rIns="0" bIns="0" rtlCol="0"/>
            <a:lstStyle/>
            <a:p>
              <a:endParaRPr sz="1092" dirty="0"/>
            </a:p>
          </p:txBody>
        </p:sp>
        <p:sp>
          <p:nvSpPr>
            <p:cNvPr id="1175" name="object 1175"/>
            <p:cNvSpPr/>
            <p:nvPr/>
          </p:nvSpPr>
          <p:spPr>
            <a:xfrm>
              <a:off x="8882878" y="3118555"/>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1176" name="object 1176"/>
            <p:cNvSpPr/>
            <p:nvPr/>
          </p:nvSpPr>
          <p:spPr>
            <a:xfrm>
              <a:off x="8887044" y="3115921"/>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1177" name="object 1177"/>
            <p:cNvSpPr/>
            <p:nvPr/>
          </p:nvSpPr>
          <p:spPr>
            <a:xfrm>
              <a:off x="8891357" y="3113288"/>
              <a:ext cx="0" cy="59300"/>
            </a:xfrm>
            <a:custGeom>
              <a:avLst/>
              <a:gdLst/>
              <a:ahLst/>
              <a:cxnLst/>
              <a:rect l="l" t="t" r="r" b="b"/>
              <a:pathLst>
                <a:path h="97789">
                  <a:moveTo>
                    <a:pt x="0" y="0"/>
                  </a:moveTo>
                  <a:lnTo>
                    <a:pt x="0" y="97630"/>
                  </a:lnTo>
                </a:path>
              </a:pathLst>
            </a:custGeom>
            <a:ln w="3175">
              <a:solidFill>
                <a:srgbClr val="8B8787"/>
              </a:solidFill>
            </a:ln>
          </p:spPr>
          <p:txBody>
            <a:bodyPr wrap="square" lIns="0" tIns="0" rIns="0" bIns="0" rtlCol="0"/>
            <a:lstStyle/>
            <a:p>
              <a:endParaRPr sz="1092" dirty="0"/>
            </a:p>
          </p:txBody>
        </p:sp>
        <p:sp>
          <p:nvSpPr>
            <p:cNvPr id="1178" name="object 1178"/>
            <p:cNvSpPr/>
            <p:nvPr/>
          </p:nvSpPr>
          <p:spPr>
            <a:xfrm>
              <a:off x="8895593" y="3110661"/>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1179" name="object 1179"/>
            <p:cNvSpPr/>
            <p:nvPr/>
          </p:nvSpPr>
          <p:spPr>
            <a:xfrm>
              <a:off x="8899836" y="3108027"/>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1180" name="object 1180"/>
            <p:cNvSpPr/>
            <p:nvPr/>
          </p:nvSpPr>
          <p:spPr>
            <a:xfrm>
              <a:off x="8904073" y="3105544"/>
              <a:ext cx="0" cy="59300"/>
            </a:xfrm>
            <a:custGeom>
              <a:avLst/>
              <a:gdLst/>
              <a:ahLst/>
              <a:cxnLst/>
              <a:rect l="l" t="t" r="r" b="b"/>
              <a:pathLst>
                <a:path h="97789">
                  <a:moveTo>
                    <a:pt x="0" y="0"/>
                  </a:moveTo>
                  <a:lnTo>
                    <a:pt x="0" y="97389"/>
                  </a:lnTo>
                </a:path>
              </a:pathLst>
            </a:custGeom>
            <a:ln w="3175">
              <a:solidFill>
                <a:srgbClr val="8B8787"/>
              </a:solidFill>
            </a:ln>
          </p:spPr>
          <p:txBody>
            <a:bodyPr wrap="square" lIns="0" tIns="0" rIns="0" bIns="0" rtlCol="0"/>
            <a:lstStyle/>
            <a:p>
              <a:endParaRPr sz="1092" dirty="0"/>
            </a:p>
          </p:txBody>
        </p:sp>
        <p:sp>
          <p:nvSpPr>
            <p:cNvPr id="1181" name="object 1181"/>
            <p:cNvSpPr/>
            <p:nvPr/>
          </p:nvSpPr>
          <p:spPr>
            <a:xfrm>
              <a:off x="8908234" y="3102767"/>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1182" name="object 1182"/>
            <p:cNvSpPr/>
            <p:nvPr/>
          </p:nvSpPr>
          <p:spPr>
            <a:xfrm>
              <a:off x="8912547" y="3100283"/>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1183" name="object 1183"/>
            <p:cNvSpPr/>
            <p:nvPr/>
          </p:nvSpPr>
          <p:spPr>
            <a:xfrm>
              <a:off x="8916787" y="3097649"/>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1184" name="object 1184"/>
            <p:cNvSpPr/>
            <p:nvPr/>
          </p:nvSpPr>
          <p:spPr>
            <a:xfrm>
              <a:off x="8921025" y="3095016"/>
              <a:ext cx="0" cy="59300"/>
            </a:xfrm>
            <a:custGeom>
              <a:avLst/>
              <a:gdLst/>
              <a:ahLst/>
              <a:cxnLst/>
              <a:rect l="l" t="t" r="r" b="b"/>
              <a:pathLst>
                <a:path h="97789">
                  <a:moveTo>
                    <a:pt x="0" y="0"/>
                  </a:moveTo>
                  <a:lnTo>
                    <a:pt x="0" y="97389"/>
                  </a:lnTo>
                </a:path>
              </a:pathLst>
            </a:custGeom>
            <a:ln w="3175">
              <a:solidFill>
                <a:srgbClr val="8B8787"/>
              </a:solidFill>
            </a:ln>
          </p:spPr>
          <p:txBody>
            <a:bodyPr wrap="square" lIns="0" tIns="0" rIns="0" bIns="0" rtlCol="0"/>
            <a:lstStyle/>
            <a:p>
              <a:endParaRPr sz="1092" dirty="0"/>
            </a:p>
          </p:txBody>
        </p:sp>
        <p:sp>
          <p:nvSpPr>
            <p:cNvPr id="1185" name="object 1185"/>
            <p:cNvSpPr/>
            <p:nvPr/>
          </p:nvSpPr>
          <p:spPr>
            <a:xfrm>
              <a:off x="8925265" y="3092389"/>
              <a:ext cx="0" cy="59300"/>
            </a:xfrm>
            <a:custGeom>
              <a:avLst/>
              <a:gdLst/>
              <a:ahLst/>
              <a:cxnLst/>
              <a:rect l="l" t="t" r="r" b="b"/>
              <a:pathLst>
                <a:path h="97789">
                  <a:moveTo>
                    <a:pt x="0" y="0"/>
                  </a:moveTo>
                  <a:lnTo>
                    <a:pt x="0" y="97620"/>
                  </a:lnTo>
                </a:path>
              </a:pathLst>
            </a:custGeom>
            <a:ln w="3175">
              <a:solidFill>
                <a:srgbClr val="8B8787"/>
              </a:solidFill>
            </a:ln>
          </p:spPr>
          <p:txBody>
            <a:bodyPr wrap="square" lIns="0" tIns="0" rIns="0" bIns="0" rtlCol="0"/>
            <a:lstStyle/>
            <a:p>
              <a:endParaRPr sz="1092" dirty="0"/>
            </a:p>
          </p:txBody>
        </p:sp>
        <p:sp>
          <p:nvSpPr>
            <p:cNvPr id="1186" name="object 1186"/>
            <p:cNvSpPr/>
            <p:nvPr/>
          </p:nvSpPr>
          <p:spPr>
            <a:xfrm>
              <a:off x="8810961" y="3094874"/>
              <a:ext cx="54669" cy="87846"/>
            </a:xfrm>
            <a:prstGeom prst="rect">
              <a:avLst/>
            </a:prstGeom>
            <a:blipFill>
              <a:blip r:embed="rId35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187" name="object 1187"/>
            <p:cNvSpPr/>
            <p:nvPr/>
          </p:nvSpPr>
          <p:spPr>
            <a:xfrm>
              <a:off x="8810962" y="3152761"/>
              <a:ext cx="54679" cy="30420"/>
            </a:xfrm>
            <a:custGeom>
              <a:avLst/>
              <a:gdLst/>
              <a:ahLst/>
              <a:cxnLst/>
              <a:rect l="l" t="t" r="r" b="b"/>
              <a:pathLst>
                <a:path w="90169" h="50164">
                  <a:moveTo>
                    <a:pt x="0" y="0"/>
                  </a:moveTo>
                  <a:lnTo>
                    <a:pt x="0" y="1444"/>
                  </a:lnTo>
                  <a:lnTo>
                    <a:pt x="90154" y="49652"/>
                  </a:lnTo>
                  <a:lnTo>
                    <a:pt x="90154" y="47474"/>
                  </a:lnTo>
                  <a:lnTo>
                    <a:pt x="0" y="0"/>
                  </a:lnTo>
                  <a:close/>
                </a:path>
              </a:pathLst>
            </a:custGeom>
            <a:solidFill>
              <a:srgbClr val="B8B4B4"/>
            </a:solidFill>
          </p:spPr>
          <p:txBody>
            <a:bodyPr wrap="square" lIns="0" tIns="0" rIns="0" bIns="0" rtlCol="0"/>
            <a:lstStyle/>
            <a:p>
              <a:endParaRPr sz="1092" dirty="0"/>
            </a:p>
          </p:txBody>
        </p:sp>
        <p:sp>
          <p:nvSpPr>
            <p:cNvPr id="1188" name="object 1188"/>
            <p:cNvSpPr/>
            <p:nvPr/>
          </p:nvSpPr>
          <p:spPr>
            <a:xfrm>
              <a:off x="8810962" y="3140186"/>
              <a:ext cx="54679" cy="30420"/>
            </a:xfrm>
            <a:custGeom>
              <a:avLst/>
              <a:gdLst/>
              <a:ahLst/>
              <a:cxnLst/>
              <a:rect l="l" t="t" r="r" b="b"/>
              <a:pathLst>
                <a:path w="90169" h="50164">
                  <a:moveTo>
                    <a:pt x="0" y="0"/>
                  </a:moveTo>
                  <a:lnTo>
                    <a:pt x="0" y="1444"/>
                  </a:lnTo>
                  <a:lnTo>
                    <a:pt x="90154" y="49652"/>
                  </a:lnTo>
                  <a:lnTo>
                    <a:pt x="90154" y="47485"/>
                  </a:lnTo>
                  <a:lnTo>
                    <a:pt x="0" y="0"/>
                  </a:lnTo>
                  <a:close/>
                </a:path>
              </a:pathLst>
            </a:custGeom>
            <a:solidFill>
              <a:srgbClr val="B8B4B4"/>
            </a:solidFill>
          </p:spPr>
          <p:txBody>
            <a:bodyPr wrap="square" lIns="0" tIns="0" rIns="0" bIns="0" rtlCol="0"/>
            <a:lstStyle/>
            <a:p>
              <a:endParaRPr sz="1092" dirty="0"/>
            </a:p>
          </p:txBody>
        </p:sp>
        <p:sp>
          <p:nvSpPr>
            <p:cNvPr id="1189" name="object 1189"/>
            <p:cNvSpPr/>
            <p:nvPr/>
          </p:nvSpPr>
          <p:spPr>
            <a:xfrm>
              <a:off x="8810962" y="3127611"/>
              <a:ext cx="54679" cy="30420"/>
            </a:xfrm>
            <a:custGeom>
              <a:avLst/>
              <a:gdLst/>
              <a:ahLst/>
              <a:cxnLst/>
              <a:rect l="l" t="t" r="r" b="b"/>
              <a:pathLst>
                <a:path w="90169" h="50164">
                  <a:moveTo>
                    <a:pt x="0" y="0"/>
                  </a:moveTo>
                  <a:lnTo>
                    <a:pt x="0" y="1696"/>
                  </a:lnTo>
                  <a:lnTo>
                    <a:pt x="90154" y="49663"/>
                  </a:lnTo>
                  <a:lnTo>
                    <a:pt x="90154" y="47495"/>
                  </a:lnTo>
                  <a:lnTo>
                    <a:pt x="0" y="0"/>
                  </a:lnTo>
                  <a:close/>
                </a:path>
              </a:pathLst>
            </a:custGeom>
            <a:solidFill>
              <a:srgbClr val="B8B4B4"/>
            </a:solidFill>
          </p:spPr>
          <p:txBody>
            <a:bodyPr wrap="square" lIns="0" tIns="0" rIns="0" bIns="0" rtlCol="0"/>
            <a:lstStyle/>
            <a:p>
              <a:endParaRPr sz="1092" dirty="0"/>
            </a:p>
          </p:txBody>
        </p:sp>
        <p:sp>
          <p:nvSpPr>
            <p:cNvPr id="1190" name="object 1190"/>
            <p:cNvSpPr/>
            <p:nvPr/>
          </p:nvSpPr>
          <p:spPr>
            <a:xfrm>
              <a:off x="8810962" y="3115042"/>
              <a:ext cx="54679" cy="30420"/>
            </a:xfrm>
            <a:custGeom>
              <a:avLst/>
              <a:gdLst/>
              <a:ahLst/>
              <a:cxnLst/>
              <a:rect l="l" t="t" r="r" b="b"/>
              <a:pathLst>
                <a:path w="90169" h="50164">
                  <a:moveTo>
                    <a:pt x="0" y="0"/>
                  </a:moveTo>
                  <a:lnTo>
                    <a:pt x="0" y="1685"/>
                  </a:lnTo>
                  <a:lnTo>
                    <a:pt x="90154" y="49893"/>
                  </a:lnTo>
                  <a:lnTo>
                    <a:pt x="90154" y="47495"/>
                  </a:lnTo>
                  <a:lnTo>
                    <a:pt x="0" y="0"/>
                  </a:lnTo>
                  <a:close/>
                </a:path>
              </a:pathLst>
            </a:custGeom>
            <a:solidFill>
              <a:srgbClr val="B8B4B4"/>
            </a:solidFill>
          </p:spPr>
          <p:txBody>
            <a:bodyPr wrap="square" lIns="0" tIns="0" rIns="0" bIns="0" rtlCol="0"/>
            <a:lstStyle/>
            <a:p>
              <a:endParaRPr sz="1092" dirty="0"/>
            </a:p>
          </p:txBody>
        </p:sp>
        <p:sp>
          <p:nvSpPr>
            <p:cNvPr id="1191" name="object 1191"/>
            <p:cNvSpPr/>
            <p:nvPr/>
          </p:nvSpPr>
          <p:spPr>
            <a:xfrm>
              <a:off x="8810962" y="3102614"/>
              <a:ext cx="54679" cy="30035"/>
            </a:xfrm>
            <a:custGeom>
              <a:avLst/>
              <a:gdLst/>
              <a:ahLst/>
              <a:cxnLst/>
              <a:rect l="l" t="t" r="r" b="b"/>
              <a:pathLst>
                <a:path w="90169" h="49529">
                  <a:moveTo>
                    <a:pt x="0" y="0"/>
                  </a:moveTo>
                  <a:lnTo>
                    <a:pt x="0" y="1455"/>
                  </a:lnTo>
                  <a:lnTo>
                    <a:pt x="90154" y="49422"/>
                  </a:lnTo>
                  <a:lnTo>
                    <a:pt x="90154" y="47495"/>
                  </a:lnTo>
                  <a:lnTo>
                    <a:pt x="0" y="0"/>
                  </a:lnTo>
                  <a:close/>
                </a:path>
              </a:pathLst>
            </a:custGeom>
            <a:solidFill>
              <a:srgbClr val="B8B4B4"/>
            </a:solidFill>
          </p:spPr>
          <p:txBody>
            <a:bodyPr wrap="square" lIns="0" tIns="0" rIns="0" bIns="0" rtlCol="0"/>
            <a:lstStyle/>
            <a:p>
              <a:endParaRPr sz="1092" dirty="0"/>
            </a:p>
          </p:txBody>
        </p:sp>
        <p:sp>
          <p:nvSpPr>
            <p:cNvPr id="1192" name="object 1192"/>
            <p:cNvSpPr/>
            <p:nvPr/>
          </p:nvSpPr>
          <p:spPr>
            <a:xfrm>
              <a:off x="8861828" y="3121915"/>
              <a:ext cx="0" cy="59300"/>
            </a:xfrm>
            <a:custGeom>
              <a:avLst/>
              <a:gdLst/>
              <a:ahLst/>
              <a:cxnLst/>
              <a:rect l="l" t="t" r="r" b="b"/>
              <a:pathLst>
                <a:path h="97789">
                  <a:moveTo>
                    <a:pt x="0" y="0"/>
                  </a:moveTo>
                  <a:lnTo>
                    <a:pt x="0" y="97389"/>
                  </a:lnTo>
                </a:path>
              </a:pathLst>
            </a:custGeom>
            <a:ln w="3175">
              <a:solidFill>
                <a:srgbClr val="B8B4B4"/>
              </a:solidFill>
            </a:ln>
          </p:spPr>
          <p:txBody>
            <a:bodyPr wrap="square" lIns="0" tIns="0" rIns="0" bIns="0" rtlCol="0"/>
            <a:lstStyle/>
            <a:p>
              <a:endParaRPr sz="1092" dirty="0"/>
            </a:p>
          </p:txBody>
        </p:sp>
        <p:sp>
          <p:nvSpPr>
            <p:cNvPr id="1193" name="object 1193"/>
            <p:cNvSpPr/>
            <p:nvPr/>
          </p:nvSpPr>
          <p:spPr>
            <a:xfrm>
              <a:off x="8857590" y="3119718"/>
              <a:ext cx="0" cy="58915"/>
            </a:xfrm>
            <a:custGeom>
              <a:avLst/>
              <a:gdLst/>
              <a:ahLst/>
              <a:cxnLst/>
              <a:rect l="l" t="t" r="r" b="b"/>
              <a:pathLst>
                <a:path h="97154">
                  <a:moveTo>
                    <a:pt x="0" y="0"/>
                  </a:moveTo>
                  <a:lnTo>
                    <a:pt x="0" y="97148"/>
                  </a:lnTo>
                </a:path>
              </a:pathLst>
            </a:custGeom>
            <a:ln w="3175">
              <a:solidFill>
                <a:srgbClr val="B8B4B4"/>
              </a:solidFill>
            </a:ln>
          </p:spPr>
          <p:txBody>
            <a:bodyPr wrap="square" lIns="0" tIns="0" rIns="0" bIns="0" rtlCol="0"/>
            <a:lstStyle/>
            <a:p>
              <a:endParaRPr sz="1092" dirty="0"/>
            </a:p>
          </p:txBody>
        </p:sp>
        <p:sp>
          <p:nvSpPr>
            <p:cNvPr id="1194" name="object 1194"/>
            <p:cNvSpPr/>
            <p:nvPr/>
          </p:nvSpPr>
          <p:spPr>
            <a:xfrm>
              <a:off x="8853276" y="3117381"/>
              <a:ext cx="0" cy="59300"/>
            </a:xfrm>
            <a:custGeom>
              <a:avLst/>
              <a:gdLst/>
              <a:ahLst/>
              <a:cxnLst/>
              <a:rect l="l" t="t" r="r" b="b"/>
              <a:pathLst>
                <a:path h="97789">
                  <a:moveTo>
                    <a:pt x="0" y="0"/>
                  </a:moveTo>
                  <a:lnTo>
                    <a:pt x="0" y="97389"/>
                  </a:lnTo>
                </a:path>
              </a:pathLst>
            </a:custGeom>
            <a:ln w="3175">
              <a:solidFill>
                <a:srgbClr val="B8B4B4"/>
              </a:solidFill>
            </a:ln>
          </p:spPr>
          <p:txBody>
            <a:bodyPr wrap="square" lIns="0" tIns="0" rIns="0" bIns="0" rtlCol="0"/>
            <a:lstStyle/>
            <a:p>
              <a:endParaRPr sz="1092" dirty="0"/>
            </a:p>
          </p:txBody>
        </p:sp>
        <p:sp>
          <p:nvSpPr>
            <p:cNvPr id="1195" name="object 1195"/>
            <p:cNvSpPr/>
            <p:nvPr/>
          </p:nvSpPr>
          <p:spPr>
            <a:xfrm>
              <a:off x="8849038" y="3115194"/>
              <a:ext cx="0" cy="59300"/>
            </a:xfrm>
            <a:custGeom>
              <a:avLst/>
              <a:gdLst/>
              <a:ahLst/>
              <a:cxnLst/>
              <a:rect l="l" t="t" r="r" b="b"/>
              <a:pathLst>
                <a:path h="97789">
                  <a:moveTo>
                    <a:pt x="0" y="0"/>
                  </a:moveTo>
                  <a:lnTo>
                    <a:pt x="0" y="97368"/>
                  </a:lnTo>
                </a:path>
              </a:pathLst>
            </a:custGeom>
            <a:ln w="3175">
              <a:solidFill>
                <a:srgbClr val="B8B4B4"/>
              </a:solidFill>
            </a:ln>
          </p:spPr>
          <p:txBody>
            <a:bodyPr wrap="square" lIns="0" tIns="0" rIns="0" bIns="0" rtlCol="0"/>
            <a:lstStyle/>
            <a:p>
              <a:endParaRPr sz="1092" dirty="0"/>
            </a:p>
          </p:txBody>
        </p:sp>
        <p:sp>
          <p:nvSpPr>
            <p:cNvPr id="1196" name="object 1196"/>
            <p:cNvSpPr/>
            <p:nvPr/>
          </p:nvSpPr>
          <p:spPr>
            <a:xfrm>
              <a:off x="8844726" y="3112993"/>
              <a:ext cx="0" cy="58915"/>
            </a:xfrm>
            <a:custGeom>
              <a:avLst/>
              <a:gdLst/>
              <a:ahLst/>
              <a:cxnLst/>
              <a:rect l="l" t="t" r="r" b="b"/>
              <a:pathLst>
                <a:path h="97154">
                  <a:moveTo>
                    <a:pt x="0" y="0"/>
                  </a:moveTo>
                  <a:lnTo>
                    <a:pt x="0" y="97148"/>
                  </a:lnTo>
                </a:path>
              </a:pathLst>
            </a:custGeom>
            <a:ln w="3175">
              <a:solidFill>
                <a:srgbClr val="B8B4B4"/>
              </a:solidFill>
            </a:ln>
          </p:spPr>
          <p:txBody>
            <a:bodyPr wrap="square" lIns="0" tIns="0" rIns="0" bIns="0" rtlCol="0"/>
            <a:lstStyle/>
            <a:p>
              <a:endParaRPr sz="1092" dirty="0"/>
            </a:p>
          </p:txBody>
        </p:sp>
        <p:sp>
          <p:nvSpPr>
            <p:cNvPr id="1197" name="object 1197"/>
            <p:cNvSpPr/>
            <p:nvPr/>
          </p:nvSpPr>
          <p:spPr>
            <a:xfrm>
              <a:off x="8840488" y="3110662"/>
              <a:ext cx="0" cy="59300"/>
            </a:xfrm>
            <a:custGeom>
              <a:avLst/>
              <a:gdLst/>
              <a:ahLst/>
              <a:cxnLst/>
              <a:rect l="l" t="t" r="r" b="b"/>
              <a:pathLst>
                <a:path h="97789">
                  <a:moveTo>
                    <a:pt x="0" y="0"/>
                  </a:moveTo>
                  <a:lnTo>
                    <a:pt x="0" y="97379"/>
                  </a:lnTo>
                </a:path>
              </a:pathLst>
            </a:custGeom>
            <a:ln w="3175">
              <a:solidFill>
                <a:srgbClr val="B8B4B4"/>
              </a:solidFill>
            </a:ln>
          </p:spPr>
          <p:txBody>
            <a:bodyPr wrap="square" lIns="0" tIns="0" rIns="0" bIns="0" rtlCol="0"/>
            <a:lstStyle/>
            <a:p>
              <a:endParaRPr sz="1092" dirty="0"/>
            </a:p>
          </p:txBody>
        </p:sp>
        <p:sp>
          <p:nvSpPr>
            <p:cNvPr id="1198" name="object 1198"/>
            <p:cNvSpPr/>
            <p:nvPr/>
          </p:nvSpPr>
          <p:spPr>
            <a:xfrm>
              <a:off x="8836318" y="3108462"/>
              <a:ext cx="0" cy="58915"/>
            </a:xfrm>
            <a:custGeom>
              <a:avLst/>
              <a:gdLst/>
              <a:ahLst/>
              <a:cxnLst/>
              <a:rect l="l" t="t" r="r" b="b"/>
              <a:pathLst>
                <a:path h="97154">
                  <a:moveTo>
                    <a:pt x="0" y="0"/>
                  </a:moveTo>
                  <a:lnTo>
                    <a:pt x="0" y="97148"/>
                  </a:lnTo>
                </a:path>
              </a:pathLst>
            </a:custGeom>
            <a:ln w="3175">
              <a:solidFill>
                <a:srgbClr val="B8B4B4"/>
              </a:solidFill>
            </a:ln>
          </p:spPr>
          <p:txBody>
            <a:bodyPr wrap="square" lIns="0" tIns="0" rIns="0" bIns="0" rtlCol="0"/>
            <a:lstStyle/>
            <a:p>
              <a:endParaRPr sz="1092" dirty="0"/>
            </a:p>
          </p:txBody>
        </p:sp>
        <p:sp>
          <p:nvSpPr>
            <p:cNvPr id="1199" name="object 1199"/>
            <p:cNvSpPr/>
            <p:nvPr/>
          </p:nvSpPr>
          <p:spPr>
            <a:xfrm>
              <a:off x="8832078" y="3106131"/>
              <a:ext cx="0" cy="59300"/>
            </a:xfrm>
            <a:custGeom>
              <a:avLst/>
              <a:gdLst/>
              <a:ahLst/>
              <a:cxnLst/>
              <a:rect l="l" t="t" r="r" b="b"/>
              <a:pathLst>
                <a:path h="97789">
                  <a:moveTo>
                    <a:pt x="0" y="0"/>
                  </a:moveTo>
                  <a:lnTo>
                    <a:pt x="0" y="97379"/>
                  </a:lnTo>
                </a:path>
              </a:pathLst>
            </a:custGeom>
            <a:ln w="3175">
              <a:solidFill>
                <a:srgbClr val="B8B4B4"/>
              </a:solidFill>
            </a:ln>
          </p:spPr>
          <p:txBody>
            <a:bodyPr wrap="square" lIns="0" tIns="0" rIns="0" bIns="0" rtlCol="0"/>
            <a:lstStyle/>
            <a:p>
              <a:endParaRPr sz="1092" dirty="0"/>
            </a:p>
          </p:txBody>
        </p:sp>
        <p:sp>
          <p:nvSpPr>
            <p:cNvPr id="1200" name="object 1200"/>
            <p:cNvSpPr/>
            <p:nvPr/>
          </p:nvSpPr>
          <p:spPr>
            <a:xfrm>
              <a:off x="8827838" y="3103935"/>
              <a:ext cx="0" cy="59300"/>
            </a:xfrm>
            <a:custGeom>
              <a:avLst/>
              <a:gdLst/>
              <a:ahLst/>
              <a:cxnLst/>
              <a:rect l="l" t="t" r="r" b="b"/>
              <a:pathLst>
                <a:path h="97789">
                  <a:moveTo>
                    <a:pt x="0" y="0"/>
                  </a:moveTo>
                  <a:lnTo>
                    <a:pt x="0" y="97379"/>
                  </a:lnTo>
                </a:path>
              </a:pathLst>
            </a:custGeom>
            <a:ln w="3175">
              <a:solidFill>
                <a:srgbClr val="B8B4B4"/>
              </a:solidFill>
            </a:ln>
          </p:spPr>
          <p:txBody>
            <a:bodyPr wrap="square" lIns="0" tIns="0" rIns="0" bIns="0" rtlCol="0"/>
            <a:lstStyle/>
            <a:p>
              <a:endParaRPr sz="1092" dirty="0"/>
            </a:p>
          </p:txBody>
        </p:sp>
        <p:sp>
          <p:nvSpPr>
            <p:cNvPr id="1201" name="object 1201"/>
            <p:cNvSpPr/>
            <p:nvPr/>
          </p:nvSpPr>
          <p:spPr>
            <a:xfrm>
              <a:off x="8823530" y="3101597"/>
              <a:ext cx="0" cy="59300"/>
            </a:xfrm>
            <a:custGeom>
              <a:avLst/>
              <a:gdLst/>
              <a:ahLst/>
              <a:cxnLst/>
              <a:rect l="l" t="t" r="r" b="b"/>
              <a:pathLst>
                <a:path h="97789">
                  <a:moveTo>
                    <a:pt x="0" y="0"/>
                  </a:moveTo>
                  <a:lnTo>
                    <a:pt x="0" y="97379"/>
                  </a:lnTo>
                </a:path>
              </a:pathLst>
            </a:custGeom>
            <a:ln w="3175">
              <a:solidFill>
                <a:srgbClr val="B8B4B4"/>
              </a:solidFill>
            </a:ln>
          </p:spPr>
          <p:txBody>
            <a:bodyPr wrap="square" lIns="0" tIns="0" rIns="0" bIns="0" rtlCol="0"/>
            <a:lstStyle/>
            <a:p>
              <a:endParaRPr sz="1092" dirty="0"/>
            </a:p>
          </p:txBody>
        </p:sp>
        <p:sp>
          <p:nvSpPr>
            <p:cNvPr id="1202" name="object 1202"/>
            <p:cNvSpPr/>
            <p:nvPr/>
          </p:nvSpPr>
          <p:spPr>
            <a:xfrm>
              <a:off x="8819369" y="3099407"/>
              <a:ext cx="0" cy="59300"/>
            </a:xfrm>
            <a:custGeom>
              <a:avLst/>
              <a:gdLst/>
              <a:ahLst/>
              <a:cxnLst/>
              <a:rect l="l" t="t" r="r" b="b"/>
              <a:pathLst>
                <a:path h="97789">
                  <a:moveTo>
                    <a:pt x="0" y="0"/>
                  </a:moveTo>
                  <a:lnTo>
                    <a:pt x="0" y="97379"/>
                  </a:lnTo>
                </a:path>
              </a:pathLst>
            </a:custGeom>
            <a:ln w="3175">
              <a:solidFill>
                <a:srgbClr val="B8B4B4"/>
              </a:solidFill>
            </a:ln>
          </p:spPr>
          <p:txBody>
            <a:bodyPr wrap="square" lIns="0" tIns="0" rIns="0" bIns="0" rtlCol="0"/>
            <a:lstStyle/>
            <a:p>
              <a:endParaRPr sz="1092" dirty="0"/>
            </a:p>
          </p:txBody>
        </p:sp>
        <p:sp>
          <p:nvSpPr>
            <p:cNvPr id="1203" name="object 1203"/>
            <p:cNvSpPr/>
            <p:nvPr/>
          </p:nvSpPr>
          <p:spPr>
            <a:xfrm>
              <a:off x="8815050" y="3097205"/>
              <a:ext cx="0" cy="59300"/>
            </a:xfrm>
            <a:custGeom>
              <a:avLst/>
              <a:gdLst/>
              <a:ahLst/>
              <a:cxnLst/>
              <a:rect l="l" t="t" r="r" b="b"/>
              <a:pathLst>
                <a:path h="97789">
                  <a:moveTo>
                    <a:pt x="0" y="0"/>
                  </a:moveTo>
                  <a:lnTo>
                    <a:pt x="0" y="97389"/>
                  </a:lnTo>
                </a:path>
              </a:pathLst>
            </a:custGeom>
            <a:ln w="3175">
              <a:solidFill>
                <a:srgbClr val="B8B4B4"/>
              </a:solidFill>
            </a:ln>
          </p:spPr>
          <p:txBody>
            <a:bodyPr wrap="square" lIns="0" tIns="0" rIns="0" bIns="0" rtlCol="0"/>
            <a:lstStyle/>
            <a:p>
              <a:endParaRPr sz="1092" dirty="0"/>
            </a:p>
          </p:txBody>
        </p:sp>
        <p:sp>
          <p:nvSpPr>
            <p:cNvPr id="1204" name="object 1204"/>
            <p:cNvSpPr/>
            <p:nvPr/>
          </p:nvSpPr>
          <p:spPr>
            <a:xfrm>
              <a:off x="8808176" y="3045760"/>
              <a:ext cx="124761" cy="72392"/>
            </a:xfrm>
            <a:custGeom>
              <a:avLst/>
              <a:gdLst/>
              <a:ahLst/>
              <a:cxnLst/>
              <a:rect l="l" t="t" r="r" b="b"/>
              <a:pathLst>
                <a:path w="205740" h="119379">
                  <a:moveTo>
                    <a:pt x="102708" y="0"/>
                  </a:moveTo>
                  <a:lnTo>
                    <a:pt x="0" y="63631"/>
                  </a:lnTo>
                  <a:lnTo>
                    <a:pt x="102708" y="118834"/>
                  </a:lnTo>
                  <a:lnTo>
                    <a:pt x="205386" y="54710"/>
                  </a:lnTo>
                  <a:lnTo>
                    <a:pt x="102708" y="0"/>
                  </a:lnTo>
                  <a:close/>
                </a:path>
              </a:pathLst>
            </a:custGeom>
            <a:solidFill>
              <a:srgbClr val="ECECEC"/>
            </a:solidFill>
          </p:spPr>
          <p:txBody>
            <a:bodyPr wrap="square" lIns="0" tIns="0" rIns="0" bIns="0" rtlCol="0"/>
            <a:lstStyle/>
            <a:p>
              <a:endParaRPr sz="1092" dirty="0"/>
            </a:p>
          </p:txBody>
        </p:sp>
        <p:sp>
          <p:nvSpPr>
            <p:cNvPr id="1205" name="object 1205"/>
            <p:cNvSpPr/>
            <p:nvPr/>
          </p:nvSpPr>
          <p:spPr>
            <a:xfrm>
              <a:off x="8816067" y="3050436"/>
              <a:ext cx="108973" cy="63150"/>
            </a:xfrm>
            <a:custGeom>
              <a:avLst/>
              <a:gdLst/>
              <a:ahLst/>
              <a:cxnLst/>
              <a:rect l="l" t="t" r="r" b="b"/>
              <a:pathLst>
                <a:path w="179705" h="104139">
                  <a:moveTo>
                    <a:pt x="89693" y="0"/>
                  </a:moveTo>
                  <a:lnTo>
                    <a:pt x="0" y="55684"/>
                  </a:lnTo>
                  <a:lnTo>
                    <a:pt x="89693" y="103892"/>
                  </a:lnTo>
                  <a:lnTo>
                    <a:pt x="179355" y="47967"/>
                  </a:lnTo>
                  <a:lnTo>
                    <a:pt x="89693" y="0"/>
                  </a:lnTo>
                  <a:close/>
                </a:path>
              </a:pathLst>
            </a:custGeom>
            <a:solidFill>
              <a:srgbClr val="DADADA"/>
            </a:solidFill>
          </p:spPr>
          <p:txBody>
            <a:bodyPr wrap="square" lIns="0" tIns="0" rIns="0" bIns="0" rtlCol="0"/>
            <a:lstStyle/>
            <a:p>
              <a:endParaRPr sz="1092" dirty="0"/>
            </a:p>
          </p:txBody>
        </p:sp>
        <p:sp>
          <p:nvSpPr>
            <p:cNvPr id="1206" name="object 1206"/>
            <p:cNvSpPr/>
            <p:nvPr/>
          </p:nvSpPr>
          <p:spPr>
            <a:xfrm>
              <a:off x="8836823" y="3275303"/>
              <a:ext cx="200125" cy="98176"/>
            </a:xfrm>
            <a:prstGeom prst="rect">
              <a:avLst/>
            </a:prstGeom>
            <a:blipFill>
              <a:blip r:embed="rId35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07" name="object 1207"/>
            <p:cNvSpPr/>
            <p:nvPr/>
          </p:nvSpPr>
          <p:spPr>
            <a:xfrm>
              <a:off x="8641548" y="3165036"/>
              <a:ext cx="306126" cy="180595"/>
            </a:xfrm>
            <a:custGeom>
              <a:avLst/>
              <a:gdLst/>
              <a:ahLst/>
              <a:cxnLst/>
              <a:rect l="l" t="t" r="r" b="b"/>
              <a:pathLst>
                <a:path w="504825" h="297814">
                  <a:moveTo>
                    <a:pt x="183680" y="0"/>
                  </a:moveTo>
                  <a:lnTo>
                    <a:pt x="0" y="118593"/>
                  </a:lnTo>
                  <a:lnTo>
                    <a:pt x="320356" y="297216"/>
                  </a:lnTo>
                  <a:lnTo>
                    <a:pt x="504277" y="179104"/>
                  </a:lnTo>
                  <a:lnTo>
                    <a:pt x="183680" y="0"/>
                  </a:lnTo>
                  <a:close/>
                </a:path>
              </a:pathLst>
            </a:custGeom>
            <a:solidFill>
              <a:srgbClr val="FFFFFF"/>
            </a:solidFill>
          </p:spPr>
          <p:txBody>
            <a:bodyPr wrap="square" lIns="0" tIns="0" rIns="0" bIns="0" rtlCol="0"/>
            <a:lstStyle/>
            <a:p>
              <a:endParaRPr sz="1092" dirty="0"/>
            </a:p>
          </p:txBody>
        </p:sp>
        <p:sp>
          <p:nvSpPr>
            <p:cNvPr id="1208" name="object 1208"/>
            <p:cNvSpPr/>
            <p:nvPr/>
          </p:nvSpPr>
          <p:spPr>
            <a:xfrm>
              <a:off x="8835812" y="3273645"/>
              <a:ext cx="111669" cy="99347"/>
            </a:xfrm>
            <a:custGeom>
              <a:avLst/>
              <a:gdLst/>
              <a:ahLst/>
              <a:cxnLst/>
              <a:rect l="l" t="t" r="r" b="b"/>
              <a:pathLst>
                <a:path w="184150" h="163829">
                  <a:moveTo>
                    <a:pt x="183921" y="0"/>
                  </a:moveTo>
                  <a:lnTo>
                    <a:pt x="0" y="118111"/>
                  </a:lnTo>
                  <a:lnTo>
                    <a:pt x="0" y="163670"/>
                  </a:lnTo>
                  <a:lnTo>
                    <a:pt x="183921" y="45077"/>
                  </a:lnTo>
                  <a:lnTo>
                    <a:pt x="183921" y="0"/>
                  </a:lnTo>
                  <a:close/>
                </a:path>
              </a:pathLst>
            </a:custGeom>
            <a:solidFill>
              <a:srgbClr val="787371"/>
            </a:solidFill>
          </p:spPr>
          <p:txBody>
            <a:bodyPr wrap="square" lIns="0" tIns="0" rIns="0" bIns="0" rtlCol="0"/>
            <a:lstStyle/>
            <a:p>
              <a:endParaRPr sz="1092" dirty="0"/>
            </a:p>
          </p:txBody>
        </p:sp>
        <p:sp>
          <p:nvSpPr>
            <p:cNvPr id="1209" name="object 1209"/>
            <p:cNvSpPr/>
            <p:nvPr/>
          </p:nvSpPr>
          <p:spPr>
            <a:xfrm>
              <a:off x="8641547" y="3236952"/>
              <a:ext cx="194458" cy="136313"/>
            </a:xfrm>
            <a:custGeom>
              <a:avLst/>
              <a:gdLst/>
              <a:ahLst/>
              <a:cxnLst/>
              <a:rect l="l" t="t" r="r" b="b"/>
              <a:pathLst>
                <a:path w="320675" h="224789">
                  <a:moveTo>
                    <a:pt x="0" y="0"/>
                  </a:moveTo>
                  <a:lnTo>
                    <a:pt x="0" y="45328"/>
                  </a:lnTo>
                  <a:lnTo>
                    <a:pt x="320356" y="224181"/>
                  </a:lnTo>
                  <a:lnTo>
                    <a:pt x="320356" y="178622"/>
                  </a:lnTo>
                  <a:lnTo>
                    <a:pt x="0" y="0"/>
                  </a:lnTo>
                  <a:close/>
                </a:path>
              </a:pathLst>
            </a:custGeom>
            <a:solidFill>
              <a:srgbClr val="D6CCC2"/>
            </a:solidFill>
          </p:spPr>
          <p:txBody>
            <a:bodyPr wrap="square" lIns="0" tIns="0" rIns="0" bIns="0" rtlCol="0"/>
            <a:lstStyle/>
            <a:p>
              <a:endParaRPr sz="1092" dirty="0"/>
            </a:p>
          </p:txBody>
        </p:sp>
        <p:sp>
          <p:nvSpPr>
            <p:cNvPr id="1210" name="object 1210"/>
            <p:cNvSpPr/>
            <p:nvPr/>
          </p:nvSpPr>
          <p:spPr>
            <a:xfrm>
              <a:off x="8822067" y="3231841"/>
              <a:ext cx="108170" cy="85217"/>
            </a:xfrm>
            <a:prstGeom prst="rect">
              <a:avLst/>
            </a:prstGeom>
            <a:blipFill>
              <a:blip r:embed="rId35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11" name="object 1211"/>
            <p:cNvSpPr/>
            <p:nvPr/>
          </p:nvSpPr>
          <p:spPr>
            <a:xfrm>
              <a:off x="8695632" y="3181991"/>
              <a:ext cx="189837" cy="111284"/>
            </a:xfrm>
            <a:custGeom>
              <a:avLst/>
              <a:gdLst/>
              <a:ahLst/>
              <a:cxnLst/>
              <a:rect l="l" t="t" r="r" b="b"/>
              <a:pathLst>
                <a:path w="313055" h="183514">
                  <a:moveTo>
                    <a:pt x="105085" y="0"/>
                  </a:moveTo>
                  <a:lnTo>
                    <a:pt x="0" y="67736"/>
                  </a:lnTo>
                  <a:lnTo>
                    <a:pt x="207532" y="183439"/>
                  </a:lnTo>
                  <a:lnTo>
                    <a:pt x="312639" y="115703"/>
                  </a:lnTo>
                  <a:lnTo>
                    <a:pt x="105085" y="0"/>
                  </a:lnTo>
                  <a:close/>
                </a:path>
              </a:pathLst>
            </a:custGeom>
            <a:solidFill>
              <a:srgbClr val="FFFFFF"/>
            </a:solidFill>
          </p:spPr>
          <p:txBody>
            <a:bodyPr wrap="square" lIns="0" tIns="0" rIns="0" bIns="0" rtlCol="0"/>
            <a:lstStyle/>
            <a:p>
              <a:endParaRPr sz="1092" dirty="0"/>
            </a:p>
          </p:txBody>
        </p:sp>
        <p:sp>
          <p:nvSpPr>
            <p:cNvPr id="1212" name="object 1212"/>
            <p:cNvSpPr/>
            <p:nvPr/>
          </p:nvSpPr>
          <p:spPr>
            <a:xfrm>
              <a:off x="8695632" y="3223068"/>
              <a:ext cx="189585" cy="93986"/>
            </a:xfrm>
            <a:prstGeom prst="rect">
              <a:avLst/>
            </a:prstGeom>
            <a:blipFill>
              <a:blip r:embed="rId35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13" name="object 1213"/>
            <p:cNvSpPr/>
            <p:nvPr/>
          </p:nvSpPr>
          <p:spPr>
            <a:xfrm>
              <a:off x="9108643" y="3122774"/>
              <a:ext cx="87886" cy="52161"/>
            </a:xfrm>
            <a:prstGeom prst="rect">
              <a:avLst/>
            </a:prstGeom>
            <a:blipFill>
              <a:blip r:embed="rId35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14" name="object 1214"/>
            <p:cNvSpPr/>
            <p:nvPr/>
          </p:nvSpPr>
          <p:spPr>
            <a:xfrm>
              <a:off x="9092487" y="3121441"/>
              <a:ext cx="88005" cy="60274"/>
            </a:xfrm>
            <a:prstGeom prst="rect">
              <a:avLst/>
            </a:prstGeom>
            <a:blipFill>
              <a:blip r:embed="rId35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15" name="object 1215"/>
            <p:cNvSpPr/>
            <p:nvPr/>
          </p:nvSpPr>
          <p:spPr>
            <a:xfrm>
              <a:off x="8988194" y="3191972"/>
              <a:ext cx="87989" cy="52250"/>
            </a:xfrm>
            <a:prstGeom prst="rect">
              <a:avLst/>
            </a:prstGeom>
            <a:blipFill>
              <a:blip r:embed="rId35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16" name="object 1216"/>
            <p:cNvSpPr/>
            <p:nvPr/>
          </p:nvSpPr>
          <p:spPr>
            <a:xfrm>
              <a:off x="8972035" y="3190581"/>
              <a:ext cx="88006" cy="60273"/>
            </a:xfrm>
            <a:prstGeom prst="rect">
              <a:avLst/>
            </a:prstGeom>
            <a:blipFill>
              <a:blip r:embed="rId35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17" name="object 1217"/>
            <p:cNvSpPr/>
            <p:nvPr/>
          </p:nvSpPr>
          <p:spPr>
            <a:xfrm>
              <a:off x="8693164" y="4943934"/>
              <a:ext cx="326379" cy="270421"/>
            </a:xfrm>
            <a:prstGeom prst="rect">
              <a:avLst/>
            </a:prstGeom>
            <a:blipFill>
              <a:blip r:embed="rId35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18" name="object 1218"/>
            <p:cNvSpPr/>
            <p:nvPr/>
          </p:nvSpPr>
          <p:spPr>
            <a:xfrm>
              <a:off x="8228548" y="5104235"/>
              <a:ext cx="656258" cy="335879"/>
            </a:xfrm>
            <a:prstGeom prst="rect">
              <a:avLst/>
            </a:prstGeom>
            <a:blipFill>
              <a:blip r:embed="rId35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19" name="object 1219"/>
            <p:cNvSpPr/>
            <p:nvPr/>
          </p:nvSpPr>
          <p:spPr>
            <a:xfrm>
              <a:off x="8127597" y="4208430"/>
              <a:ext cx="567200" cy="966127"/>
            </a:xfrm>
            <a:custGeom>
              <a:avLst/>
              <a:gdLst/>
              <a:ahLst/>
              <a:cxnLst/>
              <a:rect l="l" t="t" r="r" b="b"/>
              <a:pathLst>
                <a:path w="935355" h="1593215">
                  <a:moveTo>
                    <a:pt x="0" y="0"/>
                  </a:moveTo>
                  <a:lnTo>
                    <a:pt x="3130" y="1139441"/>
                  </a:lnTo>
                  <a:lnTo>
                    <a:pt x="935039" y="1592872"/>
                  </a:lnTo>
                  <a:lnTo>
                    <a:pt x="929249" y="511973"/>
                  </a:lnTo>
                  <a:lnTo>
                    <a:pt x="0" y="0"/>
                  </a:lnTo>
                  <a:close/>
                </a:path>
              </a:pathLst>
            </a:custGeom>
            <a:solidFill>
              <a:srgbClr val="CCCBCB"/>
            </a:solidFill>
          </p:spPr>
          <p:txBody>
            <a:bodyPr wrap="square" lIns="0" tIns="0" rIns="0" bIns="0" rtlCol="0"/>
            <a:lstStyle/>
            <a:p>
              <a:endParaRPr sz="1092" dirty="0"/>
            </a:p>
          </p:txBody>
        </p:sp>
        <p:sp>
          <p:nvSpPr>
            <p:cNvPr id="1220" name="object 1220"/>
            <p:cNvSpPr/>
            <p:nvPr/>
          </p:nvSpPr>
          <p:spPr>
            <a:xfrm>
              <a:off x="7644780" y="4422568"/>
              <a:ext cx="567585" cy="1022346"/>
            </a:xfrm>
            <a:custGeom>
              <a:avLst/>
              <a:gdLst/>
              <a:ahLst/>
              <a:cxnLst/>
              <a:rect l="l" t="t" r="r" b="b"/>
              <a:pathLst>
                <a:path w="935990" h="1685925">
                  <a:moveTo>
                    <a:pt x="0" y="0"/>
                  </a:moveTo>
                  <a:lnTo>
                    <a:pt x="5560" y="1150551"/>
                  </a:lnTo>
                  <a:lnTo>
                    <a:pt x="935772" y="1685686"/>
                  </a:lnTo>
                  <a:lnTo>
                    <a:pt x="929249" y="511994"/>
                  </a:lnTo>
                  <a:lnTo>
                    <a:pt x="0" y="0"/>
                  </a:lnTo>
                  <a:close/>
                </a:path>
              </a:pathLst>
            </a:custGeom>
            <a:solidFill>
              <a:srgbClr val="F7F1F1"/>
            </a:solidFill>
          </p:spPr>
          <p:txBody>
            <a:bodyPr wrap="square" lIns="0" tIns="0" rIns="0" bIns="0" rtlCol="0"/>
            <a:lstStyle/>
            <a:p>
              <a:endParaRPr sz="1092" dirty="0"/>
            </a:p>
          </p:txBody>
        </p:sp>
        <p:sp>
          <p:nvSpPr>
            <p:cNvPr id="1221" name="object 1221"/>
            <p:cNvSpPr/>
            <p:nvPr/>
          </p:nvSpPr>
          <p:spPr>
            <a:xfrm>
              <a:off x="8208576" y="4461009"/>
              <a:ext cx="486337" cy="983840"/>
            </a:xfrm>
            <a:custGeom>
              <a:avLst/>
              <a:gdLst/>
              <a:ahLst/>
              <a:cxnLst/>
              <a:rect l="l" t="t" r="r" b="b"/>
              <a:pathLst>
                <a:path w="802005" h="1622425">
                  <a:moveTo>
                    <a:pt x="438468" y="0"/>
                  </a:moveTo>
                  <a:lnTo>
                    <a:pt x="0" y="407621"/>
                  </a:lnTo>
                  <a:lnTo>
                    <a:pt x="6031" y="1622296"/>
                  </a:lnTo>
                  <a:lnTo>
                    <a:pt x="801504" y="1176351"/>
                  </a:lnTo>
                  <a:lnTo>
                    <a:pt x="800544" y="1031741"/>
                  </a:lnTo>
                  <a:lnTo>
                    <a:pt x="799413" y="846420"/>
                  </a:lnTo>
                  <a:lnTo>
                    <a:pt x="798615" y="702780"/>
                  </a:lnTo>
                  <a:lnTo>
                    <a:pt x="798236" y="628709"/>
                  </a:lnTo>
                  <a:lnTo>
                    <a:pt x="797886" y="554814"/>
                  </a:lnTo>
                  <a:lnTo>
                    <a:pt x="797576" y="482353"/>
                  </a:lnTo>
                  <a:lnTo>
                    <a:pt x="797301" y="407621"/>
                  </a:lnTo>
                  <a:lnTo>
                    <a:pt x="797119" y="346771"/>
                  </a:lnTo>
                  <a:lnTo>
                    <a:pt x="796995" y="286166"/>
                  </a:lnTo>
                  <a:lnTo>
                    <a:pt x="797013" y="185619"/>
                  </a:lnTo>
                  <a:lnTo>
                    <a:pt x="797177" y="148195"/>
                  </a:lnTo>
                  <a:lnTo>
                    <a:pt x="797459" y="121015"/>
                  </a:lnTo>
                  <a:lnTo>
                    <a:pt x="797870" y="105337"/>
                  </a:lnTo>
                  <a:lnTo>
                    <a:pt x="737654" y="66305"/>
                  </a:lnTo>
                  <a:lnTo>
                    <a:pt x="614561" y="32603"/>
                  </a:lnTo>
                  <a:lnTo>
                    <a:pt x="493271" y="8934"/>
                  </a:lnTo>
                  <a:lnTo>
                    <a:pt x="438468" y="0"/>
                  </a:lnTo>
                  <a:close/>
                </a:path>
              </a:pathLst>
            </a:custGeom>
            <a:solidFill>
              <a:srgbClr val="CAC4C4"/>
            </a:solidFill>
          </p:spPr>
          <p:txBody>
            <a:bodyPr wrap="square" lIns="0" tIns="0" rIns="0" bIns="0" rtlCol="0"/>
            <a:lstStyle/>
            <a:p>
              <a:endParaRPr sz="1092" dirty="0"/>
            </a:p>
          </p:txBody>
        </p:sp>
        <p:sp>
          <p:nvSpPr>
            <p:cNvPr id="1222" name="object 1222"/>
            <p:cNvSpPr/>
            <p:nvPr/>
          </p:nvSpPr>
          <p:spPr>
            <a:xfrm>
              <a:off x="7957296" y="4179385"/>
              <a:ext cx="472089" cy="190992"/>
            </a:xfrm>
            <a:custGeom>
              <a:avLst/>
              <a:gdLst/>
              <a:ahLst/>
              <a:cxnLst/>
              <a:rect l="l" t="t" r="r" b="b"/>
              <a:pathLst>
                <a:path w="778509" h="314959">
                  <a:moveTo>
                    <a:pt x="674979" y="257220"/>
                  </a:moveTo>
                  <a:lnTo>
                    <a:pt x="562383" y="257220"/>
                  </a:lnTo>
                  <a:lnTo>
                    <a:pt x="610144" y="260670"/>
                  </a:lnTo>
                  <a:lnTo>
                    <a:pt x="655871" y="268975"/>
                  </a:lnTo>
                  <a:lnTo>
                    <a:pt x="699293" y="281306"/>
                  </a:lnTo>
                  <a:lnTo>
                    <a:pt x="740134" y="296830"/>
                  </a:lnTo>
                  <a:lnTo>
                    <a:pt x="778122" y="314719"/>
                  </a:lnTo>
                  <a:lnTo>
                    <a:pt x="674979" y="257220"/>
                  </a:lnTo>
                  <a:close/>
                </a:path>
                <a:path w="778509" h="314959">
                  <a:moveTo>
                    <a:pt x="107021" y="0"/>
                  </a:moveTo>
                  <a:lnTo>
                    <a:pt x="54243" y="1916"/>
                  </a:lnTo>
                  <a:lnTo>
                    <a:pt x="0" y="11241"/>
                  </a:lnTo>
                  <a:lnTo>
                    <a:pt x="461860" y="268207"/>
                  </a:lnTo>
                  <a:lnTo>
                    <a:pt x="512864" y="259455"/>
                  </a:lnTo>
                  <a:lnTo>
                    <a:pt x="562383" y="257220"/>
                  </a:lnTo>
                  <a:lnTo>
                    <a:pt x="674979" y="257220"/>
                  </a:lnTo>
                  <a:lnTo>
                    <a:pt x="296022" y="45963"/>
                  </a:lnTo>
                  <a:lnTo>
                    <a:pt x="252834" y="28474"/>
                  </a:lnTo>
                  <a:lnTo>
                    <a:pt x="206689" y="14302"/>
                  </a:lnTo>
                  <a:lnTo>
                    <a:pt x="157961" y="4469"/>
                  </a:lnTo>
                  <a:lnTo>
                    <a:pt x="107021" y="0"/>
                  </a:lnTo>
                  <a:close/>
                </a:path>
              </a:pathLst>
            </a:custGeom>
            <a:solidFill>
              <a:srgbClr val="ECECEC"/>
            </a:solidFill>
          </p:spPr>
          <p:txBody>
            <a:bodyPr wrap="square" lIns="0" tIns="0" rIns="0" bIns="0" rtlCol="0"/>
            <a:lstStyle/>
            <a:p>
              <a:endParaRPr sz="1092" dirty="0"/>
            </a:p>
          </p:txBody>
        </p:sp>
        <p:sp>
          <p:nvSpPr>
            <p:cNvPr id="1223" name="object 1223"/>
            <p:cNvSpPr/>
            <p:nvPr/>
          </p:nvSpPr>
          <p:spPr>
            <a:xfrm>
              <a:off x="8237371" y="4335312"/>
              <a:ext cx="460152" cy="184446"/>
            </a:xfrm>
            <a:custGeom>
              <a:avLst/>
              <a:gdLst/>
              <a:ahLst/>
              <a:cxnLst/>
              <a:rect l="l" t="t" r="r" b="b"/>
              <a:pathLst>
                <a:path w="758825" h="304165">
                  <a:moveTo>
                    <a:pt x="673957" y="256721"/>
                  </a:moveTo>
                  <a:lnTo>
                    <a:pt x="571131" y="256721"/>
                  </a:lnTo>
                  <a:lnTo>
                    <a:pt x="622484" y="261383"/>
                  </a:lnTo>
                  <a:lnTo>
                    <a:pt x="671004" y="271486"/>
                  </a:lnTo>
                  <a:lnTo>
                    <a:pt x="716391" y="285952"/>
                  </a:lnTo>
                  <a:lnTo>
                    <a:pt x="758343" y="303701"/>
                  </a:lnTo>
                  <a:lnTo>
                    <a:pt x="673957" y="256721"/>
                  </a:lnTo>
                  <a:close/>
                </a:path>
                <a:path w="758825" h="304165">
                  <a:moveTo>
                    <a:pt x="100376" y="0"/>
                  </a:moveTo>
                  <a:lnTo>
                    <a:pt x="50915" y="2174"/>
                  </a:lnTo>
                  <a:lnTo>
                    <a:pt x="0" y="10841"/>
                  </a:lnTo>
                  <a:lnTo>
                    <a:pt x="461127" y="268037"/>
                  </a:lnTo>
                  <a:lnTo>
                    <a:pt x="517245" y="258579"/>
                  </a:lnTo>
                  <a:lnTo>
                    <a:pt x="571131" y="256721"/>
                  </a:lnTo>
                  <a:lnTo>
                    <a:pt x="673957" y="256721"/>
                  </a:lnTo>
                  <a:lnTo>
                    <a:pt x="316262" y="57583"/>
                  </a:lnTo>
                  <a:lnTo>
                    <a:pt x="278186" y="39693"/>
                  </a:lnTo>
                  <a:lnTo>
                    <a:pt x="237285" y="24164"/>
                  </a:lnTo>
                  <a:lnTo>
                    <a:pt x="193834" y="11821"/>
                  </a:lnTo>
                  <a:lnTo>
                    <a:pt x="148106" y="3491"/>
                  </a:lnTo>
                  <a:lnTo>
                    <a:pt x="100376" y="0"/>
                  </a:lnTo>
                  <a:close/>
                </a:path>
              </a:pathLst>
            </a:custGeom>
            <a:solidFill>
              <a:srgbClr val="ECECEC"/>
            </a:solidFill>
          </p:spPr>
          <p:txBody>
            <a:bodyPr wrap="square" lIns="0" tIns="0" rIns="0" bIns="0" rtlCol="0"/>
            <a:lstStyle/>
            <a:p>
              <a:endParaRPr sz="1092" dirty="0"/>
            </a:p>
          </p:txBody>
        </p:sp>
        <p:sp>
          <p:nvSpPr>
            <p:cNvPr id="1224" name="object 1224"/>
            <p:cNvSpPr/>
            <p:nvPr/>
          </p:nvSpPr>
          <p:spPr>
            <a:xfrm>
              <a:off x="7924854" y="4341881"/>
              <a:ext cx="592229" cy="395076"/>
            </a:xfrm>
            <a:custGeom>
              <a:avLst/>
              <a:gdLst/>
              <a:ahLst/>
              <a:cxnLst/>
              <a:rect l="l" t="t" r="r" b="b"/>
              <a:pathLst>
                <a:path w="976630" h="651509">
                  <a:moveTo>
                    <a:pt x="515356" y="0"/>
                  </a:moveTo>
                  <a:lnTo>
                    <a:pt x="509335" y="1937"/>
                  </a:lnTo>
                  <a:lnTo>
                    <a:pt x="503073" y="2638"/>
                  </a:lnTo>
                  <a:lnTo>
                    <a:pt x="496812" y="4334"/>
                  </a:lnTo>
                  <a:lnTo>
                    <a:pt x="442656" y="23215"/>
                  </a:lnTo>
                  <a:lnTo>
                    <a:pt x="389889" y="47691"/>
                  </a:lnTo>
                  <a:lnTo>
                    <a:pt x="338857" y="76742"/>
                  </a:lnTo>
                  <a:lnTo>
                    <a:pt x="289905" y="109347"/>
                  </a:lnTo>
                  <a:lnTo>
                    <a:pt x="243380" y="144485"/>
                  </a:lnTo>
                  <a:lnTo>
                    <a:pt x="199626" y="181137"/>
                  </a:lnTo>
                  <a:lnTo>
                    <a:pt x="158990" y="218282"/>
                  </a:lnTo>
                  <a:lnTo>
                    <a:pt x="121818" y="254899"/>
                  </a:lnTo>
                  <a:lnTo>
                    <a:pt x="88454" y="289967"/>
                  </a:lnTo>
                  <a:lnTo>
                    <a:pt x="59244" y="322466"/>
                  </a:lnTo>
                  <a:lnTo>
                    <a:pt x="14671" y="375675"/>
                  </a:lnTo>
                  <a:lnTo>
                    <a:pt x="0" y="394344"/>
                  </a:lnTo>
                  <a:lnTo>
                    <a:pt x="460163" y="651079"/>
                  </a:lnTo>
                  <a:lnTo>
                    <a:pt x="474928" y="632365"/>
                  </a:lnTo>
                  <a:lnTo>
                    <a:pt x="494854" y="608051"/>
                  </a:lnTo>
                  <a:lnTo>
                    <a:pt x="548819" y="546686"/>
                  </a:lnTo>
                  <a:lnTo>
                    <a:pt x="582174" y="511668"/>
                  </a:lnTo>
                  <a:lnTo>
                    <a:pt x="619321" y="475112"/>
                  </a:lnTo>
                  <a:lnTo>
                    <a:pt x="659917" y="438036"/>
                  </a:lnTo>
                  <a:lnTo>
                    <a:pt x="703619" y="401455"/>
                  </a:lnTo>
                  <a:lnTo>
                    <a:pt x="750086" y="366385"/>
                  </a:lnTo>
                  <a:lnTo>
                    <a:pt x="798974" y="333842"/>
                  </a:lnTo>
                  <a:lnTo>
                    <a:pt x="849942" y="304841"/>
                  </a:lnTo>
                  <a:lnTo>
                    <a:pt x="902646" y="280399"/>
                  </a:lnTo>
                  <a:lnTo>
                    <a:pt x="956745" y="261531"/>
                  </a:lnTo>
                  <a:lnTo>
                    <a:pt x="969991" y="258641"/>
                  </a:lnTo>
                  <a:lnTo>
                    <a:pt x="976493" y="257206"/>
                  </a:lnTo>
                  <a:lnTo>
                    <a:pt x="515356" y="0"/>
                  </a:lnTo>
                  <a:close/>
                </a:path>
              </a:pathLst>
            </a:custGeom>
            <a:solidFill>
              <a:srgbClr val="ECECEC"/>
            </a:solidFill>
          </p:spPr>
          <p:txBody>
            <a:bodyPr wrap="square" lIns="0" tIns="0" rIns="0" bIns="0" rtlCol="0"/>
            <a:lstStyle/>
            <a:p>
              <a:endParaRPr sz="1092" dirty="0"/>
            </a:p>
          </p:txBody>
        </p:sp>
        <p:sp>
          <p:nvSpPr>
            <p:cNvPr id="1225" name="object 1225"/>
            <p:cNvSpPr/>
            <p:nvPr/>
          </p:nvSpPr>
          <p:spPr>
            <a:xfrm>
              <a:off x="7646534" y="4186204"/>
              <a:ext cx="591074" cy="395076"/>
            </a:xfrm>
            <a:custGeom>
              <a:avLst/>
              <a:gdLst/>
              <a:ahLst/>
              <a:cxnLst/>
              <a:rect l="l" t="t" r="r" b="b"/>
              <a:pathLst>
                <a:path w="974725" h="651509">
                  <a:moveTo>
                    <a:pt x="512476" y="0"/>
                  </a:moveTo>
                  <a:lnTo>
                    <a:pt x="441789" y="22958"/>
                  </a:lnTo>
                  <a:lnTo>
                    <a:pt x="388927" y="47387"/>
                  </a:lnTo>
                  <a:lnTo>
                    <a:pt x="337843" y="76365"/>
                  </a:lnTo>
                  <a:lnTo>
                    <a:pt x="288880" y="108875"/>
                  </a:lnTo>
                  <a:lnTo>
                    <a:pt x="242378" y="143900"/>
                  </a:lnTo>
                  <a:lnTo>
                    <a:pt x="198681" y="180424"/>
                  </a:lnTo>
                  <a:lnTo>
                    <a:pt x="158129" y="217431"/>
                  </a:lnTo>
                  <a:lnTo>
                    <a:pt x="121063" y="253903"/>
                  </a:lnTo>
                  <a:lnTo>
                    <a:pt x="87827" y="288824"/>
                  </a:lnTo>
                  <a:lnTo>
                    <a:pt x="58760" y="321178"/>
                  </a:lnTo>
                  <a:lnTo>
                    <a:pt x="14505" y="374116"/>
                  </a:lnTo>
                  <a:lnTo>
                    <a:pt x="0" y="392668"/>
                  </a:lnTo>
                  <a:lnTo>
                    <a:pt x="458970" y="651330"/>
                  </a:lnTo>
                  <a:lnTo>
                    <a:pt x="473642" y="632655"/>
                  </a:lnTo>
                  <a:lnTo>
                    <a:pt x="493505" y="608351"/>
                  </a:lnTo>
                  <a:lnTo>
                    <a:pt x="547424" y="546935"/>
                  </a:lnTo>
                  <a:lnTo>
                    <a:pt x="580788" y="511865"/>
                  </a:lnTo>
                  <a:lnTo>
                    <a:pt x="617961" y="475246"/>
                  </a:lnTo>
                  <a:lnTo>
                    <a:pt x="658597" y="438100"/>
                  </a:lnTo>
                  <a:lnTo>
                    <a:pt x="702350" y="401447"/>
                  </a:lnTo>
                  <a:lnTo>
                    <a:pt x="748876" y="366308"/>
                  </a:lnTo>
                  <a:lnTo>
                    <a:pt x="797827" y="333702"/>
                  </a:lnTo>
                  <a:lnTo>
                    <a:pt x="848859" y="304650"/>
                  </a:lnTo>
                  <a:lnTo>
                    <a:pt x="901626" y="280173"/>
                  </a:lnTo>
                  <a:lnTo>
                    <a:pt x="955782" y="261290"/>
                  </a:lnTo>
                  <a:lnTo>
                    <a:pt x="968305" y="258662"/>
                  </a:lnTo>
                  <a:lnTo>
                    <a:pt x="974326" y="256965"/>
                  </a:lnTo>
                  <a:lnTo>
                    <a:pt x="512476" y="0"/>
                  </a:lnTo>
                  <a:close/>
                </a:path>
              </a:pathLst>
            </a:custGeom>
            <a:solidFill>
              <a:srgbClr val="ECECEC"/>
            </a:solidFill>
          </p:spPr>
          <p:txBody>
            <a:bodyPr wrap="square" lIns="0" tIns="0" rIns="0" bIns="0" rtlCol="0"/>
            <a:lstStyle/>
            <a:p>
              <a:endParaRPr sz="1092" dirty="0"/>
            </a:p>
          </p:txBody>
        </p:sp>
        <p:sp>
          <p:nvSpPr>
            <p:cNvPr id="1226" name="object 1226"/>
            <p:cNvSpPr/>
            <p:nvPr/>
          </p:nvSpPr>
          <p:spPr>
            <a:xfrm>
              <a:off x="7961698" y="4362640"/>
              <a:ext cx="502124" cy="350024"/>
            </a:xfrm>
            <a:custGeom>
              <a:avLst/>
              <a:gdLst/>
              <a:ahLst/>
              <a:cxnLst/>
              <a:rect l="l" t="t" r="r" b="b"/>
              <a:pathLst>
                <a:path w="828040" h="577215">
                  <a:moveTo>
                    <a:pt x="440384" y="0"/>
                  </a:moveTo>
                  <a:lnTo>
                    <a:pt x="391239" y="18833"/>
                  </a:lnTo>
                  <a:lnTo>
                    <a:pt x="342523" y="43681"/>
                  </a:lnTo>
                  <a:lnTo>
                    <a:pt x="294788" y="73336"/>
                  </a:lnTo>
                  <a:lnTo>
                    <a:pt x="248581" y="106589"/>
                  </a:lnTo>
                  <a:lnTo>
                    <a:pt x="204455" y="142234"/>
                  </a:lnTo>
                  <a:lnTo>
                    <a:pt x="162958" y="179062"/>
                  </a:lnTo>
                  <a:lnTo>
                    <a:pt x="124641" y="215866"/>
                  </a:lnTo>
                  <a:lnTo>
                    <a:pt x="90053" y="251437"/>
                  </a:lnTo>
                  <a:lnTo>
                    <a:pt x="59745" y="284569"/>
                  </a:lnTo>
                  <a:lnTo>
                    <a:pt x="34267" y="314052"/>
                  </a:lnTo>
                  <a:lnTo>
                    <a:pt x="0" y="357245"/>
                  </a:lnTo>
                  <a:lnTo>
                    <a:pt x="388312" y="576589"/>
                  </a:lnTo>
                  <a:lnTo>
                    <a:pt x="402582" y="557906"/>
                  </a:lnTo>
                  <a:lnTo>
                    <a:pt x="422725" y="533261"/>
                  </a:lnTo>
                  <a:lnTo>
                    <a:pt x="448199" y="503846"/>
                  </a:lnTo>
                  <a:lnTo>
                    <a:pt x="478462" y="470850"/>
                  </a:lnTo>
                  <a:lnTo>
                    <a:pt x="512969" y="435463"/>
                  </a:lnTo>
                  <a:lnTo>
                    <a:pt x="551178" y="398876"/>
                  </a:lnTo>
                  <a:lnTo>
                    <a:pt x="592546" y="362279"/>
                  </a:lnTo>
                  <a:lnTo>
                    <a:pt x="636530" y="326863"/>
                  </a:lnTo>
                  <a:lnTo>
                    <a:pt x="682587" y="293818"/>
                  </a:lnTo>
                  <a:lnTo>
                    <a:pt x="730173" y="264334"/>
                  </a:lnTo>
                  <a:lnTo>
                    <a:pt x="778747" y="239601"/>
                  </a:lnTo>
                  <a:lnTo>
                    <a:pt x="827765" y="220810"/>
                  </a:lnTo>
                  <a:lnTo>
                    <a:pt x="816396" y="212656"/>
                  </a:lnTo>
                  <a:lnTo>
                    <a:pt x="782217" y="191912"/>
                  </a:lnTo>
                  <a:lnTo>
                    <a:pt x="670956" y="127219"/>
                  </a:lnTo>
                  <a:lnTo>
                    <a:pt x="545042" y="55853"/>
                  </a:lnTo>
                  <a:lnTo>
                    <a:pt x="492545" y="26768"/>
                  </a:lnTo>
                  <a:lnTo>
                    <a:pt x="455532" y="6937"/>
                  </a:lnTo>
                  <a:lnTo>
                    <a:pt x="440384" y="0"/>
                  </a:lnTo>
                  <a:close/>
                </a:path>
              </a:pathLst>
            </a:custGeom>
            <a:solidFill>
              <a:srgbClr val="FFFFFF"/>
            </a:solidFill>
          </p:spPr>
          <p:txBody>
            <a:bodyPr wrap="square" lIns="0" tIns="0" rIns="0" bIns="0" rtlCol="0"/>
            <a:lstStyle/>
            <a:p>
              <a:endParaRPr sz="1092" dirty="0"/>
            </a:p>
          </p:txBody>
        </p:sp>
        <p:sp>
          <p:nvSpPr>
            <p:cNvPr id="1227" name="object 1227"/>
            <p:cNvSpPr/>
            <p:nvPr/>
          </p:nvSpPr>
          <p:spPr>
            <a:xfrm>
              <a:off x="7687034" y="4207986"/>
              <a:ext cx="495577" cy="345018"/>
            </a:xfrm>
            <a:custGeom>
              <a:avLst/>
              <a:gdLst/>
              <a:ahLst/>
              <a:cxnLst/>
              <a:rect l="l" t="t" r="r" b="b"/>
              <a:pathLst>
                <a:path w="817244" h="568959">
                  <a:moveTo>
                    <a:pt x="434363" y="0"/>
                  </a:moveTo>
                  <a:lnTo>
                    <a:pt x="381542" y="20549"/>
                  </a:lnTo>
                  <a:lnTo>
                    <a:pt x="329261" y="48040"/>
                  </a:lnTo>
                  <a:lnTo>
                    <a:pt x="278231" y="80929"/>
                  </a:lnTo>
                  <a:lnTo>
                    <a:pt x="229159" y="117669"/>
                  </a:lnTo>
                  <a:lnTo>
                    <a:pt x="182753" y="156716"/>
                  </a:lnTo>
                  <a:lnTo>
                    <a:pt x="139723" y="196523"/>
                  </a:lnTo>
                  <a:lnTo>
                    <a:pt x="100777" y="235547"/>
                  </a:lnTo>
                  <a:lnTo>
                    <a:pt x="66623" y="272240"/>
                  </a:lnTo>
                  <a:lnTo>
                    <a:pt x="37970" y="305059"/>
                  </a:lnTo>
                  <a:lnTo>
                    <a:pt x="0" y="352889"/>
                  </a:lnTo>
                  <a:lnTo>
                    <a:pt x="383255" y="568872"/>
                  </a:lnTo>
                  <a:lnTo>
                    <a:pt x="398824" y="548442"/>
                  </a:lnTo>
                  <a:lnTo>
                    <a:pt x="421258" y="521164"/>
                  </a:lnTo>
                  <a:lnTo>
                    <a:pt x="449859" y="488557"/>
                  </a:lnTo>
                  <a:lnTo>
                    <a:pt x="483926" y="452141"/>
                  </a:lnTo>
                  <a:lnTo>
                    <a:pt x="522759" y="413434"/>
                  </a:lnTo>
                  <a:lnTo>
                    <a:pt x="565660" y="373955"/>
                  </a:lnTo>
                  <a:lnTo>
                    <a:pt x="611927" y="335223"/>
                  </a:lnTo>
                  <a:lnTo>
                    <a:pt x="660863" y="298758"/>
                  </a:lnTo>
                  <a:lnTo>
                    <a:pt x="711766" y="266078"/>
                  </a:lnTo>
                  <a:lnTo>
                    <a:pt x="763937" y="238702"/>
                  </a:lnTo>
                  <a:lnTo>
                    <a:pt x="816676" y="218150"/>
                  </a:lnTo>
                  <a:lnTo>
                    <a:pt x="805421" y="210095"/>
                  </a:lnTo>
                  <a:lnTo>
                    <a:pt x="771675" y="189616"/>
                  </a:lnTo>
                  <a:lnTo>
                    <a:pt x="661886" y="125748"/>
                  </a:lnTo>
                  <a:lnTo>
                    <a:pt x="537656" y="55270"/>
                  </a:lnTo>
                  <a:lnTo>
                    <a:pt x="485858" y="26530"/>
                  </a:lnTo>
                  <a:lnTo>
                    <a:pt x="449329" y="6909"/>
                  </a:lnTo>
                  <a:lnTo>
                    <a:pt x="434363" y="0"/>
                  </a:lnTo>
                  <a:close/>
                </a:path>
              </a:pathLst>
            </a:custGeom>
            <a:solidFill>
              <a:srgbClr val="FFFFFF"/>
            </a:solidFill>
          </p:spPr>
          <p:txBody>
            <a:bodyPr wrap="square" lIns="0" tIns="0" rIns="0" bIns="0" rtlCol="0"/>
            <a:lstStyle/>
            <a:p>
              <a:endParaRPr sz="1092" dirty="0"/>
            </a:p>
          </p:txBody>
        </p:sp>
        <p:sp>
          <p:nvSpPr>
            <p:cNvPr id="1228" name="object 1228"/>
            <p:cNvSpPr/>
            <p:nvPr/>
          </p:nvSpPr>
          <p:spPr>
            <a:xfrm>
              <a:off x="8301981" y="4357815"/>
              <a:ext cx="345403" cy="138623"/>
            </a:xfrm>
            <a:custGeom>
              <a:avLst/>
              <a:gdLst/>
              <a:ahLst/>
              <a:cxnLst/>
              <a:rect l="l" t="t" r="r" b="b"/>
              <a:pathLst>
                <a:path w="569594" h="228600">
                  <a:moveTo>
                    <a:pt x="488713" y="182850"/>
                  </a:moveTo>
                  <a:lnTo>
                    <a:pt x="396288" y="182850"/>
                  </a:lnTo>
                  <a:lnTo>
                    <a:pt x="445547" y="187509"/>
                  </a:lnTo>
                  <a:lnTo>
                    <a:pt x="489556" y="197745"/>
                  </a:lnTo>
                  <a:lnTo>
                    <a:pt x="530200" y="211953"/>
                  </a:lnTo>
                  <a:lnTo>
                    <a:pt x="569364" y="228527"/>
                  </a:lnTo>
                  <a:lnTo>
                    <a:pt x="488713" y="182850"/>
                  </a:lnTo>
                  <a:close/>
                </a:path>
                <a:path w="569594" h="228600">
                  <a:moveTo>
                    <a:pt x="0" y="0"/>
                  </a:moveTo>
                  <a:lnTo>
                    <a:pt x="339895" y="185376"/>
                  </a:lnTo>
                  <a:lnTo>
                    <a:pt x="396288" y="182850"/>
                  </a:lnTo>
                  <a:lnTo>
                    <a:pt x="488713" y="182850"/>
                  </a:lnTo>
                  <a:lnTo>
                    <a:pt x="260327" y="53506"/>
                  </a:lnTo>
                  <a:lnTo>
                    <a:pt x="218862" y="35961"/>
                  </a:lnTo>
                  <a:lnTo>
                    <a:pt x="172722" y="20240"/>
                  </a:lnTo>
                  <a:lnTo>
                    <a:pt x="121281" y="7941"/>
                  </a:lnTo>
                  <a:lnTo>
                    <a:pt x="63915" y="662"/>
                  </a:lnTo>
                  <a:lnTo>
                    <a:pt x="0" y="0"/>
                  </a:lnTo>
                  <a:close/>
                </a:path>
              </a:pathLst>
            </a:custGeom>
            <a:solidFill>
              <a:srgbClr val="FFFFFF"/>
            </a:solidFill>
          </p:spPr>
          <p:txBody>
            <a:bodyPr wrap="square" lIns="0" tIns="0" rIns="0" bIns="0" rtlCol="0"/>
            <a:lstStyle/>
            <a:p>
              <a:endParaRPr sz="1092" dirty="0"/>
            </a:p>
          </p:txBody>
        </p:sp>
        <p:sp>
          <p:nvSpPr>
            <p:cNvPr id="1229" name="object 1229"/>
            <p:cNvSpPr/>
            <p:nvPr/>
          </p:nvSpPr>
          <p:spPr>
            <a:xfrm>
              <a:off x="8035797" y="4203163"/>
              <a:ext cx="346558" cy="139008"/>
            </a:xfrm>
            <a:custGeom>
              <a:avLst/>
              <a:gdLst/>
              <a:ahLst/>
              <a:cxnLst/>
              <a:rect l="l" t="t" r="r" b="b"/>
              <a:pathLst>
                <a:path w="571500" h="229234">
                  <a:moveTo>
                    <a:pt x="484856" y="183417"/>
                  </a:moveTo>
                  <a:lnTo>
                    <a:pt x="397762" y="183417"/>
                  </a:lnTo>
                  <a:lnTo>
                    <a:pt x="447087" y="188093"/>
                  </a:lnTo>
                  <a:lnTo>
                    <a:pt x="491169" y="198299"/>
                  </a:lnTo>
                  <a:lnTo>
                    <a:pt x="531872" y="212460"/>
                  </a:lnTo>
                  <a:lnTo>
                    <a:pt x="571061" y="228998"/>
                  </a:lnTo>
                  <a:lnTo>
                    <a:pt x="484856" y="183417"/>
                  </a:lnTo>
                  <a:close/>
                </a:path>
                <a:path w="571500" h="229234">
                  <a:moveTo>
                    <a:pt x="0" y="0"/>
                  </a:moveTo>
                  <a:lnTo>
                    <a:pt x="341329" y="185847"/>
                  </a:lnTo>
                  <a:lnTo>
                    <a:pt x="397762" y="183417"/>
                  </a:lnTo>
                  <a:lnTo>
                    <a:pt x="484856" y="183417"/>
                  </a:lnTo>
                  <a:lnTo>
                    <a:pt x="282033" y="76175"/>
                  </a:lnTo>
                  <a:lnTo>
                    <a:pt x="246259" y="59718"/>
                  </a:lnTo>
                  <a:lnTo>
                    <a:pt x="204841" y="41909"/>
                  </a:lnTo>
                  <a:lnTo>
                    <a:pt x="158643" y="24890"/>
                  </a:lnTo>
                  <a:lnTo>
                    <a:pt x="108527" y="10804"/>
                  </a:lnTo>
                  <a:lnTo>
                    <a:pt x="55358" y="1793"/>
                  </a:lnTo>
                  <a:lnTo>
                    <a:pt x="0" y="0"/>
                  </a:lnTo>
                  <a:close/>
                </a:path>
              </a:pathLst>
            </a:custGeom>
            <a:solidFill>
              <a:srgbClr val="FFFFFF"/>
            </a:solidFill>
          </p:spPr>
          <p:txBody>
            <a:bodyPr wrap="square" lIns="0" tIns="0" rIns="0" bIns="0" rtlCol="0"/>
            <a:lstStyle/>
            <a:p>
              <a:endParaRPr sz="1092" dirty="0"/>
            </a:p>
          </p:txBody>
        </p:sp>
        <p:sp>
          <p:nvSpPr>
            <p:cNvPr id="1230" name="object 1230"/>
            <p:cNvSpPr/>
            <p:nvPr/>
          </p:nvSpPr>
          <p:spPr>
            <a:xfrm>
              <a:off x="7709103" y="4551779"/>
              <a:ext cx="55400" cy="115625"/>
            </a:xfrm>
            <a:prstGeom prst="rect">
              <a:avLst/>
            </a:prstGeom>
            <a:blipFill>
              <a:blip r:embed="rId36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31" name="object 1231"/>
            <p:cNvSpPr/>
            <p:nvPr/>
          </p:nvSpPr>
          <p:spPr>
            <a:xfrm>
              <a:off x="7804398" y="4606024"/>
              <a:ext cx="55400" cy="115771"/>
            </a:xfrm>
            <a:prstGeom prst="rect">
              <a:avLst/>
            </a:prstGeom>
            <a:blipFill>
              <a:blip r:embed="rId36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32" name="object 1232"/>
            <p:cNvSpPr/>
            <p:nvPr/>
          </p:nvSpPr>
          <p:spPr>
            <a:xfrm>
              <a:off x="7899858" y="4660256"/>
              <a:ext cx="55400" cy="115612"/>
            </a:xfrm>
            <a:prstGeom prst="rect">
              <a:avLst/>
            </a:prstGeom>
            <a:blipFill>
              <a:blip r:embed="rId36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33" name="object 1233"/>
            <p:cNvSpPr/>
            <p:nvPr/>
          </p:nvSpPr>
          <p:spPr>
            <a:xfrm>
              <a:off x="7995310" y="4714487"/>
              <a:ext cx="55406" cy="115612"/>
            </a:xfrm>
            <a:prstGeom prst="rect">
              <a:avLst/>
            </a:prstGeom>
            <a:blipFill>
              <a:blip r:embed="rId36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34" name="object 1234"/>
            <p:cNvSpPr/>
            <p:nvPr/>
          </p:nvSpPr>
          <p:spPr>
            <a:xfrm>
              <a:off x="8090611" y="4768718"/>
              <a:ext cx="55400" cy="115606"/>
            </a:xfrm>
            <a:prstGeom prst="rect">
              <a:avLst/>
            </a:prstGeom>
            <a:blipFill>
              <a:blip r:embed="rId36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35" name="object 1235"/>
            <p:cNvSpPr/>
            <p:nvPr/>
          </p:nvSpPr>
          <p:spPr>
            <a:xfrm>
              <a:off x="7709104" y="4682765"/>
              <a:ext cx="55400" cy="115612"/>
            </a:xfrm>
            <a:prstGeom prst="rect">
              <a:avLst/>
            </a:prstGeom>
            <a:blipFill>
              <a:blip r:embed="rId36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36" name="object 1236"/>
            <p:cNvSpPr/>
            <p:nvPr/>
          </p:nvSpPr>
          <p:spPr>
            <a:xfrm>
              <a:off x="7804397" y="4736838"/>
              <a:ext cx="55400" cy="115923"/>
            </a:xfrm>
            <a:prstGeom prst="rect">
              <a:avLst/>
            </a:prstGeom>
            <a:blipFill>
              <a:blip r:embed="rId36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37" name="object 1237"/>
            <p:cNvSpPr/>
            <p:nvPr/>
          </p:nvSpPr>
          <p:spPr>
            <a:xfrm>
              <a:off x="7899858" y="4791069"/>
              <a:ext cx="55400" cy="115771"/>
            </a:xfrm>
            <a:prstGeom prst="rect">
              <a:avLst/>
            </a:prstGeom>
            <a:blipFill>
              <a:blip r:embed="rId36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38" name="object 1238"/>
            <p:cNvSpPr/>
            <p:nvPr/>
          </p:nvSpPr>
          <p:spPr>
            <a:xfrm>
              <a:off x="7995310" y="4845459"/>
              <a:ext cx="55406" cy="115606"/>
            </a:xfrm>
            <a:prstGeom prst="rect">
              <a:avLst/>
            </a:prstGeom>
            <a:blipFill>
              <a:blip r:embed="rId36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39" name="object 1239"/>
            <p:cNvSpPr/>
            <p:nvPr/>
          </p:nvSpPr>
          <p:spPr>
            <a:xfrm>
              <a:off x="8090611" y="4899532"/>
              <a:ext cx="55400" cy="115784"/>
            </a:xfrm>
            <a:prstGeom prst="rect">
              <a:avLst/>
            </a:prstGeom>
            <a:blipFill>
              <a:blip r:embed="rId36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40" name="object 1240"/>
            <p:cNvSpPr/>
            <p:nvPr/>
          </p:nvSpPr>
          <p:spPr>
            <a:xfrm>
              <a:off x="7709104" y="4821045"/>
              <a:ext cx="55400" cy="115327"/>
            </a:xfrm>
            <a:prstGeom prst="rect">
              <a:avLst/>
            </a:prstGeom>
            <a:blipFill>
              <a:blip r:embed="rId37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41" name="object 1241"/>
            <p:cNvSpPr/>
            <p:nvPr/>
          </p:nvSpPr>
          <p:spPr>
            <a:xfrm>
              <a:off x="7804398" y="4874978"/>
              <a:ext cx="55400" cy="115911"/>
            </a:xfrm>
            <a:prstGeom prst="rect">
              <a:avLst/>
            </a:prstGeom>
            <a:blipFill>
              <a:blip r:embed="rId37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42" name="object 1242"/>
            <p:cNvSpPr/>
            <p:nvPr/>
          </p:nvSpPr>
          <p:spPr>
            <a:xfrm>
              <a:off x="7899857" y="4929210"/>
              <a:ext cx="55400" cy="115904"/>
            </a:xfrm>
            <a:prstGeom prst="rect">
              <a:avLst/>
            </a:prstGeom>
            <a:blipFill>
              <a:blip r:embed="rId37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43" name="object 1243"/>
            <p:cNvSpPr/>
            <p:nvPr/>
          </p:nvSpPr>
          <p:spPr>
            <a:xfrm>
              <a:off x="7995310" y="4983733"/>
              <a:ext cx="55406" cy="115632"/>
            </a:xfrm>
            <a:prstGeom prst="rect">
              <a:avLst/>
            </a:prstGeom>
            <a:blipFill>
              <a:blip r:embed="rId37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44" name="object 1244"/>
            <p:cNvSpPr/>
            <p:nvPr/>
          </p:nvSpPr>
          <p:spPr>
            <a:xfrm>
              <a:off x="8090611" y="5037806"/>
              <a:ext cx="55400" cy="115632"/>
            </a:xfrm>
            <a:prstGeom prst="rect">
              <a:avLst/>
            </a:prstGeom>
            <a:blipFill>
              <a:blip r:embed="rId37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45" name="object 1245"/>
            <p:cNvSpPr/>
            <p:nvPr/>
          </p:nvSpPr>
          <p:spPr>
            <a:xfrm>
              <a:off x="7709104" y="4951719"/>
              <a:ext cx="55400" cy="115625"/>
            </a:xfrm>
            <a:prstGeom prst="rect">
              <a:avLst/>
            </a:prstGeom>
            <a:blipFill>
              <a:blip r:embed="rId37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46" name="object 1246"/>
            <p:cNvSpPr/>
            <p:nvPr/>
          </p:nvSpPr>
          <p:spPr>
            <a:xfrm>
              <a:off x="7804398" y="5005951"/>
              <a:ext cx="55400" cy="115904"/>
            </a:xfrm>
            <a:prstGeom prst="rect">
              <a:avLst/>
            </a:prstGeom>
            <a:blipFill>
              <a:blip r:embed="rId37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47" name="object 1247"/>
            <p:cNvSpPr/>
            <p:nvPr/>
          </p:nvSpPr>
          <p:spPr>
            <a:xfrm>
              <a:off x="7899857" y="5060182"/>
              <a:ext cx="55400" cy="115765"/>
            </a:xfrm>
            <a:prstGeom prst="rect">
              <a:avLst/>
            </a:prstGeom>
            <a:blipFill>
              <a:blip r:embed="rId37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48" name="object 1248"/>
            <p:cNvSpPr/>
            <p:nvPr/>
          </p:nvSpPr>
          <p:spPr>
            <a:xfrm>
              <a:off x="7995310" y="5114547"/>
              <a:ext cx="55406" cy="115632"/>
            </a:xfrm>
            <a:prstGeom prst="rect">
              <a:avLst/>
            </a:prstGeom>
            <a:blipFill>
              <a:blip r:embed="rId37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49" name="object 1249"/>
            <p:cNvSpPr/>
            <p:nvPr/>
          </p:nvSpPr>
          <p:spPr>
            <a:xfrm>
              <a:off x="8090611" y="5168639"/>
              <a:ext cx="55400" cy="115619"/>
            </a:xfrm>
            <a:prstGeom prst="rect">
              <a:avLst/>
            </a:prstGeom>
            <a:blipFill>
              <a:blip r:embed="rId37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50" name="object 1250"/>
            <p:cNvSpPr/>
            <p:nvPr/>
          </p:nvSpPr>
          <p:spPr>
            <a:xfrm>
              <a:off x="8559100" y="4556459"/>
              <a:ext cx="55394" cy="115917"/>
            </a:xfrm>
            <a:prstGeom prst="rect">
              <a:avLst/>
            </a:prstGeom>
            <a:blipFill>
              <a:blip r:embed="rId38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51" name="object 1251"/>
            <p:cNvSpPr/>
            <p:nvPr/>
          </p:nvSpPr>
          <p:spPr>
            <a:xfrm>
              <a:off x="8463652" y="4610836"/>
              <a:ext cx="55400" cy="115784"/>
            </a:xfrm>
            <a:prstGeom prst="rect">
              <a:avLst/>
            </a:prstGeom>
            <a:blipFill>
              <a:blip r:embed="rId38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52" name="object 1252"/>
            <p:cNvSpPr/>
            <p:nvPr/>
          </p:nvSpPr>
          <p:spPr>
            <a:xfrm>
              <a:off x="8368346" y="4664922"/>
              <a:ext cx="55394" cy="115625"/>
            </a:xfrm>
            <a:prstGeom prst="rect">
              <a:avLst/>
            </a:prstGeom>
            <a:blipFill>
              <a:blip r:embed="rId38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53" name="object 1253"/>
            <p:cNvSpPr/>
            <p:nvPr/>
          </p:nvSpPr>
          <p:spPr>
            <a:xfrm>
              <a:off x="8272888" y="4719313"/>
              <a:ext cx="55558" cy="115467"/>
            </a:xfrm>
            <a:prstGeom prst="rect">
              <a:avLst/>
            </a:prstGeom>
            <a:blipFill>
              <a:blip r:embed="rId38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54" name="object 1254"/>
            <p:cNvSpPr/>
            <p:nvPr/>
          </p:nvSpPr>
          <p:spPr>
            <a:xfrm>
              <a:off x="8559100" y="4713153"/>
              <a:ext cx="55394" cy="115784"/>
            </a:xfrm>
            <a:prstGeom prst="rect">
              <a:avLst/>
            </a:prstGeom>
            <a:blipFill>
              <a:blip r:embed="rId38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55" name="object 1255"/>
            <p:cNvSpPr/>
            <p:nvPr/>
          </p:nvSpPr>
          <p:spPr>
            <a:xfrm>
              <a:off x="8463653" y="4767550"/>
              <a:ext cx="55400" cy="115765"/>
            </a:xfrm>
            <a:prstGeom prst="rect">
              <a:avLst/>
            </a:prstGeom>
            <a:blipFill>
              <a:blip r:embed="rId38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56" name="object 1256"/>
            <p:cNvSpPr/>
            <p:nvPr/>
          </p:nvSpPr>
          <p:spPr>
            <a:xfrm>
              <a:off x="8368346" y="4821775"/>
              <a:ext cx="55394" cy="115625"/>
            </a:xfrm>
            <a:prstGeom prst="rect">
              <a:avLst/>
            </a:prstGeom>
            <a:blipFill>
              <a:blip r:embed="rId38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57" name="object 1257"/>
            <p:cNvSpPr/>
            <p:nvPr/>
          </p:nvSpPr>
          <p:spPr>
            <a:xfrm>
              <a:off x="8272888" y="4876007"/>
              <a:ext cx="55558" cy="115467"/>
            </a:xfrm>
            <a:prstGeom prst="rect">
              <a:avLst/>
            </a:prstGeom>
            <a:blipFill>
              <a:blip r:embed="rId38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58" name="object 1258"/>
            <p:cNvSpPr/>
            <p:nvPr/>
          </p:nvSpPr>
          <p:spPr>
            <a:xfrm>
              <a:off x="8559100" y="4869867"/>
              <a:ext cx="55394" cy="115765"/>
            </a:xfrm>
            <a:prstGeom prst="rect">
              <a:avLst/>
            </a:prstGeom>
            <a:blipFill>
              <a:blip r:embed="rId38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59" name="object 1259"/>
            <p:cNvSpPr/>
            <p:nvPr/>
          </p:nvSpPr>
          <p:spPr>
            <a:xfrm>
              <a:off x="8463653" y="4924244"/>
              <a:ext cx="55400" cy="115619"/>
            </a:xfrm>
            <a:prstGeom prst="rect">
              <a:avLst/>
            </a:prstGeom>
            <a:blipFill>
              <a:blip r:embed="rId38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60" name="object 1260"/>
            <p:cNvSpPr/>
            <p:nvPr/>
          </p:nvSpPr>
          <p:spPr>
            <a:xfrm>
              <a:off x="8368346" y="4978323"/>
              <a:ext cx="55394" cy="115632"/>
            </a:xfrm>
            <a:prstGeom prst="rect">
              <a:avLst/>
            </a:prstGeom>
            <a:blipFill>
              <a:blip r:embed="rId39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61" name="object 1261"/>
            <p:cNvSpPr/>
            <p:nvPr/>
          </p:nvSpPr>
          <p:spPr>
            <a:xfrm>
              <a:off x="8272887" y="5032701"/>
              <a:ext cx="55558" cy="115327"/>
            </a:xfrm>
            <a:prstGeom prst="rect">
              <a:avLst/>
            </a:prstGeom>
            <a:blipFill>
              <a:blip r:embed="rId39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62" name="object 1262"/>
            <p:cNvSpPr/>
            <p:nvPr/>
          </p:nvSpPr>
          <p:spPr>
            <a:xfrm>
              <a:off x="8559100" y="5023189"/>
              <a:ext cx="55394" cy="115784"/>
            </a:xfrm>
            <a:prstGeom prst="rect">
              <a:avLst/>
            </a:prstGeom>
            <a:blipFill>
              <a:blip r:embed="rId39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63" name="object 1263"/>
            <p:cNvSpPr/>
            <p:nvPr/>
          </p:nvSpPr>
          <p:spPr>
            <a:xfrm>
              <a:off x="8463653" y="5077580"/>
              <a:ext cx="55400" cy="115625"/>
            </a:xfrm>
            <a:prstGeom prst="rect">
              <a:avLst/>
            </a:prstGeom>
            <a:blipFill>
              <a:blip r:embed="rId39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64" name="object 1264"/>
            <p:cNvSpPr/>
            <p:nvPr/>
          </p:nvSpPr>
          <p:spPr>
            <a:xfrm>
              <a:off x="8368346" y="5131513"/>
              <a:ext cx="55394" cy="115765"/>
            </a:xfrm>
            <a:prstGeom prst="rect">
              <a:avLst/>
            </a:prstGeom>
            <a:blipFill>
              <a:blip r:embed="rId39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65" name="object 1265"/>
            <p:cNvSpPr/>
            <p:nvPr/>
          </p:nvSpPr>
          <p:spPr>
            <a:xfrm>
              <a:off x="8272888" y="5185897"/>
              <a:ext cx="55558" cy="115467"/>
            </a:xfrm>
            <a:prstGeom prst="rect">
              <a:avLst/>
            </a:prstGeom>
            <a:blipFill>
              <a:blip r:embed="rId39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66" name="object 1266"/>
            <p:cNvSpPr/>
            <p:nvPr/>
          </p:nvSpPr>
          <p:spPr>
            <a:xfrm>
              <a:off x="6910702" y="5110956"/>
              <a:ext cx="1384692" cy="830969"/>
            </a:xfrm>
            <a:custGeom>
              <a:avLst/>
              <a:gdLst/>
              <a:ahLst/>
              <a:cxnLst/>
              <a:rect l="l" t="t" r="r" b="b"/>
              <a:pathLst>
                <a:path w="2283459" h="1370329">
                  <a:moveTo>
                    <a:pt x="1138177" y="0"/>
                  </a:moveTo>
                  <a:lnTo>
                    <a:pt x="1110575" y="3093"/>
                  </a:lnTo>
                  <a:lnTo>
                    <a:pt x="1086406" y="12448"/>
                  </a:lnTo>
                  <a:lnTo>
                    <a:pt x="0" y="610022"/>
                  </a:lnTo>
                  <a:lnTo>
                    <a:pt x="28" y="650183"/>
                  </a:lnTo>
                  <a:lnTo>
                    <a:pt x="268" y="698717"/>
                  </a:lnTo>
                  <a:lnTo>
                    <a:pt x="1093652" y="1357517"/>
                  </a:lnTo>
                  <a:lnTo>
                    <a:pt x="1145559" y="1370111"/>
                  </a:lnTo>
                  <a:lnTo>
                    <a:pt x="1173133" y="1367070"/>
                  </a:lnTo>
                  <a:lnTo>
                    <a:pt x="2262255" y="736803"/>
                  </a:lnTo>
                  <a:lnTo>
                    <a:pt x="2283459" y="706207"/>
                  </a:lnTo>
                  <a:lnTo>
                    <a:pt x="2283326" y="698717"/>
                  </a:lnTo>
                  <a:lnTo>
                    <a:pt x="2283228" y="617739"/>
                  </a:lnTo>
                  <a:lnTo>
                    <a:pt x="1190309" y="12689"/>
                  </a:lnTo>
                  <a:lnTo>
                    <a:pt x="1165869" y="3191"/>
                  </a:lnTo>
                  <a:lnTo>
                    <a:pt x="1138177" y="0"/>
                  </a:lnTo>
                  <a:close/>
                </a:path>
              </a:pathLst>
            </a:custGeom>
            <a:solidFill>
              <a:srgbClr val="65A91B"/>
            </a:solidFill>
          </p:spPr>
          <p:txBody>
            <a:bodyPr wrap="square" lIns="0" tIns="0" rIns="0" bIns="0" rtlCol="0"/>
            <a:lstStyle/>
            <a:p>
              <a:endParaRPr sz="1092" dirty="0"/>
            </a:p>
          </p:txBody>
        </p:sp>
        <p:sp>
          <p:nvSpPr>
            <p:cNvPr id="1267" name="object 1267"/>
            <p:cNvSpPr/>
            <p:nvPr/>
          </p:nvSpPr>
          <p:spPr>
            <a:xfrm>
              <a:off x="6910587" y="5078140"/>
              <a:ext cx="1385077" cy="810176"/>
            </a:xfrm>
            <a:custGeom>
              <a:avLst/>
              <a:gdLst/>
              <a:ahLst/>
              <a:cxnLst/>
              <a:rect l="l" t="t" r="r" b="b"/>
              <a:pathLst>
                <a:path w="2284094" h="1336040">
                  <a:moveTo>
                    <a:pt x="1138130" y="0"/>
                  </a:moveTo>
                  <a:lnTo>
                    <a:pt x="1086364" y="12329"/>
                  </a:lnTo>
                  <a:lnTo>
                    <a:pt x="21392" y="633273"/>
                  </a:lnTo>
                  <a:lnTo>
                    <a:pt x="0" y="663770"/>
                  </a:lnTo>
                  <a:lnTo>
                    <a:pt x="5462" y="679989"/>
                  </a:lnTo>
                  <a:lnTo>
                    <a:pt x="21643" y="694266"/>
                  </a:lnTo>
                  <a:lnTo>
                    <a:pt x="1093589" y="1322928"/>
                  </a:lnTo>
                  <a:lnTo>
                    <a:pt x="1117888" y="1332462"/>
                  </a:lnTo>
                  <a:lnTo>
                    <a:pt x="1145507" y="1335732"/>
                  </a:lnTo>
                  <a:lnTo>
                    <a:pt x="1173082" y="1332718"/>
                  </a:lnTo>
                  <a:lnTo>
                    <a:pt x="1197251" y="1323399"/>
                  </a:lnTo>
                  <a:lnTo>
                    <a:pt x="2262203" y="702224"/>
                  </a:lnTo>
                  <a:lnTo>
                    <a:pt x="2278307" y="688114"/>
                  </a:lnTo>
                  <a:lnTo>
                    <a:pt x="2283601" y="672020"/>
                  </a:lnTo>
                  <a:lnTo>
                    <a:pt x="2278139" y="655837"/>
                  </a:lnTo>
                  <a:lnTo>
                    <a:pt x="2261973" y="641462"/>
                  </a:lnTo>
                  <a:lnTo>
                    <a:pt x="1190256" y="12800"/>
                  </a:lnTo>
                  <a:lnTo>
                    <a:pt x="1165819" y="3273"/>
                  </a:lnTo>
                  <a:lnTo>
                    <a:pt x="1138130" y="0"/>
                  </a:lnTo>
                  <a:close/>
                </a:path>
              </a:pathLst>
            </a:custGeom>
            <a:solidFill>
              <a:srgbClr val="8CB835"/>
            </a:solidFill>
          </p:spPr>
          <p:txBody>
            <a:bodyPr wrap="square" lIns="0" tIns="0" rIns="0" bIns="0" rtlCol="0"/>
            <a:lstStyle/>
            <a:p>
              <a:endParaRPr sz="1092" dirty="0"/>
            </a:p>
          </p:txBody>
        </p:sp>
        <p:sp>
          <p:nvSpPr>
            <p:cNvPr id="1268" name="object 1268"/>
            <p:cNvSpPr/>
            <p:nvPr/>
          </p:nvSpPr>
          <p:spPr>
            <a:xfrm>
              <a:off x="7621981" y="5621501"/>
              <a:ext cx="221740" cy="128724"/>
            </a:xfrm>
            <a:prstGeom prst="rect">
              <a:avLst/>
            </a:prstGeom>
            <a:blipFill>
              <a:blip r:embed="rId39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69" name="object 1269"/>
            <p:cNvSpPr/>
            <p:nvPr/>
          </p:nvSpPr>
          <p:spPr>
            <a:xfrm>
              <a:off x="7618887" y="5644004"/>
              <a:ext cx="23874" cy="98962"/>
            </a:xfrm>
            <a:custGeom>
              <a:avLst/>
              <a:gdLst/>
              <a:ahLst/>
              <a:cxnLst/>
              <a:rect l="l" t="t" r="r" b="b"/>
              <a:pathLst>
                <a:path w="39370" h="163195">
                  <a:moveTo>
                    <a:pt x="284" y="0"/>
                  </a:moveTo>
                  <a:lnTo>
                    <a:pt x="173" y="24086"/>
                  </a:lnTo>
                  <a:lnTo>
                    <a:pt x="10" y="70534"/>
                  </a:lnTo>
                  <a:lnTo>
                    <a:pt x="0" y="124234"/>
                  </a:lnTo>
                  <a:lnTo>
                    <a:pt x="284" y="151356"/>
                  </a:lnTo>
                  <a:lnTo>
                    <a:pt x="10417" y="160724"/>
                  </a:lnTo>
                  <a:lnTo>
                    <a:pt x="22553" y="163149"/>
                  </a:lnTo>
                  <a:lnTo>
                    <a:pt x="33194" y="160285"/>
                  </a:lnTo>
                  <a:lnTo>
                    <a:pt x="38838" y="153785"/>
                  </a:lnTo>
                  <a:lnTo>
                    <a:pt x="39355" y="124234"/>
                  </a:lnTo>
                  <a:lnTo>
                    <a:pt x="39284" y="70534"/>
                  </a:lnTo>
                  <a:lnTo>
                    <a:pt x="38992" y="21720"/>
                  </a:lnTo>
                  <a:lnTo>
                    <a:pt x="38838" y="2397"/>
                  </a:lnTo>
                  <a:lnTo>
                    <a:pt x="284" y="0"/>
                  </a:lnTo>
                  <a:close/>
                </a:path>
              </a:pathLst>
            </a:custGeom>
            <a:solidFill>
              <a:srgbClr val="904C04"/>
            </a:solidFill>
          </p:spPr>
          <p:txBody>
            <a:bodyPr wrap="square" lIns="0" tIns="0" rIns="0" bIns="0" rtlCol="0"/>
            <a:lstStyle/>
            <a:p>
              <a:endParaRPr sz="1092" dirty="0"/>
            </a:p>
          </p:txBody>
        </p:sp>
        <p:sp>
          <p:nvSpPr>
            <p:cNvPr id="1270" name="object 1270"/>
            <p:cNvSpPr/>
            <p:nvPr/>
          </p:nvSpPr>
          <p:spPr>
            <a:xfrm>
              <a:off x="7515855" y="5490130"/>
              <a:ext cx="231250" cy="228272"/>
            </a:xfrm>
            <a:prstGeom prst="rect">
              <a:avLst/>
            </a:prstGeom>
            <a:blipFill>
              <a:blip r:embed="rId39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71" name="object 1271"/>
            <p:cNvSpPr/>
            <p:nvPr/>
          </p:nvSpPr>
          <p:spPr>
            <a:xfrm>
              <a:off x="7199686" y="5492973"/>
              <a:ext cx="174367" cy="100971"/>
            </a:xfrm>
            <a:prstGeom prst="rect">
              <a:avLst/>
            </a:prstGeom>
            <a:blipFill>
              <a:blip r:embed="rId398"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72" name="object 1272"/>
            <p:cNvSpPr/>
            <p:nvPr/>
          </p:nvSpPr>
          <p:spPr>
            <a:xfrm>
              <a:off x="7197175" y="5510688"/>
              <a:ext cx="19253" cy="77783"/>
            </a:xfrm>
            <a:custGeom>
              <a:avLst/>
              <a:gdLst/>
              <a:ahLst/>
              <a:cxnLst/>
              <a:rect l="l" t="t" r="r" b="b"/>
              <a:pathLst>
                <a:path w="31750" h="128270">
                  <a:moveTo>
                    <a:pt x="280" y="0"/>
                  </a:moveTo>
                  <a:lnTo>
                    <a:pt x="178" y="17042"/>
                  </a:lnTo>
                  <a:lnTo>
                    <a:pt x="9" y="55349"/>
                  </a:lnTo>
                  <a:lnTo>
                    <a:pt x="0" y="97540"/>
                  </a:lnTo>
                  <a:lnTo>
                    <a:pt x="280" y="118834"/>
                  </a:lnTo>
                  <a:lnTo>
                    <a:pt x="8280" y="126153"/>
                  </a:lnTo>
                  <a:lnTo>
                    <a:pt x="17816" y="128002"/>
                  </a:lnTo>
                  <a:lnTo>
                    <a:pt x="26178" y="125691"/>
                  </a:lnTo>
                  <a:lnTo>
                    <a:pt x="30656" y="120530"/>
                  </a:lnTo>
                  <a:lnTo>
                    <a:pt x="31198" y="112571"/>
                  </a:lnTo>
                  <a:lnTo>
                    <a:pt x="31378" y="97540"/>
                  </a:lnTo>
                  <a:lnTo>
                    <a:pt x="31198" y="64295"/>
                  </a:lnTo>
                  <a:lnTo>
                    <a:pt x="30656" y="1696"/>
                  </a:lnTo>
                  <a:lnTo>
                    <a:pt x="280" y="0"/>
                  </a:lnTo>
                  <a:close/>
                </a:path>
              </a:pathLst>
            </a:custGeom>
            <a:solidFill>
              <a:srgbClr val="904C04"/>
            </a:solidFill>
          </p:spPr>
          <p:txBody>
            <a:bodyPr wrap="square" lIns="0" tIns="0" rIns="0" bIns="0" rtlCol="0"/>
            <a:lstStyle/>
            <a:p>
              <a:endParaRPr sz="1092" dirty="0"/>
            </a:p>
          </p:txBody>
        </p:sp>
        <p:sp>
          <p:nvSpPr>
            <p:cNvPr id="1273" name="object 1273"/>
            <p:cNvSpPr/>
            <p:nvPr/>
          </p:nvSpPr>
          <p:spPr>
            <a:xfrm>
              <a:off x="7116215" y="5389604"/>
              <a:ext cx="181844" cy="179254"/>
            </a:xfrm>
            <a:prstGeom prst="rect">
              <a:avLst/>
            </a:prstGeom>
            <a:blipFill>
              <a:blip r:embed="rId399"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74" name="object 1274"/>
            <p:cNvSpPr/>
            <p:nvPr/>
          </p:nvSpPr>
          <p:spPr>
            <a:xfrm>
              <a:off x="7440290" y="5240375"/>
              <a:ext cx="413615" cy="233168"/>
            </a:xfrm>
            <a:prstGeom prst="rect">
              <a:avLst/>
            </a:prstGeom>
            <a:blipFill>
              <a:blip r:embed="rId400"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75" name="object 1275"/>
            <p:cNvSpPr/>
            <p:nvPr/>
          </p:nvSpPr>
          <p:spPr>
            <a:xfrm>
              <a:off x="7435602" y="5176677"/>
              <a:ext cx="33500" cy="269160"/>
            </a:xfrm>
            <a:custGeom>
              <a:avLst/>
              <a:gdLst/>
              <a:ahLst/>
              <a:cxnLst/>
              <a:rect l="l" t="t" r="r" b="b"/>
              <a:pathLst>
                <a:path w="55245" h="443865">
                  <a:moveTo>
                    <a:pt x="483" y="0"/>
                  </a:moveTo>
                  <a:lnTo>
                    <a:pt x="309" y="67259"/>
                  </a:lnTo>
                  <a:lnTo>
                    <a:pt x="35" y="207280"/>
                  </a:lnTo>
                  <a:lnTo>
                    <a:pt x="0" y="356567"/>
                  </a:lnTo>
                  <a:lnTo>
                    <a:pt x="483" y="428123"/>
                  </a:lnTo>
                  <a:lnTo>
                    <a:pt x="14683" y="440308"/>
                  </a:lnTo>
                  <a:lnTo>
                    <a:pt x="31616" y="443521"/>
                  </a:lnTo>
                  <a:lnTo>
                    <a:pt x="46424" y="439818"/>
                  </a:lnTo>
                  <a:lnTo>
                    <a:pt x="54251" y="431253"/>
                  </a:lnTo>
                  <a:lnTo>
                    <a:pt x="54801" y="407580"/>
                  </a:lnTo>
                  <a:lnTo>
                    <a:pt x="55059" y="356567"/>
                  </a:lnTo>
                  <a:lnTo>
                    <a:pt x="54962" y="207280"/>
                  </a:lnTo>
                  <a:lnTo>
                    <a:pt x="54756" y="133560"/>
                  </a:lnTo>
                  <a:lnTo>
                    <a:pt x="54508" y="64351"/>
                  </a:lnTo>
                  <a:lnTo>
                    <a:pt x="54251" y="3151"/>
                  </a:lnTo>
                  <a:lnTo>
                    <a:pt x="483" y="0"/>
                  </a:lnTo>
                  <a:close/>
                </a:path>
              </a:pathLst>
            </a:custGeom>
            <a:solidFill>
              <a:srgbClr val="904C04"/>
            </a:solidFill>
          </p:spPr>
          <p:txBody>
            <a:bodyPr wrap="square" lIns="0" tIns="0" rIns="0" bIns="0" rtlCol="0"/>
            <a:lstStyle/>
            <a:p>
              <a:endParaRPr sz="1092" dirty="0"/>
            </a:p>
          </p:txBody>
        </p:sp>
        <p:sp>
          <p:nvSpPr>
            <p:cNvPr id="1276" name="object 1276"/>
            <p:cNvSpPr/>
            <p:nvPr/>
          </p:nvSpPr>
          <p:spPr>
            <a:xfrm>
              <a:off x="7269114" y="5173465"/>
              <a:ext cx="192147" cy="129382"/>
            </a:xfrm>
            <a:custGeom>
              <a:avLst/>
              <a:gdLst/>
              <a:ahLst/>
              <a:cxnLst/>
              <a:rect l="l" t="t" r="r" b="b"/>
              <a:pathLst>
                <a:path w="316865" h="213359">
                  <a:moveTo>
                    <a:pt x="22658" y="0"/>
                  </a:moveTo>
                  <a:lnTo>
                    <a:pt x="0" y="31821"/>
                  </a:lnTo>
                  <a:lnTo>
                    <a:pt x="291195" y="212852"/>
                  </a:lnTo>
                  <a:lnTo>
                    <a:pt x="304901" y="209339"/>
                  </a:lnTo>
                  <a:lnTo>
                    <a:pt x="313550" y="200289"/>
                  </a:lnTo>
                  <a:lnTo>
                    <a:pt x="316686" y="189563"/>
                  </a:lnTo>
                  <a:lnTo>
                    <a:pt x="313854" y="181020"/>
                  </a:lnTo>
                  <a:lnTo>
                    <a:pt x="263372" y="149082"/>
                  </a:lnTo>
                  <a:lnTo>
                    <a:pt x="22658" y="0"/>
                  </a:lnTo>
                  <a:close/>
                </a:path>
              </a:pathLst>
            </a:custGeom>
            <a:solidFill>
              <a:srgbClr val="904C04"/>
            </a:solidFill>
          </p:spPr>
          <p:txBody>
            <a:bodyPr wrap="square" lIns="0" tIns="0" rIns="0" bIns="0" rtlCol="0"/>
            <a:lstStyle/>
            <a:p>
              <a:endParaRPr sz="1092" dirty="0"/>
            </a:p>
          </p:txBody>
        </p:sp>
        <p:sp>
          <p:nvSpPr>
            <p:cNvPr id="1277" name="object 1277"/>
            <p:cNvSpPr/>
            <p:nvPr/>
          </p:nvSpPr>
          <p:spPr>
            <a:xfrm>
              <a:off x="7447192" y="5203424"/>
              <a:ext cx="180210" cy="144399"/>
            </a:xfrm>
            <a:custGeom>
              <a:avLst/>
              <a:gdLst/>
              <a:ahLst/>
              <a:cxnLst/>
              <a:rect l="l" t="t" r="r" b="b"/>
              <a:pathLst>
                <a:path w="297179" h="238125">
                  <a:moveTo>
                    <a:pt x="274729" y="0"/>
                  </a:moveTo>
                  <a:lnTo>
                    <a:pt x="48876" y="169336"/>
                  </a:lnTo>
                  <a:lnTo>
                    <a:pt x="1628" y="205386"/>
                  </a:lnTo>
                  <a:lnTo>
                    <a:pt x="0" y="219423"/>
                  </a:lnTo>
                  <a:lnTo>
                    <a:pt x="5423" y="230674"/>
                  </a:lnTo>
                  <a:lnTo>
                    <a:pt x="14373" y="237358"/>
                  </a:lnTo>
                  <a:lnTo>
                    <a:pt x="23323" y="237689"/>
                  </a:lnTo>
                  <a:lnTo>
                    <a:pt x="42323" y="223883"/>
                  </a:lnTo>
                  <a:lnTo>
                    <a:pt x="296666" y="32323"/>
                  </a:lnTo>
                  <a:lnTo>
                    <a:pt x="274729" y="0"/>
                  </a:lnTo>
                  <a:close/>
                </a:path>
              </a:pathLst>
            </a:custGeom>
            <a:solidFill>
              <a:srgbClr val="904C04"/>
            </a:solidFill>
          </p:spPr>
          <p:txBody>
            <a:bodyPr wrap="square" lIns="0" tIns="0" rIns="0" bIns="0" rtlCol="0"/>
            <a:lstStyle/>
            <a:p>
              <a:endParaRPr sz="1092" dirty="0"/>
            </a:p>
          </p:txBody>
        </p:sp>
        <p:sp>
          <p:nvSpPr>
            <p:cNvPr id="1278" name="object 1278"/>
            <p:cNvSpPr/>
            <p:nvPr/>
          </p:nvSpPr>
          <p:spPr>
            <a:xfrm>
              <a:off x="7225188" y="4904777"/>
              <a:ext cx="443346" cy="397509"/>
            </a:xfrm>
            <a:prstGeom prst="rect">
              <a:avLst/>
            </a:prstGeom>
            <a:blipFill>
              <a:blip r:embed="rId401"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79" name="object 1279"/>
            <p:cNvSpPr/>
            <p:nvPr/>
          </p:nvSpPr>
          <p:spPr>
            <a:xfrm>
              <a:off x="7940204" y="5422513"/>
              <a:ext cx="334653" cy="166148"/>
            </a:xfrm>
            <a:prstGeom prst="rect">
              <a:avLst/>
            </a:prstGeom>
            <a:blipFill>
              <a:blip r:embed="rId402"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80" name="object 1280"/>
            <p:cNvSpPr/>
            <p:nvPr/>
          </p:nvSpPr>
          <p:spPr>
            <a:xfrm>
              <a:off x="7938564" y="5391713"/>
              <a:ext cx="26569" cy="199463"/>
            </a:xfrm>
            <a:custGeom>
              <a:avLst/>
              <a:gdLst/>
              <a:ahLst/>
              <a:cxnLst/>
              <a:rect l="l" t="t" r="r" b="b"/>
              <a:pathLst>
                <a:path w="43815" h="328929">
                  <a:moveTo>
                    <a:pt x="296" y="0"/>
                  </a:moveTo>
                  <a:lnTo>
                    <a:pt x="189" y="50064"/>
                  </a:lnTo>
                  <a:lnTo>
                    <a:pt x="21" y="153631"/>
                  </a:lnTo>
                  <a:lnTo>
                    <a:pt x="0" y="264358"/>
                  </a:lnTo>
                  <a:lnTo>
                    <a:pt x="296" y="317205"/>
                  </a:lnTo>
                  <a:lnTo>
                    <a:pt x="11678" y="326335"/>
                  </a:lnTo>
                  <a:lnTo>
                    <a:pt x="25186" y="328725"/>
                  </a:lnTo>
                  <a:lnTo>
                    <a:pt x="36976" y="325960"/>
                  </a:lnTo>
                  <a:lnTo>
                    <a:pt x="43205" y="319623"/>
                  </a:lnTo>
                  <a:lnTo>
                    <a:pt x="43713" y="264358"/>
                  </a:lnTo>
                  <a:lnTo>
                    <a:pt x="43651" y="153631"/>
                  </a:lnTo>
                  <a:lnTo>
                    <a:pt x="43366" y="47699"/>
                  </a:lnTo>
                  <a:lnTo>
                    <a:pt x="43205" y="2397"/>
                  </a:lnTo>
                  <a:lnTo>
                    <a:pt x="296" y="0"/>
                  </a:lnTo>
                  <a:close/>
                </a:path>
              </a:pathLst>
            </a:custGeom>
            <a:solidFill>
              <a:srgbClr val="904C04"/>
            </a:solidFill>
          </p:spPr>
          <p:txBody>
            <a:bodyPr wrap="square" lIns="0" tIns="0" rIns="0" bIns="0" rtlCol="0"/>
            <a:lstStyle/>
            <a:p>
              <a:endParaRPr sz="1092" dirty="0"/>
            </a:p>
          </p:txBody>
        </p:sp>
        <p:sp>
          <p:nvSpPr>
            <p:cNvPr id="1281" name="object 1281"/>
            <p:cNvSpPr/>
            <p:nvPr/>
          </p:nvSpPr>
          <p:spPr>
            <a:xfrm>
              <a:off x="7807040" y="5416989"/>
              <a:ext cx="153077" cy="102767"/>
            </a:xfrm>
            <a:prstGeom prst="rect">
              <a:avLst/>
            </a:prstGeom>
            <a:blipFill>
              <a:blip r:embed="rId403"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82" name="object 1282"/>
            <p:cNvSpPr/>
            <p:nvPr/>
          </p:nvSpPr>
          <p:spPr>
            <a:xfrm>
              <a:off x="7767615" y="5175115"/>
              <a:ext cx="313503" cy="333239"/>
            </a:xfrm>
            <a:prstGeom prst="rect">
              <a:avLst/>
            </a:prstGeom>
            <a:blipFill>
              <a:blip r:embed="rId40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83" name="object 1283"/>
            <p:cNvSpPr/>
            <p:nvPr/>
          </p:nvSpPr>
          <p:spPr>
            <a:xfrm>
              <a:off x="7190478" y="5868089"/>
              <a:ext cx="208320" cy="128612"/>
            </a:xfrm>
            <a:custGeom>
              <a:avLst/>
              <a:gdLst/>
              <a:ahLst/>
              <a:cxnLst/>
              <a:rect l="l" t="t" r="r" b="b"/>
              <a:pathLst>
                <a:path w="343534" h="212090">
                  <a:moveTo>
                    <a:pt x="164623" y="0"/>
                  </a:moveTo>
                  <a:lnTo>
                    <a:pt x="110782" y="8847"/>
                  </a:lnTo>
                  <a:lnTo>
                    <a:pt x="64713" y="26882"/>
                  </a:lnTo>
                  <a:lnTo>
                    <a:pt x="29103" y="52183"/>
                  </a:lnTo>
                  <a:lnTo>
                    <a:pt x="0" y="116896"/>
                  </a:lnTo>
                  <a:lnTo>
                    <a:pt x="10936" y="149846"/>
                  </a:lnTo>
                  <a:lnTo>
                    <a:pt x="37169" y="177372"/>
                  </a:lnTo>
                  <a:lnTo>
                    <a:pt x="75771" y="197922"/>
                  </a:lnTo>
                  <a:lnTo>
                    <a:pt x="123814" y="209944"/>
                  </a:lnTo>
                  <a:lnTo>
                    <a:pt x="178371" y="211888"/>
                  </a:lnTo>
                  <a:lnTo>
                    <a:pt x="232125" y="203036"/>
                  </a:lnTo>
                  <a:lnTo>
                    <a:pt x="278186" y="184996"/>
                  </a:lnTo>
                  <a:lnTo>
                    <a:pt x="313834" y="159690"/>
                  </a:lnTo>
                  <a:lnTo>
                    <a:pt x="336350" y="129038"/>
                  </a:lnTo>
                  <a:lnTo>
                    <a:pt x="343015" y="94960"/>
                  </a:lnTo>
                  <a:lnTo>
                    <a:pt x="332190" y="62017"/>
                  </a:lnTo>
                  <a:lnTo>
                    <a:pt x="306014" y="34497"/>
                  </a:lnTo>
                  <a:lnTo>
                    <a:pt x="267410" y="13954"/>
                  </a:lnTo>
                  <a:lnTo>
                    <a:pt x="219305" y="1937"/>
                  </a:lnTo>
                  <a:lnTo>
                    <a:pt x="164623" y="0"/>
                  </a:lnTo>
                  <a:close/>
                </a:path>
              </a:pathLst>
            </a:custGeom>
            <a:solidFill>
              <a:srgbClr val="88D5ED"/>
            </a:solidFill>
          </p:spPr>
          <p:txBody>
            <a:bodyPr wrap="square" lIns="0" tIns="0" rIns="0" bIns="0" rtlCol="0"/>
            <a:lstStyle/>
            <a:p>
              <a:endParaRPr sz="1092" dirty="0"/>
            </a:p>
          </p:txBody>
        </p:sp>
        <p:sp>
          <p:nvSpPr>
            <p:cNvPr id="1284" name="object 1284"/>
            <p:cNvSpPr/>
            <p:nvPr/>
          </p:nvSpPr>
          <p:spPr>
            <a:xfrm>
              <a:off x="7412808" y="5267110"/>
              <a:ext cx="30420" cy="56219"/>
            </a:xfrm>
            <a:custGeom>
              <a:avLst/>
              <a:gdLst/>
              <a:ahLst/>
              <a:cxnLst/>
              <a:rect l="l" t="t" r="r" b="b"/>
              <a:pathLst>
                <a:path w="50165" h="92709">
                  <a:moveTo>
                    <a:pt x="28780" y="0"/>
                  </a:moveTo>
                  <a:lnTo>
                    <a:pt x="4751" y="47473"/>
                  </a:lnTo>
                  <a:lnTo>
                    <a:pt x="0" y="69505"/>
                  </a:lnTo>
                  <a:lnTo>
                    <a:pt x="32" y="77222"/>
                  </a:lnTo>
                  <a:lnTo>
                    <a:pt x="2615" y="83578"/>
                  </a:lnTo>
                  <a:lnTo>
                    <a:pt x="7618" y="88727"/>
                  </a:lnTo>
                  <a:lnTo>
                    <a:pt x="14449" y="91683"/>
                  </a:lnTo>
                  <a:lnTo>
                    <a:pt x="18313" y="92175"/>
                  </a:lnTo>
                  <a:lnTo>
                    <a:pt x="26993" y="92175"/>
                  </a:lnTo>
                  <a:lnTo>
                    <a:pt x="34710" y="86143"/>
                  </a:lnTo>
                  <a:lnTo>
                    <a:pt x="36940" y="76937"/>
                  </a:lnTo>
                  <a:lnTo>
                    <a:pt x="41482" y="55942"/>
                  </a:lnTo>
                  <a:lnTo>
                    <a:pt x="45497" y="38956"/>
                  </a:lnTo>
                  <a:lnTo>
                    <a:pt x="48335" y="27665"/>
                  </a:lnTo>
                  <a:lnTo>
                    <a:pt x="49412" y="23465"/>
                  </a:lnTo>
                  <a:lnTo>
                    <a:pt x="49846" y="16085"/>
                  </a:lnTo>
                  <a:lnTo>
                    <a:pt x="47480" y="9299"/>
                  </a:lnTo>
                  <a:lnTo>
                    <a:pt x="42765" y="3874"/>
                  </a:lnTo>
                  <a:lnTo>
                    <a:pt x="36155" y="575"/>
                  </a:lnTo>
                  <a:lnTo>
                    <a:pt x="28780" y="0"/>
                  </a:lnTo>
                  <a:close/>
                </a:path>
              </a:pathLst>
            </a:custGeom>
            <a:solidFill>
              <a:srgbClr val="C77133"/>
            </a:solidFill>
          </p:spPr>
          <p:txBody>
            <a:bodyPr wrap="square" lIns="0" tIns="0" rIns="0" bIns="0" rtlCol="0"/>
            <a:lstStyle/>
            <a:p>
              <a:endParaRPr sz="1092" dirty="0"/>
            </a:p>
          </p:txBody>
        </p:sp>
        <p:sp>
          <p:nvSpPr>
            <p:cNvPr id="1285" name="object 1285"/>
            <p:cNvSpPr/>
            <p:nvPr/>
          </p:nvSpPr>
          <p:spPr>
            <a:xfrm>
              <a:off x="7251784" y="5383730"/>
              <a:ext cx="36196" cy="68541"/>
            </a:xfrm>
            <a:custGeom>
              <a:avLst/>
              <a:gdLst/>
              <a:ahLst/>
              <a:cxnLst/>
              <a:rect l="l" t="t" r="r" b="b"/>
              <a:pathLst>
                <a:path w="59690" h="113029">
                  <a:moveTo>
                    <a:pt x="38319" y="0"/>
                  </a:moveTo>
                  <a:lnTo>
                    <a:pt x="611" y="88839"/>
                  </a:lnTo>
                  <a:lnTo>
                    <a:pt x="0" y="96223"/>
                  </a:lnTo>
                  <a:lnTo>
                    <a:pt x="2213" y="103036"/>
                  </a:lnTo>
                  <a:lnTo>
                    <a:pt x="6822" y="108536"/>
                  </a:lnTo>
                  <a:lnTo>
                    <a:pt x="13396" y="111979"/>
                  </a:lnTo>
                  <a:lnTo>
                    <a:pt x="18694" y="112712"/>
                  </a:lnTo>
                  <a:lnTo>
                    <a:pt x="26893" y="112712"/>
                  </a:lnTo>
                  <a:lnTo>
                    <a:pt x="34359" y="107393"/>
                  </a:lnTo>
                  <a:lnTo>
                    <a:pt x="36537" y="99194"/>
                  </a:lnTo>
                  <a:lnTo>
                    <a:pt x="58463" y="23752"/>
                  </a:lnTo>
                  <a:lnTo>
                    <a:pt x="59082" y="16374"/>
                  </a:lnTo>
                  <a:lnTo>
                    <a:pt x="56875" y="9562"/>
                  </a:lnTo>
                  <a:lnTo>
                    <a:pt x="52271" y="4060"/>
                  </a:lnTo>
                  <a:lnTo>
                    <a:pt x="45699" y="611"/>
                  </a:lnTo>
                  <a:lnTo>
                    <a:pt x="38319" y="0"/>
                  </a:lnTo>
                  <a:close/>
                </a:path>
              </a:pathLst>
            </a:custGeom>
            <a:solidFill>
              <a:srgbClr val="C77133"/>
            </a:solidFill>
          </p:spPr>
          <p:txBody>
            <a:bodyPr wrap="square" lIns="0" tIns="0" rIns="0" bIns="0" rtlCol="0"/>
            <a:lstStyle/>
            <a:p>
              <a:endParaRPr sz="1092" dirty="0"/>
            </a:p>
          </p:txBody>
        </p:sp>
        <p:sp>
          <p:nvSpPr>
            <p:cNvPr id="1286" name="object 1286"/>
            <p:cNvSpPr/>
            <p:nvPr/>
          </p:nvSpPr>
          <p:spPr>
            <a:xfrm>
              <a:off x="7183808" y="5452470"/>
              <a:ext cx="102042" cy="161727"/>
            </a:xfrm>
            <a:custGeom>
              <a:avLst/>
              <a:gdLst/>
              <a:ahLst/>
              <a:cxnLst/>
              <a:rect l="l" t="t" r="r" b="b"/>
              <a:pathLst>
                <a:path w="168275" h="266700">
                  <a:moveTo>
                    <a:pt x="84574" y="0"/>
                  </a:moveTo>
                  <a:lnTo>
                    <a:pt x="33213" y="63064"/>
                  </a:lnTo>
                  <a:lnTo>
                    <a:pt x="9759" y="108868"/>
                  </a:lnTo>
                  <a:lnTo>
                    <a:pt x="0" y="147036"/>
                  </a:lnTo>
                  <a:lnTo>
                    <a:pt x="3279" y="179176"/>
                  </a:lnTo>
                  <a:lnTo>
                    <a:pt x="50946" y="230722"/>
                  </a:lnTo>
                  <a:lnTo>
                    <a:pt x="91752" y="248830"/>
                  </a:lnTo>
                  <a:lnTo>
                    <a:pt x="141641" y="265477"/>
                  </a:lnTo>
                  <a:lnTo>
                    <a:pt x="147673" y="266440"/>
                  </a:lnTo>
                  <a:lnTo>
                    <a:pt x="156583" y="266440"/>
                  </a:lnTo>
                  <a:lnTo>
                    <a:pt x="164541" y="260891"/>
                  </a:lnTo>
                  <a:lnTo>
                    <a:pt x="167431" y="251729"/>
                  </a:lnTo>
                  <a:lnTo>
                    <a:pt x="168274" y="243598"/>
                  </a:lnTo>
                  <a:lnTo>
                    <a:pt x="166019" y="236033"/>
                  </a:lnTo>
                  <a:lnTo>
                    <a:pt x="161095" y="229866"/>
                  </a:lnTo>
                  <a:lnTo>
                    <a:pt x="153934" y="225928"/>
                  </a:lnTo>
                  <a:lnTo>
                    <a:pt x="113216" y="212625"/>
                  </a:lnTo>
                  <a:lnTo>
                    <a:pt x="79634" y="199054"/>
                  </a:lnTo>
                  <a:lnTo>
                    <a:pt x="55360" y="184035"/>
                  </a:lnTo>
                  <a:lnTo>
                    <a:pt x="42566" y="166391"/>
                  </a:lnTo>
                  <a:lnTo>
                    <a:pt x="41902" y="144479"/>
                  </a:lnTo>
                  <a:lnTo>
                    <a:pt x="51880" y="115082"/>
                  </a:lnTo>
                  <a:lnTo>
                    <a:pt x="72569" y="77956"/>
                  </a:lnTo>
                  <a:lnTo>
                    <a:pt x="104040" y="32856"/>
                  </a:lnTo>
                  <a:lnTo>
                    <a:pt x="107532" y="25420"/>
                  </a:lnTo>
                  <a:lnTo>
                    <a:pt x="107954" y="17487"/>
                  </a:lnTo>
                  <a:lnTo>
                    <a:pt x="105395" y="10006"/>
                  </a:lnTo>
                  <a:lnTo>
                    <a:pt x="99946" y="3925"/>
                  </a:lnTo>
                  <a:lnTo>
                    <a:pt x="92506" y="422"/>
                  </a:lnTo>
                  <a:lnTo>
                    <a:pt x="84574" y="0"/>
                  </a:lnTo>
                  <a:close/>
                </a:path>
              </a:pathLst>
            </a:custGeom>
            <a:solidFill>
              <a:srgbClr val="005A82"/>
            </a:solidFill>
          </p:spPr>
          <p:txBody>
            <a:bodyPr wrap="square" lIns="0" tIns="0" rIns="0" bIns="0" rtlCol="0"/>
            <a:lstStyle/>
            <a:p>
              <a:endParaRPr sz="1092" dirty="0"/>
            </a:p>
          </p:txBody>
        </p:sp>
        <p:sp>
          <p:nvSpPr>
            <p:cNvPr id="1287" name="object 1287"/>
            <p:cNvSpPr/>
            <p:nvPr/>
          </p:nvSpPr>
          <p:spPr>
            <a:xfrm>
              <a:off x="7286069" y="5948043"/>
              <a:ext cx="70851" cy="33500"/>
            </a:xfrm>
            <a:custGeom>
              <a:avLst/>
              <a:gdLst/>
              <a:ahLst/>
              <a:cxnLst/>
              <a:rect l="l" t="t" r="r" b="b"/>
              <a:pathLst>
                <a:path w="116840" h="55245">
                  <a:moveTo>
                    <a:pt x="32543" y="0"/>
                  </a:moveTo>
                  <a:lnTo>
                    <a:pt x="20648" y="503"/>
                  </a:lnTo>
                  <a:lnTo>
                    <a:pt x="10401" y="5688"/>
                  </a:lnTo>
                  <a:lnTo>
                    <a:pt x="3089" y="14536"/>
                  </a:lnTo>
                  <a:lnTo>
                    <a:pt x="0" y="26030"/>
                  </a:lnTo>
                  <a:lnTo>
                    <a:pt x="1869" y="37466"/>
                  </a:lnTo>
                  <a:lnTo>
                    <a:pt x="7898" y="46848"/>
                  </a:lnTo>
                  <a:lnTo>
                    <a:pt x="17090" y="53113"/>
                  </a:lnTo>
                  <a:lnTo>
                    <a:pt x="28449" y="55202"/>
                  </a:lnTo>
                  <a:lnTo>
                    <a:pt x="96185" y="53506"/>
                  </a:lnTo>
                  <a:lnTo>
                    <a:pt x="110707" y="47475"/>
                  </a:lnTo>
                  <a:lnTo>
                    <a:pt x="116370" y="34322"/>
                  </a:lnTo>
                  <a:lnTo>
                    <a:pt x="112724" y="20397"/>
                  </a:lnTo>
                  <a:lnTo>
                    <a:pt x="99316" y="12051"/>
                  </a:lnTo>
                  <a:lnTo>
                    <a:pt x="32543" y="0"/>
                  </a:lnTo>
                  <a:close/>
                </a:path>
              </a:pathLst>
            </a:custGeom>
            <a:solidFill>
              <a:srgbClr val="005A82"/>
            </a:solidFill>
          </p:spPr>
          <p:txBody>
            <a:bodyPr wrap="square" lIns="0" tIns="0" rIns="0" bIns="0" rtlCol="0"/>
            <a:lstStyle/>
            <a:p>
              <a:endParaRPr sz="1092" dirty="0"/>
            </a:p>
          </p:txBody>
        </p:sp>
        <p:sp>
          <p:nvSpPr>
            <p:cNvPr id="1288" name="object 1288"/>
            <p:cNvSpPr/>
            <p:nvPr/>
          </p:nvSpPr>
          <p:spPr>
            <a:xfrm>
              <a:off x="7210037" y="5877002"/>
              <a:ext cx="65846" cy="48518"/>
            </a:xfrm>
            <a:custGeom>
              <a:avLst/>
              <a:gdLst/>
              <a:ahLst/>
              <a:cxnLst/>
              <a:rect l="l" t="t" r="r" b="b"/>
              <a:pathLst>
                <a:path w="108584" h="80009">
                  <a:moveTo>
                    <a:pt x="95011" y="0"/>
                  </a:moveTo>
                  <a:lnTo>
                    <a:pt x="16914" y="26754"/>
                  </a:lnTo>
                  <a:lnTo>
                    <a:pt x="0" y="54923"/>
                  </a:lnTo>
                  <a:lnTo>
                    <a:pt x="3658" y="66281"/>
                  </a:lnTo>
                  <a:lnTo>
                    <a:pt x="11323" y="74859"/>
                  </a:lnTo>
                  <a:lnTo>
                    <a:pt x="21432" y="79416"/>
                  </a:lnTo>
                  <a:lnTo>
                    <a:pt x="32539" y="79635"/>
                  </a:lnTo>
                  <a:lnTo>
                    <a:pt x="43196" y="75202"/>
                  </a:lnTo>
                  <a:lnTo>
                    <a:pt x="99110" y="36879"/>
                  </a:lnTo>
                  <a:lnTo>
                    <a:pt x="107988" y="23803"/>
                  </a:lnTo>
                  <a:lnTo>
                    <a:pt x="105589" y="9642"/>
                  </a:lnTo>
                  <a:lnTo>
                    <a:pt x="95011" y="0"/>
                  </a:lnTo>
                  <a:close/>
                </a:path>
              </a:pathLst>
            </a:custGeom>
            <a:solidFill>
              <a:srgbClr val="005A82"/>
            </a:solidFill>
          </p:spPr>
          <p:txBody>
            <a:bodyPr wrap="square" lIns="0" tIns="0" rIns="0" bIns="0" rtlCol="0"/>
            <a:lstStyle/>
            <a:p>
              <a:endParaRPr sz="1092" dirty="0"/>
            </a:p>
          </p:txBody>
        </p:sp>
        <p:sp>
          <p:nvSpPr>
            <p:cNvPr id="1289" name="object 1289"/>
            <p:cNvSpPr/>
            <p:nvPr/>
          </p:nvSpPr>
          <p:spPr>
            <a:xfrm>
              <a:off x="7293237" y="5899363"/>
              <a:ext cx="30035" cy="72007"/>
            </a:xfrm>
            <a:custGeom>
              <a:avLst/>
              <a:gdLst/>
              <a:ahLst/>
              <a:cxnLst/>
              <a:rect l="l" t="t" r="r" b="b"/>
              <a:pathLst>
                <a:path w="49529" h="118745">
                  <a:moveTo>
                    <a:pt x="26030" y="0"/>
                  </a:moveTo>
                  <a:lnTo>
                    <a:pt x="0" y="94258"/>
                  </a:lnTo>
                  <a:lnTo>
                    <a:pt x="1500" y="103483"/>
                  </a:lnTo>
                  <a:lnTo>
                    <a:pt x="6258" y="111105"/>
                  </a:lnTo>
                  <a:lnTo>
                    <a:pt x="13549" y="116329"/>
                  </a:lnTo>
                  <a:lnTo>
                    <a:pt x="22648" y="118362"/>
                  </a:lnTo>
                  <a:lnTo>
                    <a:pt x="23381" y="118362"/>
                  </a:lnTo>
                  <a:lnTo>
                    <a:pt x="48919" y="24114"/>
                  </a:lnTo>
                  <a:lnTo>
                    <a:pt x="47279" y="14885"/>
                  </a:lnTo>
                  <a:lnTo>
                    <a:pt x="42450" y="7262"/>
                  </a:lnTo>
                  <a:lnTo>
                    <a:pt x="35133" y="2037"/>
                  </a:lnTo>
                  <a:lnTo>
                    <a:pt x="26030" y="0"/>
                  </a:lnTo>
                  <a:close/>
                </a:path>
              </a:pathLst>
            </a:custGeom>
            <a:solidFill>
              <a:srgbClr val="533861"/>
            </a:solidFill>
          </p:spPr>
          <p:txBody>
            <a:bodyPr wrap="square" lIns="0" tIns="0" rIns="0" bIns="0" rtlCol="0"/>
            <a:lstStyle/>
            <a:p>
              <a:endParaRPr sz="1092" dirty="0"/>
            </a:p>
          </p:txBody>
        </p:sp>
        <p:sp>
          <p:nvSpPr>
            <p:cNvPr id="1290" name="object 1290"/>
            <p:cNvSpPr/>
            <p:nvPr/>
          </p:nvSpPr>
          <p:spPr>
            <a:xfrm>
              <a:off x="7213405" y="5848625"/>
              <a:ext cx="38506" cy="70467"/>
            </a:xfrm>
            <a:custGeom>
              <a:avLst/>
              <a:gdLst/>
              <a:ahLst/>
              <a:cxnLst/>
              <a:rect l="l" t="t" r="r" b="b"/>
              <a:pathLst>
                <a:path w="63500" h="116204">
                  <a:moveTo>
                    <a:pt x="36094" y="0"/>
                  </a:moveTo>
                  <a:lnTo>
                    <a:pt x="270" y="87297"/>
                  </a:lnTo>
                  <a:lnTo>
                    <a:pt x="0" y="96547"/>
                  </a:lnTo>
                  <a:lnTo>
                    <a:pt x="3163" y="104923"/>
                  </a:lnTo>
                  <a:lnTo>
                    <a:pt x="9220" y="111538"/>
                  </a:lnTo>
                  <a:lnTo>
                    <a:pt x="17631" y="115505"/>
                  </a:lnTo>
                  <a:lnTo>
                    <a:pt x="23170" y="116207"/>
                  </a:lnTo>
                  <a:lnTo>
                    <a:pt x="30845" y="114908"/>
                  </a:lnTo>
                  <a:lnTo>
                    <a:pt x="62708" y="28471"/>
                  </a:lnTo>
                  <a:lnTo>
                    <a:pt x="62973" y="19222"/>
                  </a:lnTo>
                  <a:lnTo>
                    <a:pt x="59808" y="10850"/>
                  </a:lnTo>
                  <a:lnTo>
                    <a:pt x="53752" y="4239"/>
                  </a:lnTo>
                  <a:lnTo>
                    <a:pt x="45347" y="273"/>
                  </a:lnTo>
                  <a:lnTo>
                    <a:pt x="36094" y="0"/>
                  </a:lnTo>
                  <a:close/>
                </a:path>
              </a:pathLst>
            </a:custGeom>
            <a:solidFill>
              <a:srgbClr val="533861"/>
            </a:solidFill>
          </p:spPr>
          <p:txBody>
            <a:bodyPr wrap="square" lIns="0" tIns="0" rIns="0" bIns="0" rtlCol="0"/>
            <a:lstStyle/>
            <a:p>
              <a:endParaRPr sz="1092" dirty="0"/>
            </a:p>
          </p:txBody>
        </p:sp>
        <p:sp>
          <p:nvSpPr>
            <p:cNvPr id="1291" name="object 1291"/>
            <p:cNvSpPr/>
            <p:nvPr/>
          </p:nvSpPr>
          <p:spPr>
            <a:xfrm>
              <a:off x="7284320" y="5645171"/>
              <a:ext cx="41202" cy="293034"/>
            </a:xfrm>
            <a:custGeom>
              <a:avLst/>
              <a:gdLst/>
              <a:ahLst/>
              <a:cxnLst/>
              <a:rect l="l" t="t" r="r" b="b"/>
              <a:pathLst>
                <a:path w="67945" h="483234">
                  <a:moveTo>
                    <a:pt x="28679" y="0"/>
                  </a:moveTo>
                  <a:lnTo>
                    <a:pt x="17353" y="2498"/>
                  </a:lnTo>
                  <a:lnTo>
                    <a:pt x="8194" y="8972"/>
                  </a:lnTo>
                  <a:lnTo>
                    <a:pt x="2109" y="18427"/>
                  </a:lnTo>
                  <a:lnTo>
                    <a:pt x="0" y="29873"/>
                  </a:lnTo>
                  <a:lnTo>
                    <a:pt x="9151" y="454143"/>
                  </a:lnTo>
                  <a:lnTo>
                    <a:pt x="11573" y="465337"/>
                  </a:lnTo>
                  <a:lnTo>
                    <a:pt x="17859" y="474446"/>
                  </a:lnTo>
                  <a:lnTo>
                    <a:pt x="27084" y="480571"/>
                  </a:lnTo>
                  <a:lnTo>
                    <a:pt x="38323" y="482812"/>
                  </a:lnTo>
                  <a:lnTo>
                    <a:pt x="39045" y="482812"/>
                  </a:lnTo>
                  <a:lnTo>
                    <a:pt x="50378" y="480313"/>
                  </a:lnTo>
                  <a:lnTo>
                    <a:pt x="59540" y="473840"/>
                  </a:lnTo>
                  <a:lnTo>
                    <a:pt x="65626" y="464384"/>
                  </a:lnTo>
                  <a:lnTo>
                    <a:pt x="67736" y="452939"/>
                  </a:lnTo>
                  <a:lnTo>
                    <a:pt x="58563" y="28679"/>
                  </a:lnTo>
                  <a:lnTo>
                    <a:pt x="56069" y="17347"/>
                  </a:lnTo>
                  <a:lnTo>
                    <a:pt x="49594" y="8186"/>
                  </a:lnTo>
                  <a:lnTo>
                    <a:pt x="40132" y="2103"/>
                  </a:lnTo>
                  <a:lnTo>
                    <a:pt x="28679" y="0"/>
                  </a:lnTo>
                  <a:close/>
                </a:path>
              </a:pathLst>
            </a:custGeom>
            <a:solidFill>
              <a:srgbClr val="533861"/>
            </a:solidFill>
          </p:spPr>
          <p:txBody>
            <a:bodyPr wrap="square" lIns="0" tIns="0" rIns="0" bIns="0" rtlCol="0"/>
            <a:lstStyle/>
            <a:p>
              <a:endParaRPr sz="1092" dirty="0"/>
            </a:p>
          </p:txBody>
        </p:sp>
        <p:sp>
          <p:nvSpPr>
            <p:cNvPr id="1292" name="object 1292"/>
            <p:cNvSpPr/>
            <p:nvPr/>
          </p:nvSpPr>
          <p:spPr>
            <a:xfrm>
              <a:off x="7216202" y="5618565"/>
              <a:ext cx="50443" cy="278017"/>
            </a:xfrm>
            <a:custGeom>
              <a:avLst/>
              <a:gdLst/>
              <a:ahLst/>
              <a:cxnLst/>
              <a:rect l="l" t="t" r="r" b="b"/>
              <a:pathLst>
                <a:path w="83184" h="458470">
                  <a:moveTo>
                    <a:pt x="44113" y="0"/>
                  </a:moveTo>
                  <a:lnTo>
                    <a:pt x="33012" y="3132"/>
                  </a:lnTo>
                  <a:lnTo>
                    <a:pt x="24195" y="10061"/>
                  </a:lnTo>
                  <a:lnTo>
                    <a:pt x="18587" y="19791"/>
                  </a:lnTo>
                  <a:lnTo>
                    <a:pt x="17109" y="31328"/>
                  </a:lnTo>
                  <a:lnTo>
                    <a:pt x="21569" y="101413"/>
                  </a:lnTo>
                  <a:lnTo>
                    <a:pt x="23843" y="158185"/>
                  </a:lnTo>
                  <a:lnTo>
                    <a:pt x="23898" y="208604"/>
                  </a:lnTo>
                  <a:lnTo>
                    <a:pt x="22190" y="248226"/>
                  </a:lnTo>
                  <a:lnTo>
                    <a:pt x="18440" y="289712"/>
                  </a:lnTo>
                  <a:lnTo>
                    <a:pt x="12860" y="334319"/>
                  </a:lnTo>
                  <a:lnTo>
                    <a:pt x="5539" y="386155"/>
                  </a:lnTo>
                  <a:lnTo>
                    <a:pt x="1442" y="414902"/>
                  </a:lnTo>
                  <a:lnTo>
                    <a:pt x="0" y="425212"/>
                  </a:lnTo>
                  <a:lnTo>
                    <a:pt x="24826" y="458237"/>
                  </a:lnTo>
                  <a:lnTo>
                    <a:pt x="28931" y="458467"/>
                  </a:lnTo>
                  <a:lnTo>
                    <a:pt x="39277" y="456586"/>
                  </a:lnTo>
                  <a:lnTo>
                    <a:pt x="48113" y="451363"/>
                  </a:lnTo>
                  <a:lnTo>
                    <a:pt x="54649" y="443430"/>
                  </a:lnTo>
                  <a:lnTo>
                    <a:pt x="58092" y="433421"/>
                  </a:lnTo>
                  <a:lnTo>
                    <a:pt x="59538" y="423150"/>
                  </a:lnTo>
                  <a:lnTo>
                    <a:pt x="62331" y="403687"/>
                  </a:lnTo>
                  <a:lnTo>
                    <a:pt x="71014" y="341779"/>
                  </a:lnTo>
                  <a:lnTo>
                    <a:pt x="76715" y="295998"/>
                  </a:lnTo>
                  <a:lnTo>
                    <a:pt x="80611" y="252960"/>
                  </a:lnTo>
                  <a:lnTo>
                    <a:pt x="82567" y="208604"/>
                  </a:lnTo>
                  <a:lnTo>
                    <a:pt x="82447" y="158866"/>
                  </a:lnTo>
                  <a:lnTo>
                    <a:pt x="80117" y="99687"/>
                  </a:lnTo>
                  <a:lnTo>
                    <a:pt x="75442" y="27004"/>
                  </a:lnTo>
                  <a:lnTo>
                    <a:pt x="55652" y="1439"/>
                  </a:lnTo>
                  <a:lnTo>
                    <a:pt x="44113" y="0"/>
                  </a:lnTo>
                  <a:close/>
                </a:path>
              </a:pathLst>
            </a:custGeom>
            <a:solidFill>
              <a:srgbClr val="533861"/>
            </a:solidFill>
          </p:spPr>
          <p:txBody>
            <a:bodyPr wrap="square" lIns="0" tIns="0" rIns="0" bIns="0" rtlCol="0"/>
            <a:lstStyle/>
            <a:p>
              <a:endParaRPr sz="1092" dirty="0"/>
            </a:p>
          </p:txBody>
        </p:sp>
        <p:sp>
          <p:nvSpPr>
            <p:cNvPr id="1293" name="object 1293"/>
            <p:cNvSpPr/>
            <p:nvPr/>
          </p:nvSpPr>
          <p:spPr>
            <a:xfrm>
              <a:off x="7236955" y="5580709"/>
              <a:ext cx="82741" cy="99980"/>
            </a:xfrm>
            <a:prstGeom prst="rect">
              <a:avLst/>
            </a:prstGeom>
            <a:blipFill>
              <a:blip r:embed="rId405"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94" name="object 1294"/>
            <p:cNvSpPr/>
            <p:nvPr/>
          </p:nvSpPr>
          <p:spPr>
            <a:xfrm>
              <a:off x="7216708" y="5431955"/>
              <a:ext cx="110128" cy="221412"/>
            </a:xfrm>
            <a:custGeom>
              <a:avLst/>
              <a:gdLst/>
              <a:ahLst/>
              <a:cxnLst/>
              <a:rect l="l" t="t" r="r" b="b"/>
              <a:pathLst>
                <a:path w="181609" h="365125">
                  <a:moveTo>
                    <a:pt x="100013" y="0"/>
                  </a:moveTo>
                  <a:lnTo>
                    <a:pt x="35886" y="10620"/>
                  </a:lnTo>
                  <a:lnTo>
                    <a:pt x="1581" y="56320"/>
                  </a:lnTo>
                  <a:lnTo>
                    <a:pt x="0" y="104409"/>
                  </a:lnTo>
                  <a:lnTo>
                    <a:pt x="1958" y="167259"/>
                  </a:lnTo>
                  <a:lnTo>
                    <a:pt x="5792" y="232967"/>
                  </a:lnTo>
                  <a:lnTo>
                    <a:pt x="9834" y="289628"/>
                  </a:lnTo>
                  <a:lnTo>
                    <a:pt x="15289" y="332622"/>
                  </a:lnTo>
                  <a:lnTo>
                    <a:pt x="53360" y="353762"/>
                  </a:lnTo>
                  <a:lnTo>
                    <a:pt x="118615" y="364988"/>
                  </a:lnTo>
                  <a:lnTo>
                    <a:pt x="150661" y="362783"/>
                  </a:lnTo>
                  <a:lnTo>
                    <a:pt x="173487" y="353481"/>
                  </a:lnTo>
                  <a:lnTo>
                    <a:pt x="181398" y="335934"/>
                  </a:lnTo>
                  <a:lnTo>
                    <a:pt x="177154" y="268522"/>
                  </a:lnTo>
                  <a:lnTo>
                    <a:pt x="168575" y="130043"/>
                  </a:lnTo>
                  <a:lnTo>
                    <a:pt x="165482" y="81136"/>
                  </a:lnTo>
                  <a:lnTo>
                    <a:pt x="154356" y="38764"/>
                  </a:lnTo>
                  <a:lnTo>
                    <a:pt x="130882" y="12315"/>
                  </a:lnTo>
                  <a:lnTo>
                    <a:pt x="100013" y="0"/>
                  </a:lnTo>
                  <a:close/>
                </a:path>
              </a:pathLst>
            </a:custGeom>
            <a:solidFill>
              <a:srgbClr val="005A82"/>
            </a:solidFill>
          </p:spPr>
          <p:txBody>
            <a:bodyPr wrap="square" lIns="0" tIns="0" rIns="0" bIns="0" rtlCol="0"/>
            <a:lstStyle/>
            <a:p>
              <a:endParaRPr sz="1092" dirty="0"/>
            </a:p>
          </p:txBody>
        </p:sp>
        <p:sp>
          <p:nvSpPr>
            <p:cNvPr id="1295" name="object 1295"/>
            <p:cNvSpPr/>
            <p:nvPr/>
          </p:nvSpPr>
          <p:spPr>
            <a:xfrm>
              <a:off x="7270721" y="5299466"/>
              <a:ext cx="165578" cy="169043"/>
            </a:xfrm>
            <a:custGeom>
              <a:avLst/>
              <a:gdLst/>
              <a:ahLst/>
              <a:cxnLst/>
              <a:rect l="l" t="t" r="r" b="b"/>
              <a:pathLst>
                <a:path w="273050" h="278765">
                  <a:moveTo>
                    <a:pt x="256233" y="0"/>
                  </a:moveTo>
                  <a:lnTo>
                    <a:pt x="220059" y="59910"/>
                  </a:lnTo>
                  <a:lnTo>
                    <a:pt x="200982" y="102058"/>
                  </a:lnTo>
                  <a:lnTo>
                    <a:pt x="175667" y="141448"/>
                  </a:lnTo>
                  <a:lnTo>
                    <a:pt x="144885" y="176696"/>
                  </a:lnTo>
                  <a:lnTo>
                    <a:pt x="113564" y="203303"/>
                  </a:lnTo>
                  <a:lnTo>
                    <a:pt x="50572" y="234184"/>
                  </a:lnTo>
                  <a:lnTo>
                    <a:pt x="21695" y="237196"/>
                  </a:lnTo>
                  <a:lnTo>
                    <a:pt x="13633" y="238315"/>
                  </a:lnTo>
                  <a:lnTo>
                    <a:pt x="6878" y="242319"/>
                  </a:lnTo>
                  <a:lnTo>
                    <a:pt x="2107" y="248582"/>
                  </a:lnTo>
                  <a:lnTo>
                    <a:pt x="0" y="256473"/>
                  </a:lnTo>
                  <a:lnTo>
                    <a:pt x="1254" y="264546"/>
                  </a:lnTo>
                  <a:lnTo>
                    <a:pt x="5334" y="271304"/>
                  </a:lnTo>
                  <a:lnTo>
                    <a:pt x="11629" y="276073"/>
                  </a:lnTo>
                  <a:lnTo>
                    <a:pt x="19528" y="278180"/>
                  </a:lnTo>
                  <a:lnTo>
                    <a:pt x="21946" y="278410"/>
                  </a:lnTo>
                  <a:lnTo>
                    <a:pt x="26522" y="278410"/>
                  </a:lnTo>
                  <a:lnTo>
                    <a:pt x="99978" y="259519"/>
                  </a:lnTo>
                  <a:lnTo>
                    <a:pt x="137429" y="236820"/>
                  </a:lnTo>
                  <a:lnTo>
                    <a:pt x="173795" y="206098"/>
                  </a:lnTo>
                  <a:lnTo>
                    <a:pt x="208903" y="165964"/>
                  </a:lnTo>
                  <a:lnTo>
                    <a:pt x="237501" y="121517"/>
                  </a:lnTo>
                  <a:lnTo>
                    <a:pt x="258955" y="73861"/>
                  </a:lnTo>
                  <a:lnTo>
                    <a:pt x="272630" y="24103"/>
                  </a:lnTo>
                  <a:lnTo>
                    <a:pt x="272542" y="15964"/>
                  </a:lnTo>
                  <a:lnTo>
                    <a:pt x="269402" y="8706"/>
                  </a:lnTo>
                  <a:lnTo>
                    <a:pt x="263777" y="3121"/>
                  </a:lnTo>
                  <a:lnTo>
                    <a:pt x="256233" y="0"/>
                  </a:lnTo>
                  <a:close/>
                </a:path>
              </a:pathLst>
            </a:custGeom>
            <a:solidFill>
              <a:srgbClr val="005A82"/>
            </a:solidFill>
          </p:spPr>
          <p:txBody>
            <a:bodyPr wrap="square" lIns="0" tIns="0" rIns="0" bIns="0" rtlCol="0"/>
            <a:lstStyle/>
            <a:p>
              <a:endParaRPr sz="1092" dirty="0"/>
            </a:p>
          </p:txBody>
        </p:sp>
        <p:sp>
          <p:nvSpPr>
            <p:cNvPr id="1296" name="object 1296"/>
            <p:cNvSpPr/>
            <p:nvPr/>
          </p:nvSpPr>
          <p:spPr>
            <a:xfrm>
              <a:off x="7411195" y="5246107"/>
              <a:ext cx="48384" cy="48390"/>
            </a:xfrm>
            <a:prstGeom prst="rect">
              <a:avLst/>
            </a:prstGeom>
            <a:blipFill>
              <a:blip r:embed="rId406"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97" name="object 1297"/>
            <p:cNvSpPr/>
            <p:nvPr/>
          </p:nvSpPr>
          <p:spPr>
            <a:xfrm>
              <a:off x="7217370" y="5314981"/>
              <a:ext cx="89719" cy="91100"/>
            </a:xfrm>
            <a:prstGeom prst="rect">
              <a:avLst/>
            </a:prstGeom>
            <a:blipFill>
              <a:blip r:embed="rId407"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grpSp>
      <p:sp>
        <p:nvSpPr>
          <p:cNvPr id="1323" name="Title 9">
            <a:extLst>
              <a:ext uri="{FF2B5EF4-FFF2-40B4-BE49-F238E27FC236}">
                <a16:creationId xmlns:a16="http://schemas.microsoft.com/office/drawing/2014/main" id="{86E1F236-DEEC-5F44-877D-AF0162522ADE}"/>
              </a:ext>
            </a:extLst>
          </p:cNvPr>
          <p:cNvSpPr txBox="1">
            <a:spLocks/>
          </p:cNvSpPr>
          <p:nvPr/>
        </p:nvSpPr>
        <p:spPr>
          <a:xfrm>
            <a:off x="263352" y="4005064"/>
            <a:ext cx="5295374" cy="2520280"/>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US" sz="3200" b="1" dirty="0"/>
              <a:t>Enterprise Portfolio </a:t>
            </a:r>
          </a:p>
          <a:p>
            <a:r>
              <a:rPr lang="en-US" sz="3200" b="1" dirty="0"/>
              <a:t>Modernization (EPM)</a:t>
            </a:r>
          </a:p>
          <a:p>
            <a:endParaRPr lang="en-US" sz="3200" b="1" dirty="0"/>
          </a:p>
          <a:p>
            <a:r>
              <a:rPr lang="en-GB" sz="2400" dirty="0"/>
              <a:t>Modernize your business to get ahead and stay ahead</a:t>
            </a:r>
          </a:p>
          <a:p>
            <a:endParaRPr lang="en-GB" sz="3200" dirty="0"/>
          </a:p>
          <a:p>
            <a:endParaRPr lang="en-US" sz="3200" b="1" dirty="0">
              <a:solidFill>
                <a:schemeClr val="tx1"/>
              </a:solidFill>
            </a:endParaRPr>
          </a:p>
          <a:p>
            <a:endParaRPr lang="en-GB" sz="3200" b="1" dirty="0"/>
          </a:p>
        </p:txBody>
      </p:sp>
      <p:pic>
        <p:nvPicPr>
          <p:cNvPr id="1327" name="Graphic 1326">
            <a:extLst>
              <a:ext uri="{FF2B5EF4-FFF2-40B4-BE49-F238E27FC236}">
                <a16:creationId xmlns:a16="http://schemas.microsoft.com/office/drawing/2014/main" id="{CEDC56D9-3E7E-5A44-AE09-E701513083E2}"/>
              </a:ext>
            </a:extLst>
          </p:cNvPr>
          <p:cNvPicPr>
            <a:picLocks noChangeAspect="1"/>
          </p:cNvPicPr>
          <p:nvPr/>
        </p:nvPicPr>
        <p:blipFill>
          <a:blip r:embed="rId408">
            <a:extLst>
              <a:ext uri="{96DAC541-7B7A-43D3-8B79-37D633B846F1}">
                <asvg:svgBlip xmlns:asvg="http://schemas.microsoft.com/office/drawing/2016/SVG/main" r:embed="rId409"/>
              </a:ext>
            </a:extLst>
          </a:blip>
          <a:stretch>
            <a:fillRect/>
          </a:stretch>
        </p:blipFill>
        <p:spPr>
          <a:xfrm>
            <a:off x="1631504" y="-147510"/>
            <a:ext cx="2508806" cy="2397494"/>
          </a:xfrm>
          <a:prstGeom prst="rect">
            <a:avLst/>
          </a:prstGeom>
        </p:spPr>
      </p:pic>
      <p:sp>
        <p:nvSpPr>
          <p:cNvPr id="1298" name="Title 9">
            <a:extLst>
              <a:ext uri="{FF2B5EF4-FFF2-40B4-BE49-F238E27FC236}">
                <a16:creationId xmlns:a16="http://schemas.microsoft.com/office/drawing/2014/main" id="{59C4F450-F4A8-7B4A-83E4-D252250329F8}"/>
              </a:ext>
            </a:extLst>
          </p:cNvPr>
          <p:cNvSpPr txBox="1">
            <a:spLocks/>
          </p:cNvSpPr>
          <p:nvPr/>
        </p:nvSpPr>
        <p:spPr>
          <a:xfrm>
            <a:off x="905802" y="1858586"/>
            <a:ext cx="802093" cy="360040"/>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endParaRPr lang="en-GB" sz="3600" b="1" dirty="0">
              <a:solidFill>
                <a:schemeClr val="bg1"/>
              </a:solidFill>
            </a:endParaRPr>
          </a:p>
          <a:p>
            <a:endParaRPr lang="en-GB" sz="3600" b="1" dirty="0"/>
          </a:p>
          <a:p>
            <a:endParaRPr lang="en-GB" sz="3600" b="1" dirty="0"/>
          </a:p>
          <a:p>
            <a:endParaRPr lang="en-GB" sz="3600" b="1" dirty="0"/>
          </a:p>
          <a:p>
            <a:endParaRPr lang="en-GB" sz="3600" b="1" dirty="0"/>
          </a:p>
          <a:p>
            <a:endParaRPr lang="en-GB" sz="3600" b="1" dirty="0"/>
          </a:p>
        </p:txBody>
      </p:sp>
      <p:sp>
        <p:nvSpPr>
          <p:cNvPr id="1300" name="TextBox 1299">
            <a:extLst>
              <a:ext uri="{FF2B5EF4-FFF2-40B4-BE49-F238E27FC236}">
                <a16:creationId xmlns:a16="http://schemas.microsoft.com/office/drawing/2014/main" id="{5FC62A71-AB40-1B4B-B437-11375536BA71}"/>
              </a:ext>
            </a:extLst>
          </p:cNvPr>
          <p:cNvSpPr txBox="1"/>
          <p:nvPr/>
        </p:nvSpPr>
        <p:spPr>
          <a:xfrm>
            <a:off x="259884" y="1992388"/>
            <a:ext cx="4896544" cy="1200329"/>
          </a:xfrm>
          <a:prstGeom prst="rect">
            <a:avLst/>
          </a:prstGeom>
          <a:noFill/>
        </p:spPr>
        <p:txBody>
          <a:bodyPr wrap="square" rtlCol="0">
            <a:spAutoFit/>
          </a:bodyPr>
          <a:lstStyle/>
          <a:p>
            <a:r>
              <a:rPr lang="en-US" sz="3600" b="1" dirty="0">
                <a:solidFill>
                  <a:srgbClr val="0070AD"/>
                </a:solidFill>
                <a:latin typeface="Ubuntu" panose="020B0504030602030204" pitchFamily="34" charset="0"/>
              </a:rPr>
              <a:t>“IT Matters” Forum</a:t>
            </a:r>
          </a:p>
          <a:p>
            <a:r>
              <a:rPr lang="en-US" sz="3600" b="1" dirty="0">
                <a:solidFill>
                  <a:srgbClr val="0070AD"/>
                </a:solidFill>
                <a:latin typeface="Ubuntu" panose="020B0504030602030204" pitchFamily="34" charset="0"/>
              </a:rPr>
              <a:t>  December 2019</a:t>
            </a:r>
          </a:p>
        </p:txBody>
      </p:sp>
    </p:spTree>
    <p:extLst>
      <p:ext uri="{BB962C8B-B14F-4D97-AF65-F5344CB8AC3E}">
        <p14:creationId xmlns:p14="http://schemas.microsoft.com/office/powerpoint/2010/main" val="13663405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48135013-C6BF-8F43-B5DE-0AC5BF0522DB}"/>
              </a:ext>
            </a:extLst>
          </p:cNvPr>
          <p:cNvSpPr/>
          <p:nvPr/>
        </p:nvSpPr>
        <p:spPr>
          <a:xfrm>
            <a:off x="-6730" y="0"/>
            <a:ext cx="8334978" cy="685800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4" name="Rectangle 313">
            <a:extLst>
              <a:ext uri="{FF2B5EF4-FFF2-40B4-BE49-F238E27FC236}">
                <a16:creationId xmlns:a16="http://schemas.microsoft.com/office/drawing/2014/main" id="{8D15EB5A-0D5B-BE4C-AFE3-9B3303E723A9}"/>
              </a:ext>
            </a:extLst>
          </p:cNvPr>
          <p:cNvSpPr/>
          <p:nvPr/>
        </p:nvSpPr>
        <p:spPr>
          <a:xfrm>
            <a:off x="671471" y="1201494"/>
            <a:ext cx="7224729" cy="3508653"/>
          </a:xfrm>
          <a:prstGeom prst="rect">
            <a:avLst/>
          </a:prstGeom>
        </p:spPr>
        <p:txBody>
          <a:bodyPr wrap="square">
            <a:spAutoFit/>
          </a:bodyPr>
          <a:lstStyle/>
          <a:p>
            <a:pPr marL="342900" indent="-342900" fontAlgn="t">
              <a:buFont typeface="Wingdings" pitchFamily="2" charset="2"/>
              <a:buChar char="§"/>
            </a:pPr>
            <a:r>
              <a:rPr lang="en-GB" b="1" dirty="0">
                <a:solidFill>
                  <a:schemeClr val="bg1"/>
                </a:solidFill>
                <a:latin typeface="Ubuntu" panose="020B0504030602030204" pitchFamily="34" charset="0"/>
              </a:rPr>
              <a:t>We give you the templates, tools and artefacts to boost your journey to the Cloud – Our CloudBoost Library.</a:t>
            </a:r>
          </a:p>
          <a:p>
            <a:pPr marL="342900" indent="-342900" fontAlgn="t">
              <a:buFont typeface="Wingdings" pitchFamily="2" charset="2"/>
              <a:buChar char="§"/>
            </a:pPr>
            <a:r>
              <a:rPr lang="en-GB" b="1" dirty="0">
                <a:solidFill>
                  <a:schemeClr val="bg1"/>
                </a:solidFill>
                <a:latin typeface="Ubuntu" panose="020B0504030602030204" pitchFamily="34" charset="0"/>
              </a:rPr>
              <a:t>We define your journey &amp; migrate your applications to the Cloud with Automation for Re-Host and Re-Factor.</a:t>
            </a:r>
          </a:p>
          <a:p>
            <a:pPr marL="342900" indent="-342900" fontAlgn="t">
              <a:buFont typeface="Wingdings" pitchFamily="2" charset="2"/>
              <a:buChar char="§"/>
            </a:pPr>
            <a:r>
              <a:rPr lang="en-GB" b="1" dirty="0">
                <a:solidFill>
                  <a:schemeClr val="bg1"/>
                </a:solidFill>
                <a:latin typeface="Ubuntu" panose="020B0504030602030204" pitchFamily="34" charset="0"/>
              </a:rPr>
              <a:t>We integrate those applications in the cloud, or build Cloud Native applications to create new services fast </a:t>
            </a:r>
          </a:p>
          <a:p>
            <a:pPr marL="342900" indent="-342900" fontAlgn="t">
              <a:buFont typeface="Wingdings" pitchFamily="2" charset="2"/>
              <a:buChar char="§"/>
            </a:pPr>
            <a:r>
              <a:rPr lang="en-GB" b="1" dirty="0">
                <a:solidFill>
                  <a:schemeClr val="bg1"/>
                </a:solidFill>
                <a:latin typeface="Ubuntu" panose="020B0504030602030204" pitchFamily="34" charset="0"/>
              </a:rPr>
              <a:t>We improve your business velocity &amp; reduce your time to market</a:t>
            </a:r>
          </a:p>
          <a:p>
            <a:pPr marL="342900" indent="-342900" fontAlgn="t">
              <a:buFont typeface="Wingdings" pitchFamily="2" charset="2"/>
              <a:buChar char="§"/>
            </a:pPr>
            <a:r>
              <a:rPr lang="en-GB" b="1" dirty="0">
                <a:solidFill>
                  <a:schemeClr val="bg1"/>
                </a:solidFill>
                <a:latin typeface="Ubuntu" panose="020B0504030602030204" pitchFamily="34" charset="0"/>
              </a:rPr>
              <a:t>We reduce your costs &amp; improve reliability </a:t>
            </a:r>
          </a:p>
          <a:p>
            <a:pPr marL="342900" indent="-342900" fontAlgn="t">
              <a:buFont typeface="Wingdings" pitchFamily="2" charset="2"/>
              <a:buChar char="§"/>
            </a:pPr>
            <a:r>
              <a:rPr lang="en-GB" b="1" dirty="0">
                <a:solidFill>
                  <a:schemeClr val="bg1"/>
                </a:solidFill>
                <a:latin typeface="Ubuntu" panose="020B0504030602030204" pitchFamily="34" charset="0"/>
              </a:rPr>
              <a:t>We’re a One Stop Shop for all your Cloud needs</a:t>
            </a:r>
          </a:p>
          <a:p>
            <a:pPr lvl="1" fontAlgn="t"/>
            <a:r>
              <a:rPr lang="en-GB" b="1" dirty="0">
                <a:solidFill>
                  <a:schemeClr val="bg1"/>
                </a:solidFill>
                <a:latin typeface="Ubuntu" panose="020B0504030602030204" pitchFamily="34" charset="0"/>
              </a:rPr>
              <a:t>	Start – Move – Build - Perform</a:t>
            </a:r>
          </a:p>
          <a:p>
            <a:pPr fontAlgn="t"/>
            <a:endParaRPr lang="en-GB" sz="1200" b="1" dirty="0">
              <a:solidFill>
                <a:schemeClr val="bg1"/>
              </a:solidFill>
              <a:latin typeface="Ubuntu" panose="020B0504030602030204" pitchFamily="34" charset="0"/>
            </a:endParaRPr>
          </a:p>
          <a:p>
            <a:pPr fontAlgn="t"/>
            <a:endParaRPr lang="en-GB" sz="1200" b="1" dirty="0">
              <a:solidFill>
                <a:schemeClr val="bg1"/>
              </a:solidFill>
              <a:latin typeface="Ubuntu" panose="020B0504030602030204" pitchFamily="34" charset="0"/>
            </a:endParaRPr>
          </a:p>
        </p:txBody>
      </p:sp>
      <p:sp>
        <p:nvSpPr>
          <p:cNvPr id="2" name="Rectangle 1">
            <a:extLst>
              <a:ext uri="{FF2B5EF4-FFF2-40B4-BE49-F238E27FC236}">
                <a16:creationId xmlns:a16="http://schemas.microsoft.com/office/drawing/2014/main" id="{4844BDA6-5D25-0A46-BFC5-546A8765C483}"/>
              </a:ext>
            </a:extLst>
          </p:cNvPr>
          <p:cNvSpPr/>
          <p:nvPr/>
        </p:nvSpPr>
        <p:spPr>
          <a:xfrm>
            <a:off x="8603204" y="810989"/>
            <a:ext cx="3396063" cy="4070345"/>
          </a:xfrm>
          <a:prstGeom prst="rect">
            <a:avLst/>
          </a:prstGeom>
        </p:spPr>
        <p:txBody>
          <a:bodyPr wrap="square">
            <a:spAutoFit/>
          </a:bodyPr>
          <a:lstStyle/>
          <a:p>
            <a:pPr fontAlgn="t"/>
            <a:r>
              <a:rPr lang="en-GB" b="1" dirty="0">
                <a:solidFill>
                  <a:schemeClr val="tx2"/>
                </a:solidFill>
                <a:latin typeface="Ubuntu" panose="020B0504030602030204" pitchFamily="34" charset="0"/>
              </a:rPr>
              <a:t>Sogeti Advantages</a:t>
            </a:r>
            <a:endParaRPr lang="en-GB" sz="1400" b="1" dirty="0">
              <a:solidFill>
                <a:schemeClr val="tx2"/>
              </a:solidFill>
              <a:latin typeface="Ubuntu" panose="020B0504030602030204" pitchFamily="34" charset="0"/>
            </a:endParaRPr>
          </a:p>
          <a:p>
            <a:pPr marL="285750" indent="-285750" fontAlgn="t">
              <a:buFontTx/>
              <a:buChar char="-"/>
            </a:pPr>
            <a:endParaRPr lang="en-GB" sz="1050" b="1" dirty="0">
              <a:latin typeface="Ubuntu" panose="020B0504030602030204" pitchFamily="34" charset="0"/>
            </a:endParaRPr>
          </a:p>
          <a:p>
            <a:pPr marL="285750" indent="-285750" fontAlgn="t">
              <a:buFont typeface="Wingdings" pitchFamily="2" charset="2"/>
              <a:buChar char="§"/>
            </a:pPr>
            <a:r>
              <a:rPr lang="en-GB" sz="1600" dirty="0">
                <a:latin typeface="Ubuntu" panose="020B0504030602030204" pitchFamily="34" charset="0"/>
              </a:rPr>
              <a:t>We’re a Trusted Partner</a:t>
            </a:r>
          </a:p>
          <a:p>
            <a:pPr marL="285750" indent="-285750" fontAlgn="t">
              <a:buFont typeface="Wingdings" pitchFamily="2" charset="2"/>
              <a:buChar char="§"/>
            </a:pPr>
            <a:r>
              <a:rPr lang="en-GB" sz="1600" dirty="0">
                <a:latin typeface="Ubuntu" panose="020B0504030602030204" pitchFamily="34" charset="0"/>
              </a:rPr>
              <a:t>We transform at your speed</a:t>
            </a:r>
          </a:p>
          <a:p>
            <a:pPr marL="285750" indent="-285750" fontAlgn="t">
              <a:buFont typeface="Wingdings" pitchFamily="2" charset="2"/>
              <a:buChar char="§"/>
            </a:pPr>
            <a:r>
              <a:rPr lang="en-GB" sz="1600" dirty="0">
                <a:latin typeface="Ubuntu" panose="020B0504030602030204" pitchFamily="34" charset="0"/>
              </a:rPr>
              <a:t>We address both Infrastructure and Application transformation with a DevOps methodology</a:t>
            </a:r>
          </a:p>
          <a:p>
            <a:pPr marL="285750" indent="-285750" fontAlgn="t">
              <a:buFont typeface="Wingdings" pitchFamily="2" charset="2"/>
              <a:buChar char="§"/>
            </a:pPr>
            <a:r>
              <a:rPr lang="en-GB" sz="1600" dirty="0">
                <a:latin typeface="Ubuntu" panose="020B0504030602030204" pitchFamily="34" charset="0"/>
              </a:rPr>
              <a:t>We support full migration and managed services via a unit based pricing model</a:t>
            </a:r>
          </a:p>
          <a:p>
            <a:pPr marL="285750" indent="-285750" fontAlgn="t">
              <a:buFont typeface="Wingdings" pitchFamily="2" charset="2"/>
              <a:buChar char="§"/>
            </a:pPr>
            <a:r>
              <a:rPr lang="en-GB" sz="1600" dirty="0">
                <a:latin typeface="Ubuntu" panose="020B0504030602030204" pitchFamily="34" charset="0"/>
              </a:rPr>
              <a:t>We offer Technical Guidance &amp; Best Practices</a:t>
            </a:r>
          </a:p>
          <a:p>
            <a:pPr marL="285750" indent="-285750" fontAlgn="t">
              <a:buFont typeface="Wingdings" pitchFamily="2" charset="2"/>
              <a:buChar char="§"/>
            </a:pPr>
            <a:r>
              <a:rPr lang="en-GB" sz="1600" dirty="0">
                <a:latin typeface="Ubuntu" panose="020B0504030602030204" pitchFamily="34" charset="0"/>
              </a:rPr>
              <a:t>We support your innovation</a:t>
            </a:r>
          </a:p>
          <a:p>
            <a:pPr marL="285750" indent="-285750" fontAlgn="t">
              <a:buFont typeface="Wingdings" pitchFamily="2" charset="2"/>
              <a:buChar char="§"/>
            </a:pPr>
            <a:endParaRPr lang="en-GB" dirty="0">
              <a:latin typeface="Ubuntu" panose="020B0504030602030204" pitchFamily="34" charset="0"/>
            </a:endParaRPr>
          </a:p>
          <a:p>
            <a:pPr marL="285750" indent="-285750" fontAlgn="t">
              <a:buFont typeface="Wingdings" pitchFamily="2" charset="2"/>
              <a:buChar char="§"/>
            </a:pPr>
            <a:endParaRPr lang="en-GB" dirty="0">
              <a:latin typeface="Ubuntu" panose="020B0504030602030204" pitchFamily="34" charset="0"/>
            </a:endParaRPr>
          </a:p>
          <a:p>
            <a:pPr marL="285750" indent="-285750" fontAlgn="t">
              <a:buFont typeface="Wingdings" pitchFamily="2" charset="2"/>
              <a:buChar char="§"/>
            </a:pPr>
            <a:endParaRPr lang="en-GB" dirty="0">
              <a:latin typeface="Ubuntu" panose="020B0504030602030204" pitchFamily="34" charset="0"/>
            </a:endParaRPr>
          </a:p>
        </p:txBody>
      </p:sp>
      <p:sp>
        <p:nvSpPr>
          <p:cNvPr id="4" name="TextBox 3">
            <a:extLst>
              <a:ext uri="{FF2B5EF4-FFF2-40B4-BE49-F238E27FC236}">
                <a16:creationId xmlns:a16="http://schemas.microsoft.com/office/drawing/2014/main" id="{50237335-B902-D74B-91C0-2CDF723C3A58}"/>
              </a:ext>
            </a:extLst>
          </p:cNvPr>
          <p:cNvSpPr txBox="1"/>
          <p:nvPr/>
        </p:nvSpPr>
        <p:spPr>
          <a:xfrm>
            <a:off x="4349363" y="341906"/>
            <a:ext cx="184731" cy="369332"/>
          </a:xfrm>
          <a:prstGeom prst="rect">
            <a:avLst/>
          </a:prstGeom>
          <a:noFill/>
        </p:spPr>
        <p:txBody>
          <a:bodyPr wrap="none" rtlCol="0">
            <a:spAutoFit/>
          </a:bodyPr>
          <a:lstStyle/>
          <a:p>
            <a:endParaRPr lang="en-US" dirty="0"/>
          </a:p>
        </p:txBody>
      </p:sp>
      <p:sp>
        <p:nvSpPr>
          <p:cNvPr id="19" name="TextBox 18">
            <a:extLst>
              <a:ext uri="{FF2B5EF4-FFF2-40B4-BE49-F238E27FC236}">
                <a16:creationId xmlns:a16="http://schemas.microsoft.com/office/drawing/2014/main" id="{BAC2D73D-93D0-4C4E-89C5-C1C317883E4E}"/>
              </a:ext>
            </a:extLst>
          </p:cNvPr>
          <p:cNvSpPr txBox="1"/>
          <p:nvPr/>
        </p:nvSpPr>
        <p:spPr>
          <a:xfrm>
            <a:off x="671471" y="465186"/>
            <a:ext cx="6432641" cy="584775"/>
          </a:xfrm>
          <a:prstGeom prst="rect">
            <a:avLst/>
          </a:prstGeom>
          <a:noFill/>
        </p:spPr>
        <p:txBody>
          <a:bodyPr wrap="square" rtlCol="0">
            <a:spAutoFit/>
          </a:bodyPr>
          <a:lstStyle/>
          <a:p>
            <a:r>
              <a:rPr lang="en-US" sz="3200" b="1" dirty="0">
                <a:solidFill>
                  <a:schemeClr val="bg1"/>
                </a:solidFill>
              </a:rPr>
              <a:t>In summary with EPM: </a:t>
            </a:r>
          </a:p>
        </p:txBody>
      </p:sp>
      <p:pic>
        <p:nvPicPr>
          <p:cNvPr id="25" name="Picture 24">
            <a:extLst>
              <a:ext uri="{FF2B5EF4-FFF2-40B4-BE49-F238E27FC236}">
                <a16:creationId xmlns:a16="http://schemas.microsoft.com/office/drawing/2014/main" id="{1B9FC1A6-ADA6-FD48-92FF-2E88C4B459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10872" y="5695089"/>
            <a:ext cx="1195184" cy="839632"/>
          </a:xfrm>
          <a:prstGeom prst="rect">
            <a:avLst/>
          </a:prstGeom>
        </p:spPr>
      </p:pic>
      <p:pic>
        <p:nvPicPr>
          <p:cNvPr id="26" name="Picture 25">
            <a:extLst>
              <a:ext uri="{FF2B5EF4-FFF2-40B4-BE49-F238E27FC236}">
                <a16:creationId xmlns:a16="http://schemas.microsoft.com/office/drawing/2014/main" id="{E94C4F54-7353-DB44-BEE8-991A30DA4D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54622" y="5846769"/>
            <a:ext cx="763362" cy="536272"/>
          </a:xfrm>
          <a:prstGeom prst="rect">
            <a:avLst/>
          </a:prstGeom>
        </p:spPr>
      </p:pic>
      <p:pic>
        <p:nvPicPr>
          <p:cNvPr id="27" name="Graphic 26">
            <a:extLst>
              <a:ext uri="{FF2B5EF4-FFF2-40B4-BE49-F238E27FC236}">
                <a16:creationId xmlns:a16="http://schemas.microsoft.com/office/drawing/2014/main" id="{C529F554-4235-7D40-96ED-C499C32B7560}"/>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8837" t="17602" r="13232" b="25699"/>
          <a:stretch/>
        </p:blipFill>
        <p:spPr>
          <a:xfrm>
            <a:off x="2703815" y="5697393"/>
            <a:ext cx="1669266" cy="1160607"/>
          </a:xfrm>
          <a:prstGeom prst="rect">
            <a:avLst/>
          </a:prstGeom>
        </p:spPr>
      </p:pic>
      <p:pic>
        <p:nvPicPr>
          <p:cNvPr id="14" name="Graphic 13">
            <a:extLst>
              <a:ext uri="{FF2B5EF4-FFF2-40B4-BE49-F238E27FC236}">
                <a16:creationId xmlns:a16="http://schemas.microsoft.com/office/drawing/2014/main" id="{4C0B2FFB-FAC6-BD44-8525-BB43FAEB42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06140" y="2945825"/>
            <a:ext cx="4075197" cy="3959589"/>
          </a:xfrm>
          <a:prstGeom prst="rect">
            <a:avLst/>
          </a:prstGeom>
        </p:spPr>
      </p:pic>
    </p:spTree>
    <p:extLst>
      <p:ext uri="{BB962C8B-B14F-4D97-AF65-F5344CB8AC3E}">
        <p14:creationId xmlns:p14="http://schemas.microsoft.com/office/powerpoint/2010/main" val="8580641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2996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1430D4D0-1A15-A24A-8742-E10CB5E2DD7A}"/>
              </a:ext>
            </a:extLst>
          </p:cNvPr>
          <p:cNvSpPr/>
          <p:nvPr/>
        </p:nvSpPr>
        <p:spPr>
          <a:xfrm>
            <a:off x="19368" y="-21684"/>
            <a:ext cx="11121795" cy="685800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re 1">
            <a:extLst>
              <a:ext uri="{FF2B5EF4-FFF2-40B4-BE49-F238E27FC236}">
                <a16:creationId xmlns:a16="http://schemas.microsoft.com/office/drawing/2014/main" id="{1A596A14-A776-4140-8152-B9D05F8EAA5D}"/>
              </a:ext>
            </a:extLst>
          </p:cNvPr>
          <p:cNvSpPr>
            <a:spLocks noGrp="1"/>
          </p:cNvSpPr>
          <p:nvPr>
            <p:ph type="title"/>
          </p:nvPr>
        </p:nvSpPr>
        <p:spPr>
          <a:xfrm>
            <a:off x="407988" y="403656"/>
            <a:ext cx="10944596" cy="357187"/>
          </a:xfrm>
          <a:prstGeom prst="rect">
            <a:avLst/>
          </a:prstGeom>
        </p:spPr>
        <p:txBody>
          <a:bodyPr>
            <a:normAutofit fontScale="90000"/>
          </a:bodyPr>
          <a:lstStyle/>
          <a:p>
            <a:r>
              <a:rPr lang="en-US" b="1" dirty="0">
                <a:solidFill>
                  <a:schemeClr val="bg1"/>
                </a:solidFill>
                <a:latin typeface="Ubuntu" panose="020B0504030602030204" pitchFamily="34" charset="0"/>
              </a:rPr>
              <a:t>Why Modernize your Applications by Moving to the Cloud ... </a:t>
            </a:r>
            <a:br>
              <a:rPr lang="en-US" dirty="0"/>
            </a:br>
            <a:br>
              <a:rPr lang="en-US" dirty="0"/>
            </a:br>
            <a:endParaRPr lang="en-US" dirty="0"/>
          </a:p>
        </p:txBody>
      </p:sp>
      <p:sp>
        <p:nvSpPr>
          <p:cNvPr id="6" name="Text Box 25">
            <a:extLst>
              <a:ext uri="{FF2B5EF4-FFF2-40B4-BE49-F238E27FC236}">
                <a16:creationId xmlns:a16="http://schemas.microsoft.com/office/drawing/2014/main" id="{C70D6AB0-D8DB-46B3-AF77-FB9F5AB1D74A}"/>
              </a:ext>
            </a:extLst>
          </p:cNvPr>
          <p:cNvSpPr txBox="1">
            <a:spLocks noChangeArrowheads="1"/>
          </p:cNvSpPr>
          <p:nvPr/>
        </p:nvSpPr>
        <p:spPr bwMode="auto">
          <a:xfrm>
            <a:off x="337270" y="977628"/>
            <a:ext cx="3097212" cy="1969770"/>
          </a:xfrm>
          <a:prstGeom prst="rect">
            <a:avLst/>
          </a:prstGeom>
          <a:noFill/>
          <a:ln w="19050">
            <a:noFill/>
            <a:miter lim="800000"/>
            <a:headEnd/>
            <a:tailEnd/>
          </a:ln>
        </p:spPr>
        <p:txBody>
          <a:bodyPr wrap="square" rIns="0">
            <a:spAutoFit/>
          </a:bodyPr>
          <a:lstStyle/>
          <a:p>
            <a:pPr eaLnBrk="0" hangingPunct="0">
              <a:spcBef>
                <a:spcPts val="600"/>
              </a:spcBef>
              <a:spcAft>
                <a:spcPts val="300"/>
              </a:spcAft>
              <a:buClr>
                <a:srgbClr val="FF304C"/>
              </a:buClr>
              <a:defRPr/>
            </a:pPr>
            <a:r>
              <a:rPr lang="en-US" sz="2200" b="1" kern="0" dirty="0">
                <a:solidFill>
                  <a:schemeClr val="bg1"/>
                </a:solidFill>
                <a:latin typeface="Ubuntu" panose="020B0504030602030204" pitchFamily="34" charset="0"/>
              </a:rPr>
              <a:t>Cost reduction</a:t>
            </a:r>
          </a:p>
          <a:p>
            <a:pPr eaLnBrk="0" hangingPunct="0">
              <a:spcBef>
                <a:spcPts val="600"/>
              </a:spcBef>
              <a:spcAft>
                <a:spcPts val="300"/>
              </a:spcAft>
              <a:buClr>
                <a:srgbClr val="FF304C"/>
              </a:buClr>
              <a:defRPr/>
            </a:pPr>
            <a:r>
              <a:rPr lang="en-US" sz="1600" kern="0" dirty="0">
                <a:solidFill>
                  <a:schemeClr val="bg1"/>
                </a:solidFill>
                <a:latin typeface="Ubuntu" panose="020B0504030602030204" pitchFamily="34" charset="0"/>
              </a:rPr>
              <a:t>Strong deadlines</a:t>
            </a:r>
          </a:p>
          <a:p>
            <a:pPr eaLnBrk="0" hangingPunct="0">
              <a:spcBef>
                <a:spcPts val="600"/>
              </a:spcBef>
              <a:spcAft>
                <a:spcPts val="300"/>
              </a:spcAft>
              <a:buClr>
                <a:srgbClr val="FF304C"/>
              </a:buClr>
              <a:defRPr/>
            </a:pPr>
            <a:r>
              <a:rPr lang="en-US" sz="1600" kern="0" dirty="0">
                <a:solidFill>
                  <a:schemeClr val="bg1"/>
                </a:solidFill>
                <a:latin typeface="Ubuntu" panose="020B0504030602030204" pitchFamily="34" charset="0"/>
              </a:rPr>
              <a:t>Bottom line impact</a:t>
            </a:r>
          </a:p>
          <a:p>
            <a:pPr eaLnBrk="0" hangingPunct="0">
              <a:spcBef>
                <a:spcPts val="600"/>
              </a:spcBef>
              <a:spcAft>
                <a:spcPts val="300"/>
              </a:spcAft>
              <a:buClr>
                <a:srgbClr val="FF304C"/>
              </a:buClr>
              <a:defRPr/>
            </a:pPr>
            <a:r>
              <a:rPr lang="en-US" sz="1600" kern="0" dirty="0">
                <a:solidFill>
                  <a:schemeClr val="bg1"/>
                </a:solidFill>
                <a:latin typeface="Ubuntu" panose="020B0504030602030204" pitchFamily="34" charset="0"/>
              </a:rPr>
              <a:t>IT Push</a:t>
            </a:r>
          </a:p>
          <a:p>
            <a:pPr eaLnBrk="0" hangingPunct="0">
              <a:spcBef>
                <a:spcPts val="600"/>
              </a:spcBef>
              <a:spcAft>
                <a:spcPts val="300"/>
              </a:spcAft>
              <a:buClr>
                <a:srgbClr val="FF304C"/>
              </a:buClr>
              <a:defRPr/>
            </a:pPr>
            <a:endParaRPr lang="en-US" sz="2200" kern="0" dirty="0">
              <a:solidFill>
                <a:srgbClr val="0070AD"/>
              </a:solidFill>
              <a:latin typeface="Ubuntu" panose="020B0504030602030204" pitchFamily="34" charset="0"/>
            </a:endParaRPr>
          </a:p>
        </p:txBody>
      </p:sp>
      <p:sp>
        <p:nvSpPr>
          <p:cNvPr id="7" name="Text Box 25">
            <a:extLst>
              <a:ext uri="{FF2B5EF4-FFF2-40B4-BE49-F238E27FC236}">
                <a16:creationId xmlns:a16="http://schemas.microsoft.com/office/drawing/2014/main" id="{403C15EE-5BDA-48E1-9C40-19AF0FA5A932}"/>
              </a:ext>
            </a:extLst>
          </p:cNvPr>
          <p:cNvSpPr txBox="1">
            <a:spLocks noChangeArrowheads="1"/>
          </p:cNvSpPr>
          <p:nvPr/>
        </p:nvSpPr>
        <p:spPr bwMode="auto">
          <a:xfrm>
            <a:off x="7756006" y="984528"/>
            <a:ext cx="3097212" cy="2239074"/>
          </a:xfrm>
          <a:prstGeom prst="rect">
            <a:avLst/>
          </a:prstGeom>
          <a:noFill/>
          <a:ln w="19050">
            <a:noFill/>
            <a:miter lim="800000"/>
            <a:headEnd/>
            <a:tailEnd/>
          </a:ln>
        </p:spPr>
        <p:txBody>
          <a:bodyPr wrap="square" rIns="0">
            <a:spAutoFit/>
          </a:bodyPr>
          <a:lstStyle/>
          <a:p>
            <a:pPr algn="r" eaLnBrk="0" hangingPunct="0">
              <a:spcBef>
                <a:spcPts val="600"/>
              </a:spcBef>
              <a:spcAft>
                <a:spcPts val="300"/>
              </a:spcAft>
              <a:buClr>
                <a:srgbClr val="FF304C"/>
              </a:buClr>
              <a:defRPr/>
            </a:pPr>
            <a:r>
              <a:rPr lang="en-US" sz="2200" b="1" kern="0" dirty="0">
                <a:solidFill>
                  <a:schemeClr val="bg1"/>
                </a:solidFill>
                <a:latin typeface="Ubuntu" panose="020B0504030602030204" pitchFamily="34" charset="0"/>
              </a:rPr>
              <a:t>Agility and Flexibility</a:t>
            </a:r>
          </a:p>
          <a:p>
            <a:pPr algn="r" eaLnBrk="0" hangingPunct="0">
              <a:spcBef>
                <a:spcPts val="600"/>
              </a:spcBef>
              <a:spcAft>
                <a:spcPts val="300"/>
              </a:spcAft>
              <a:buClr>
                <a:srgbClr val="FF304C"/>
              </a:buClr>
              <a:defRPr/>
            </a:pPr>
            <a:r>
              <a:rPr lang="en-US" sz="1600" kern="0" dirty="0">
                <a:solidFill>
                  <a:schemeClr val="bg1"/>
                </a:solidFill>
                <a:latin typeface="Ubuntu" panose="020B0504030602030204" pitchFamily="34" charset="0"/>
              </a:rPr>
              <a:t>Time to market</a:t>
            </a:r>
          </a:p>
          <a:p>
            <a:pPr algn="r" eaLnBrk="0" hangingPunct="0">
              <a:spcBef>
                <a:spcPts val="600"/>
              </a:spcBef>
              <a:spcAft>
                <a:spcPts val="300"/>
              </a:spcAft>
              <a:buClr>
                <a:srgbClr val="FF304C"/>
              </a:buClr>
              <a:defRPr/>
            </a:pPr>
            <a:r>
              <a:rPr lang="en-US" sz="1600" kern="0" dirty="0">
                <a:solidFill>
                  <a:schemeClr val="bg1"/>
                </a:solidFill>
                <a:latin typeface="Ubuntu" panose="020B0504030602030204" pitchFamily="34" charset="0"/>
              </a:rPr>
              <a:t>Top line impact</a:t>
            </a:r>
          </a:p>
          <a:p>
            <a:pPr algn="r" eaLnBrk="0" hangingPunct="0">
              <a:spcBef>
                <a:spcPts val="600"/>
              </a:spcBef>
              <a:spcAft>
                <a:spcPts val="300"/>
              </a:spcAft>
              <a:buClr>
                <a:srgbClr val="FF304C"/>
              </a:buClr>
              <a:defRPr/>
            </a:pPr>
            <a:r>
              <a:rPr lang="en-US" sz="1600" kern="0" dirty="0">
                <a:solidFill>
                  <a:schemeClr val="bg1"/>
                </a:solidFill>
                <a:latin typeface="Ubuntu" panose="020B0504030602030204" pitchFamily="34" charset="0"/>
              </a:rPr>
              <a:t>Business Push</a:t>
            </a:r>
          </a:p>
          <a:p>
            <a:pPr algn="r" eaLnBrk="0" hangingPunct="0">
              <a:spcBef>
                <a:spcPts val="600"/>
              </a:spcBef>
              <a:spcAft>
                <a:spcPts val="300"/>
              </a:spcAft>
              <a:buClr>
                <a:srgbClr val="FF304C"/>
              </a:buClr>
              <a:defRPr/>
            </a:pPr>
            <a:r>
              <a:rPr lang="en-US" sz="1600" kern="0" dirty="0">
                <a:solidFill>
                  <a:schemeClr val="bg1"/>
                </a:solidFill>
                <a:latin typeface="Ubuntu" panose="020B0504030602030204" pitchFamily="34" charset="0"/>
              </a:rPr>
              <a:t>Risk management</a:t>
            </a:r>
          </a:p>
          <a:p>
            <a:pPr algn="r" eaLnBrk="0" hangingPunct="0">
              <a:spcBef>
                <a:spcPts val="600"/>
              </a:spcBef>
              <a:spcAft>
                <a:spcPts val="300"/>
              </a:spcAft>
              <a:buClr>
                <a:srgbClr val="FF304C"/>
              </a:buClr>
              <a:defRPr/>
            </a:pPr>
            <a:endParaRPr lang="en-US" sz="1600" kern="0" dirty="0">
              <a:solidFill>
                <a:schemeClr val="bg1"/>
              </a:solidFill>
              <a:latin typeface="Ubuntu" panose="020B0504030602030204" pitchFamily="34" charset="0"/>
            </a:endParaRPr>
          </a:p>
        </p:txBody>
      </p:sp>
      <p:sp>
        <p:nvSpPr>
          <p:cNvPr id="5" name="Text Box 25">
            <a:extLst>
              <a:ext uri="{FF2B5EF4-FFF2-40B4-BE49-F238E27FC236}">
                <a16:creationId xmlns:a16="http://schemas.microsoft.com/office/drawing/2014/main" id="{5AF8D151-CF04-4601-803F-12867A8B0E61}"/>
              </a:ext>
            </a:extLst>
          </p:cNvPr>
          <p:cNvSpPr txBox="1">
            <a:spLocks noChangeArrowheads="1"/>
          </p:cNvSpPr>
          <p:nvPr/>
        </p:nvSpPr>
        <p:spPr bwMode="auto">
          <a:xfrm>
            <a:off x="7756006" y="7367662"/>
            <a:ext cx="4100732" cy="246221"/>
          </a:xfrm>
          <a:prstGeom prst="rect">
            <a:avLst/>
          </a:prstGeom>
          <a:noFill/>
          <a:ln w="19050">
            <a:noFill/>
            <a:miter lim="800000"/>
            <a:headEnd/>
            <a:tailEnd/>
          </a:ln>
        </p:spPr>
        <p:txBody>
          <a:bodyPr wrap="square" rIns="0">
            <a:spAutoFit/>
          </a:bodyPr>
          <a:lstStyle/>
          <a:p>
            <a:pPr algn="r" eaLnBrk="0" hangingPunct="0">
              <a:buClr>
                <a:srgbClr val="FF304C"/>
              </a:buClr>
              <a:defRPr/>
            </a:pPr>
            <a:r>
              <a:rPr lang="en-GB" sz="1000" i="1" kern="0" dirty="0">
                <a:solidFill>
                  <a:srgbClr val="00B0F0"/>
                </a:solidFill>
                <a:latin typeface="Ubuntu" panose="020B0504030602030204" pitchFamily="34" charset="0"/>
              </a:rPr>
              <a:t>Source: Microsoft – July 2019 Azure Migration Program Overview</a:t>
            </a:r>
          </a:p>
        </p:txBody>
      </p:sp>
      <p:cxnSp>
        <p:nvCxnSpPr>
          <p:cNvPr id="38" name="Straight Connector 37">
            <a:extLst>
              <a:ext uri="{FF2B5EF4-FFF2-40B4-BE49-F238E27FC236}">
                <a16:creationId xmlns:a16="http://schemas.microsoft.com/office/drawing/2014/main" id="{6A76B9BD-653A-C140-98F3-118FC3DAEA3E}"/>
              </a:ext>
            </a:extLst>
          </p:cNvPr>
          <p:cNvCxnSpPr>
            <a:cxnSpLocks/>
          </p:cNvCxnSpPr>
          <p:nvPr/>
        </p:nvCxnSpPr>
        <p:spPr>
          <a:xfrm flipV="1">
            <a:off x="5663952" y="3064923"/>
            <a:ext cx="1009302" cy="0"/>
          </a:xfrm>
          <a:prstGeom prst="line">
            <a:avLst/>
          </a:prstGeom>
          <a:ln w="12700">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4EC8A52D-5E43-FA4D-B1D9-1B2D70C1F678}"/>
              </a:ext>
            </a:extLst>
          </p:cNvPr>
          <p:cNvSpPr txBox="1"/>
          <p:nvPr/>
        </p:nvSpPr>
        <p:spPr>
          <a:xfrm>
            <a:off x="8962321" y="4537558"/>
            <a:ext cx="1512168" cy="584775"/>
          </a:xfrm>
          <a:prstGeom prst="rect">
            <a:avLst/>
          </a:prstGeom>
          <a:noFill/>
        </p:spPr>
        <p:txBody>
          <a:bodyPr wrap="square" rtlCol="0">
            <a:spAutoFit/>
          </a:bodyPr>
          <a:lstStyle/>
          <a:p>
            <a:r>
              <a:rPr lang="en-US" sz="1600" dirty="0">
                <a:solidFill>
                  <a:schemeClr val="bg1"/>
                </a:solidFill>
                <a:latin typeface="Ubuntu" panose="020B0504030602030204" pitchFamily="34" charset="0"/>
              </a:rPr>
              <a:t>Software end </a:t>
            </a:r>
          </a:p>
          <a:p>
            <a:r>
              <a:rPr lang="en-US" sz="1600" dirty="0">
                <a:solidFill>
                  <a:schemeClr val="bg1"/>
                </a:solidFill>
                <a:latin typeface="Ubuntu" panose="020B0504030602030204" pitchFamily="34" charset="0"/>
              </a:rPr>
              <a:t>of support</a:t>
            </a:r>
          </a:p>
        </p:txBody>
      </p:sp>
      <p:sp>
        <p:nvSpPr>
          <p:cNvPr id="19" name="TextBox 18">
            <a:extLst>
              <a:ext uri="{FF2B5EF4-FFF2-40B4-BE49-F238E27FC236}">
                <a16:creationId xmlns:a16="http://schemas.microsoft.com/office/drawing/2014/main" id="{5C3ABCD5-FD64-A649-9B20-A66A0C529955}"/>
              </a:ext>
            </a:extLst>
          </p:cNvPr>
          <p:cNvSpPr txBox="1"/>
          <p:nvPr/>
        </p:nvSpPr>
        <p:spPr>
          <a:xfrm>
            <a:off x="8323193" y="3950819"/>
            <a:ext cx="2291487" cy="338554"/>
          </a:xfrm>
          <a:prstGeom prst="rect">
            <a:avLst/>
          </a:prstGeom>
          <a:noFill/>
        </p:spPr>
        <p:txBody>
          <a:bodyPr wrap="square" rtlCol="0">
            <a:spAutoFit/>
          </a:bodyPr>
          <a:lstStyle/>
          <a:p>
            <a:r>
              <a:rPr lang="en-US" sz="1600" dirty="0">
                <a:solidFill>
                  <a:schemeClr val="bg1"/>
                </a:solidFill>
                <a:latin typeface="Ubuntu" panose="020B0504030602030204" pitchFamily="34" charset="0"/>
              </a:rPr>
              <a:t>Application innovation</a:t>
            </a:r>
          </a:p>
        </p:txBody>
      </p:sp>
      <p:sp>
        <p:nvSpPr>
          <p:cNvPr id="20" name="TextBox 19">
            <a:extLst>
              <a:ext uri="{FF2B5EF4-FFF2-40B4-BE49-F238E27FC236}">
                <a16:creationId xmlns:a16="http://schemas.microsoft.com/office/drawing/2014/main" id="{EE8B652D-FA48-6F42-9612-C387BBB64667}"/>
              </a:ext>
            </a:extLst>
          </p:cNvPr>
          <p:cNvSpPr txBox="1"/>
          <p:nvPr/>
        </p:nvSpPr>
        <p:spPr>
          <a:xfrm>
            <a:off x="7427470" y="3373968"/>
            <a:ext cx="1512168" cy="338554"/>
          </a:xfrm>
          <a:prstGeom prst="rect">
            <a:avLst/>
          </a:prstGeom>
          <a:noFill/>
        </p:spPr>
        <p:txBody>
          <a:bodyPr wrap="square" rtlCol="0">
            <a:spAutoFit/>
          </a:bodyPr>
          <a:lstStyle/>
          <a:p>
            <a:r>
              <a:rPr lang="en-US" sz="1600" dirty="0">
                <a:solidFill>
                  <a:schemeClr val="bg1"/>
                </a:solidFill>
                <a:latin typeface="Ubuntu" panose="020B0504030602030204" pitchFamily="34" charset="0"/>
              </a:rPr>
              <a:t>Compliance</a:t>
            </a:r>
          </a:p>
        </p:txBody>
      </p:sp>
      <p:sp>
        <p:nvSpPr>
          <p:cNvPr id="21" name="TextBox 20">
            <a:extLst>
              <a:ext uri="{FF2B5EF4-FFF2-40B4-BE49-F238E27FC236}">
                <a16:creationId xmlns:a16="http://schemas.microsoft.com/office/drawing/2014/main" id="{4ED74EDA-4A32-B142-B6BC-E4F43999688D}"/>
              </a:ext>
            </a:extLst>
          </p:cNvPr>
          <p:cNvSpPr txBox="1"/>
          <p:nvPr/>
        </p:nvSpPr>
        <p:spPr>
          <a:xfrm>
            <a:off x="6596501" y="2879428"/>
            <a:ext cx="2310991" cy="338554"/>
          </a:xfrm>
          <a:prstGeom prst="rect">
            <a:avLst/>
          </a:prstGeom>
          <a:noFill/>
        </p:spPr>
        <p:txBody>
          <a:bodyPr wrap="square" rtlCol="0">
            <a:spAutoFit/>
          </a:bodyPr>
          <a:lstStyle/>
          <a:p>
            <a:r>
              <a:rPr lang="en-US" sz="1600" dirty="0">
                <a:solidFill>
                  <a:schemeClr val="bg1"/>
                </a:solidFill>
                <a:latin typeface="Ubuntu" panose="020B0504030602030204" pitchFamily="34" charset="0"/>
              </a:rPr>
              <a:t>Security threats</a:t>
            </a:r>
          </a:p>
        </p:txBody>
      </p:sp>
      <p:sp>
        <p:nvSpPr>
          <p:cNvPr id="22" name="TextBox 21">
            <a:extLst>
              <a:ext uri="{FF2B5EF4-FFF2-40B4-BE49-F238E27FC236}">
                <a16:creationId xmlns:a16="http://schemas.microsoft.com/office/drawing/2014/main" id="{C286A10C-5F3E-B044-926C-CA3A53D17107}"/>
              </a:ext>
            </a:extLst>
          </p:cNvPr>
          <p:cNvSpPr txBox="1"/>
          <p:nvPr/>
        </p:nvSpPr>
        <p:spPr>
          <a:xfrm>
            <a:off x="1989780" y="2883952"/>
            <a:ext cx="2303993" cy="338554"/>
          </a:xfrm>
          <a:prstGeom prst="rect">
            <a:avLst/>
          </a:prstGeom>
          <a:noFill/>
        </p:spPr>
        <p:txBody>
          <a:bodyPr wrap="square" rtlCol="0">
            <a:spAutoFit/>
          </a:bodyPr>
          <a:lstStyle/>
          <a:p>
            <a:r>
              <a:rPr lang="en-US" sz="1600" dirty="0">
                <a:solidFill>
                  <a:schemeClr val="bg1"/>
                </a:solidFill>
                <a:latin typeface="Ubuntu" panose="020B0504030602030204" pitchFamily="34" charset="0"/>
              </a:rPr>
              <a:t>S/W and H/W refresh</a:t>
            </a:r>
          </a:p>
        </p:txBody>
      </p:sp>
      <p:sp>
        <p:nvSpPr>
          <p:cNvPr id="23" name="TextBox 22">
            <a:extLst>
              <a:ext uri="{FF2B5EF4-FFF2-40B4-BE49-F238E27FC236}">
                <a16:creationId xmlns:a16="http://schemas.microsoft.com/office/drawing/2014/main" id="{23A5C610-EC82-DF40-9058-0CF86189A387}"/>
              </a:ext>
            </a:extLst>
          </p:cNvPr>
          <p:cNvSpPr txBox="1"/>
          <p:nvPr/>
        </p:nvSpPr>
        <p:spPr>
          <a:xfrm>
            <a:off x="1188815" y="3413428"/>
            <a:ext cx="2358472" cy="338554"/>
          </a:xfrm>
          <a:prstGeom prst="rect">
            <a:avLst/>
          </a:prstGeom>
          <a:noFill/>
        </p:spPr>
        <p:txBody>
          <a:bodyPr wrap="square" rtlCol="0">
            <a:spAutoFit/>
          </a:bodyPr>
          <a:lstStyle/>
          <a:p>
            <a:r>
              <a:rPr lang="en-US" sz="1600" dirty="0">
                <a:solidFill>
                  <a:schemeClr val="bg1"/>
                </a:solidFill>
                <a:latin typeface="Ubuntu" panose="020B0504030602030204" pitchFamily="34" charset="0"/>
              </a:rPr>
              <a:t>Urgent capacity needs</a:t>
            </a:r>
          </a:p>
        </p:txBody>
      </p:sp>
      <p:sp>
        <p:nvSpPr>
          <p:cNvPr id="24" name="TextBox 23">
            <a:extLst>
              <a:ext uri="{FF2B5EF4-FFF2-40B4-BE49-F238E27FC236}">
                <a16:creationId xmlns:a16="http://schemas.microsoft.com/office/drawing/2014/main" id="{F0C79485-8D37-3E43-BA21-E595E00E4ED0}"/>
              </a:ext>
            </a:extLst>
          </p:cNvPr>
          <p:cNvSpPr txBox="1"/>
          <p:nvPr/>
        </p:nvSpPr>
        <p:spPr>
          <a:xfrm>
            <a:off x="1246997" y="3873788"/>
            <a:ext cx="1860306" cy="584775"/>
          </a:xfrm>
          <a:prstGeom prst="rect">
            <a:avLst/>
          </a:prstGeom>
          <a:noFill/>
        </p:spPr>
        <p:txBody>
          <a:bodyPr wrap="square" rtlCol="0">
            <a:spAutoFit/>
          </a:bodyPr>
          <a:lstStyle/>
          <a:p>
            <a:r>
              <a:rPr lang="en-US" sz="1600" dirty="0">
                <a:solidFill>
                  <a:schemeClr val="bg1"/>
                </a:solidFill>
                <a:latin typeface="Ubuntu" panose="020B0504030602030204" pitchFamily="34" charset="0"/>
              </a:rPr>
              <a:t>Quickly integrate acquisitions</a:t>
            </a:r>
          </a:p>
        </p:txBody>
      </p:sp>
      <p:pic>
        <p:nvPicPr>
          <p:cNvPr id="32" name="Graphic 31">
            <a:extLst>
              <a:ext uri="{FF2B5EF4-FFF2-40B4-BE49-F238E27FC236}">
                <a16:creationId xmlns:a16="http://schemas.microsoft.com/office/drawing/2014/main" id="{1EDD3AE0-1C72-5A45-95F3-CD1244D074E1}"/>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8837" t="17602" r="13232" b="25699"/>
          <a:stretch/>
        </p:blipFill>
        <p:spPr>
          <a:xfrm>
            <a:off x="3898799" y="4155850"/>
            <a:ext cx="3014624" cy="2096007"/>
          </a:xfrm>
          <a:prstGeom prst="rect">
            <a:avLst/>
          </a:prstGeom>
        </p:spPr>
      </p:pic>
      <p:pic>
        <p:nvPicPr>
          <p:cNvPr id="28" name="Picture 27">
            <a:extLst>
              <a:ext uri="{FF2B5EF4-FFF2-40B4-BE49-F238E27FC236}">
                <a16:creationId xmlns:a16="http://schemas.microsoft.com/office/drawing/2014/main" id="{AB0A894C-FAC9-F241-ACD5-9EC9339F13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69939" y="2848290"/>
            <a:ext cx="740409" cy="520147"/>
          </a:xfrm>
          <a:prstGeom prst="rect">
            <a:avLst/>
          </a:prstGeom>
        </p:spPr>
      </p:pic>
      <p:sp>
        <p:nvSpPr>
          <p:cNvPr id="29" name="TextBox 28">
            <a:extLst>
              <a:ext uri="{FF2B5EF4-FFF2-40B4-BE49-F238E27FC236}">
                <a16:creationId xmlns:a16="http://schemas.microsoft.com/office/drawing/2014/main" id="{DE424296-2270-754D-8FAA-A58E55DADF74}"/>
              </a:ext>
            </a:extLst>
          </p:cNvPr>
          <p:cNvSpPr txBox="1"/>
          <p:nvPr/>
        </p:nvSpPr>
        <p:spPr>
          <a:xfrm>
            <a:off x="694884" y="4543501"/>
            <a:ext cx="1860306" cy="584775"/>
          </a:xfrm>
          <a:prstGeom prst="rect">
            <a:avLst/>
          </a:prstGeom>
          <a:noFill/>
        </p:spPr>
        <p:txBody>
          <a:bodyPr wrap="square" rtlCol="0">
            <a:spAutoFit/>
          </a:bodyPr>
          <a:lstStyle/>
          <a:p>
            <a:r>
              <a:rPr lang="en-US" sz="1600" dirty="0">
                <a:solidFill>
                  <a:schemeClr val="bg1"/>
                </a:solidFill>
                <a:latin typeface="Ubuntu" panose="020B0504030602030204" pitchFamily="34" charset="0"/>
              </a:rPr>
              <a:t>Datacenter</a:t>
            </a:r>
          </a:p>
          <a:p>
            <a:r>
              <a:rPr lang="en-US" sz="1600" dirty="0">
                <a:solidFill>
                  <a:schemeClr val="bg1"/>
                </a:solidFill>
                <a:latin typeface="Ubuntu" panose="020B0504030602030204" pitchFamily="34" charset="0"/>
              </a:rPr>
              <a:t>Contracts expiry</a:t>
            </a:r>
          </a:p>
        </p:txBody>
      </p:sp>
      <p:cxnSp>
        <p:nvCxnSpPr>
          <p:cNvPr id="4" name="Straight Connector 3">
            <a:extLst>
              <a:ext uri="{FF2B5EF4-FFF2-40B4-BE49-F238E27FC236}">
                <a16:creationId xmlns:a16="http://schemas.microsoft.com/office/drawing/2014/main" id="{A5107637-A50B-9341-9D68-9C1FA610BD7D}"/>
              </a:ext>
            </a:extLst>
          </p:cNvPr>
          <p:cNvCxnSpPr>
            <a:cxnSpLocks/>
          </p:cNvCxnSpPr>
          <p:nvPr/>
        </p:nvCxnSpPr>
        <p:spPr>
          <a:xfrm flipH="1">
            <a:off x="4116442" y="3089683"/>
            <a:ext cx="532366" cy="0"/>
          </a:xfrm>
          <a:prstGeom prst="line">
            <a:avLst/>
          </a:prstGeom>
          <a:ln w="12700">
            <a:solidFill>
              <a:schemeClr val="bg1"/>
            </a:solidFill>
            <a:prstDash val="sys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7B35489-215A-8D4E-9C5A-58864F4A9C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72359" y="2863157"/>
            <a:ext cx="740409" cy="520147"/>
          </a:xfrm>
          <a:prstGeom prst="rect">
            <a:avLst/>
          </a:prstGeom>
        </p:spPr>
      </p:pic>
      <p:cxnSp>
        <p:nvCxnSpPr>
          <p:cNvPr id="33" name="Straight Connector 32">
            <a:extLst>
              <a:ext uri="{FF2B5EF4-FFF2-40B4-BE49-F238E27FC236}">
                <a16:creationId xmlns:a16="http://schemas.microsoft.com/office/drawing/2014/main" id="{91ED2566-CD6D-3B42-83B7-8A138D81974F}"/>
              </a:ext>
            </a:extLst>
          </p:cNvPr>
          <p:cNvCxnSpPr>
            <a:cxnSpLocks/>
          </p:cNvCxnSpPr>
          <p:nvPr/>
        </p:nvCxnSpPr>
        <p:spPr>
          <a:xfrm flipH="1">
            <a:off x="3434482" y="3622411"/>
            <a:ext cx="572413" cy="0"/>
          </a:xfrm>
          <a:prstGeom prst="line">
            <a:avLst/>
          </a:prstGeom>
          <a:ln w="12700">
            <a:solidFill>
              <a:schemeClr val="bg1"/>
            </a:solidFill>
            <a:prstDash val="sysDash"/>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803D1601-7946-4745-B03D-AC24B424455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46238" y="3415953"/>
            <a:ext cx="740409" cy="520147"/>
          </a:xfrm>
          <a:prstGeom prst="rect">
            <a:avLst/>
          </a:prstGeom>
        </p:spPr>
      </p:pic>
      <p:cxnSp>
        <p:nvCxnSpPr>
          <p:cNvPr id="35" name="Straight Connector 34">
            <a:extLst>
              <a:ext uri="{FF2B5EF4-FFF2-40B4-BE49-F238E27FC236}">
                <a16:creationId xmlns:a16="http://schemas.microsoft.com/office/drawing/2014/main" id="{9401DF81-3D35-F140-A9A7-CE52A89483F4}"/>
              </a:ext>
            </a:extLst>
          </p:cNvPr>
          <p:cNvCxnSpPr>
            <a:cxnSpLocks/>
          </p:cNvCxnSpPr>
          <p:nvPr/>
        </p:nvCxnSpPr>
        <p:spPr>
          <a:xfrm flipH="1">
            <a:off x="2044015" y="4829945"/>
            <a:ext cx="648072" cy="0"/>
          </a:xfrm>
          <a:prstGeom prst="line">
            <a:avLst/>
          </a:prstGeom>
          <a:ln w="12700">
            <a:solidFill>
              <a:schemeClr val="bg1"/>
            </a:solidFill>
            <a:prstDash val="sysDash"/>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9DEE010F-555E-8446-8566-E34AA77C177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73595" y="4575817"/>
            <a:ext cx="740409" cy="520147"/>
          </a:xfrm>
          <a:prstGeom prst="rect">
            <a:avLst/>
          </a:prstGeom>
        </p:spPr>
      </p:pic>
      <p:cxnSp>
        <p:nvCxnSpPr>
          <p:cNvPr id="36" name="Straight Connector 35">
            <a:extLst>
              <a:ext uri="{FF2B5EF4-FFF2-40B4-BE49-F238E27FC236}">
                <a16:creationId xmlns:a16="http://schemas.microsoft.com/office/drawing/2014/main" id="{44CB36F6-92AF-D04F-847F-FDAE790CD714}"/>
              </a:ext>
            </a:extLst>
          </p:cNvPr>
          <p:cNvCxnSpPr>
            <a:cxnSpLocks/>
          </p:cNvCxnSpPr>
          <p:nvPr/>
        </p:nvCxnSpPr>
        <p:spPr>
          <a:xfrm flipV="1">
            <a:off x="7857845" y="4161131"/>
            <a:ext cx="532366" cy="0"/>
          </a:xfrm>
          <a:prstGeom prst="line">
            <a:avLst/>
          </a:prstGeom>
          <a:ln w="12700">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DCDFA16-BFED-476C-9E46-7FA532BA100E}"/>
              </a:ext>
            </a:extLst>
          </p:cNvPr>
          <p:cNvCxnSpPr>
            <a:cxnSpLocks/>
          </p:cNvCxnSpPr>
          <p:nvPr/>
        </p:nvCxnSpPr>
        <p:spPr>
          <a:xfrm flipH="1">
            <a:off x="2718740" y="4222705"/>
            <a:ext cx="572413" cy="0"/>
          </a:xfrm>
          <a:prstGeom prst="line">
            <a:avLst/>
          </a:prstGeom>
          <a:ln w="12700">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BFB0F89-90C2-ED4C-9BC0-6CFB3AF85968}"/>
              </a:ext>
            </a:extLst>
          </p:cNvPr>
          <p:cNvCxnSpPr>
            <a:cxnSpLocks/>
          </p:cNvCxnSpPr>
          <p:nvPr/>
        </p:nvCxnSpPr>
        <p:spPr>
          <a:xfrm flipV="1">
            <a:off x="6889839" y="3552370"/>
            <a:ext cx="572413" cy="0"/>
          </a:xfrm>
          <a:prstGeom prst="line">
            <a:avLst/>
          </a:prstGeom>
          <a:ln w="12700">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E7A781F-EB17-A947-AD8B-533FDBD854D0}"/>
              </a:ext>
            </a:extLst>
          </p:cNvPr>
          <p:cNvCxnSpPr>
            <a:cxnSpLocks/>
          </p:cNvCxnSpPr>
          <p:nvPr/>
        </p:nvCxnSpPr>
        <p:spPr>
          <a:xfrm flipV="1">
            <a:off x="8499768" y="4835889"/>
            <a:ext cx="532366" cy="0"/>
          </a:xfrm>
          <a:prstGeom prst="line">
            <a:avLst/>
          </a:prstGeom>
          <a:ln w="12700">
            <a:solidFill>
              <a:schemeClr val="bg1"/>
            </a:solidFill>
            <a:prstDash val="sysDash"/>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723FBD57-1ED8-DA46-AF61-8210DE0D0C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78263" y="4575816"/>
            <a:ext cx="740409" cy="520147"/>
          </a:xfrm>
          <a:prstGeom prst="rect">
            <a:avLst/>
          </a:prstGeom>
        </p:spPr>
      </p:pic>
      <p:pic>
        <p:nvPicPr>
          <p:cNvPr id="26" name="Picture 25">
            <a:extLst>
              <a:ext uri="{FF2B5EF4-FFF2-40B4-BE49-F238E27FC236}">
                <a16:creationId xmlns:a16="http://schemas.microsoft.com/office/drawing/2014/main" id="{411DAAAE-BC6C-0D43-800C-F1D4596529D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2973" y="3962632"/>
            <a:ext cx="740409" cy="520147"/>
          </a:xfrm>
          <a:prstGeom prst="rect">
            <a:avLst/>
          </a:prstGeom>
        </p:spPr>
      </p:pic>
      <p:pic>
        <p:nvPicPr>
          <p:cNvPr id="27" name="Picture 26">
            <a:extLst>
              <a:ext uri="{FF2B5EF4-FFF2-40B4-BE49-F238E27FC236}">
                <a16:creationId xmlns:a16="http://schemas.microsoft.com/office/drawing/2014/main" id="{9EB276C1-09CB-7048-89F1-D1AE0218D7A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70684" y="3361925"/>
            <a:ext cx="740409" cy="520147"/>
          </a:xfrm>
          <a:prstGeom prst="rect">
            <a:avLst/>
          </a:prstGeom>
        </p:spPr>
      </p:pic>
      <p:pic>
        <p:nvPicPr>
          <p:cNvPr id="41" name="Picture 40">
            <a:extLst>
              <a:ext uri="{FF2B5EF4-FFF2-40B4-BE49-F238E27FC236}">
                <a16:creationId xmlns:a16="http://schemas.microsoft.com/office/drawing/2014/main" id="{ADB0EAE4-EA62-E045-A7EB-AE846A93B049}"/>
              </a:ext>
            </a:extLst>
          </p:cNvPr>
          <p:cNvPicPr>
            <a:picLocks noChangeAspect="1"/>
          </p:cNvPicPr>
          <p:nvPr/>
        </p:nvPicPr>
        <p:blipFill rotWithShape="1">
          <a:blip r:embed="rId6"/>
          <a:srcRect l="83150"/>
          <a:stretch/>
        </p:blipFill>
        <p:spPr>
          <a:xfrm>
            <a:off x="4736576" y="3582705"/>
            <a:ext cx="1232788" cy="1117900"/>
          </a:xfrm>
          <a:prstGeom prst="rect">
            <a:avLst/>
          </a:prstGeom>
        </p:spPr>
      </p:pic>
      <p:pic>
        <p:nvPicPr>
          <p:cNvPr id="10" name="Picture 9">
            <a:extLst>
              <a:ext uri="{FF2B5EF4-FFF2-40B4-BE49-F238E27FC236}">
                <a16:creationId xmlns:a16="http://schemas.microsoft.com/office/drawing/2014/main" id="{12AFC6DC-70C5-6F47-8F75-577B23ADED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64278" y="3990910"/>
            <a:ext cx="740409" cy="520147"/>
          </a:xfrm>
          <a:prstGeom prst="rect">
            <a:avLst/>
          </a:prstGeom>
        </p:spPr>
      </p:pic>
      <p:sp>
        <p:nvSpPr>
          <p:cNvPr id="16" name="Text Box 25">
            <a:extLst>
              <a:ext uri="{FF2B5EF4-FFF2-40B4-BE49-F238E27FC236}">
                <a16:creationId xmlns:a16="http://schemas.microsoft.com/office/drawing/2014/main" id="{F0EBDCD7-750F-C34D-9251-9B552DDF4E6F}"/>
              </a:ext>
            </a:extLst>
          </p:cNvPr>
          <p:cNvSpPr txBox="1">
            <a:spLocks noChangeArrowheads="1"/>
          </p:cNvSpPr>
          <p:nvPr/>
        </p:nvSpPr>
        <p:spPr bwMode="auto">
          <a:xfrm>
            <a:off x="3833866" y="4780278"/>
            <a:ext cx="3123414" cy="1595309"/>
          </a:xfrm>
          <a:prstGeom prst="rect">
            <a:avLst/>
          </a:prstGeom>
          <a:noFill/>
          <a:ln w="19050">
            <a:noFill/>
            <a:miter lim="800000"/>
            <a:headEnd/>
            <a:tailEnd/>
          </a:ln>
        </p:spPr>
        <p:txBody>
          <a:bodyPr wrap="square" rIns="0" anchor="t">
            <a:spAutoFit/>
          </a:bodyPr>
          <a:lstStyle/>
          <a:p>
            <a:pPr algn="ctr" eaLnBrk="0" hangingPunct="0">
              <a:spcBef>
                <a:spcPts val="100"/>
              </a:spcBef>
              <a:buClr>
                <a:srgbClr val="FF304C"/>
              </a:buClr>
              <a:defRPr/>
            </a:pPr>
            <a:r>
              <a:rPr lang="en-US" sz="1600" b="1" kern="0" dirty="0">
                <a:solidFill>
                  <a:schemeClr val="bg1"/>
                </a:solidFill>
                <a:latin typeface="Ubuntu" panose="020B0504030602030204" pitchFamily="34" charset="0"/>
              </a:rPr>
              <a:t>Migration and </a:t>
            </a:r>
          </a:p>
          <a:p>
            <a:pPr algn="ctr" eaLnBrk="0" hangingPunct="0">
              <a:spcBef>
                <a:spcPts val="100"/>
              </a:spcBef>
              <a:buClr>
                <a:srgbClr val="FF304C"/>
              </a:buClr>
              <a:defRPr/>
            </a:pPr>
            <a:r>
              <a:rPr lang="en-US" sz="1600" b="1" kern="0" dirty="0">
                <a:solidFill>
                  <a:schemeClr val="bg1"/>
                </a:solidFill>
                <a:latin typeface="Ubuntu" panose="020B0504030602030204" pitchFamily="34" charset="0"/>
              </a:rPr>
              <a:t>modernization </a:t>
            </a:r>
          </a:p>
          <a:p>
            <a:pPr algn="ctr" eaLnBrk="0" hangingPunct="0">
              <a:spcBef>
                <a:spcPts val="100"/>
              </a:spcBef>
              <a:buClr>
                <a:srgbClr val="FF304C"/>
              </a:buClr>
              <a:defRPr/>
            </a:pPr>
            <a:r>
              <a:rPr lang="en-US" sz="1600" b="1" kern="0" dirty="0">
                <a:solidFill>
                  <a:schemeClr val="bg1"/>
                </a:solidFill>
                <a:latin typeface="Ubuntu" panose="020B0504030602030204" pitchFamily="34" charset="0"/>
              </a:rPr>
              <a:t>Triggers</a:t>
            </a:r>
          </a:p>
          <a:p>
            <a:pPr algn="ctr" eaLnBrk="0" hangingPunct="0">
              <a:spcBef>
                <a:spcPts val="600"/>
              </a:spcBef>
              <a:buClr>
                <a:srgbClr val="FF304C"/>
              </a:buClr>
              <a:defRPr/>
            </a:pPr>
            <a:endParaRPr lang="en-US" sz="1600" b="1" kern="0" dirty="0">
              <a:solidFill>
                <a:schemeClr val="bg1"/>
              </a:solidFill>
              <a:latin typeface="Ubuntu" panose="020B0504030602030204" pitchFamily="34" charset="0"/>
            </a:endParaRPr>
          </a:p>
          <a:p>
            <a:pPr eaLnBrk="0" hangingPunct="0">
              <a:spcBef>
                <a:spcPts val="600"/>
              </a:spcBef>
              <a:spcAft>
                <a:spcPts val="300"/>
              </a:spcAft>
              <a:buClr>
                <a:srgbClr val="FF304C"/>
              </a:buClr>
              <a:defRPr/>
            </a:pPr>
            <a:endParaRPr lang="en-US" sz="2200" kern="0" dirty="0">
              <a:solidFill>
                <a:schemeClr val="bg1"/>
              </a:solidFill>
              <a:latin typeface="Ubuntu" panose="020B0504030602030204" pitchFamily="34" charset="0"/>
            </a:endParaRPr>
          </a:p>
        </p:txBody>
      </p:sp>
    </p:spTree>
    <p:extLst>
      <p:ext uri="{BB962C8B-B14F-4D97-AF65-F5344CB8AC3E}">
        <p14:creationId xmlns:p14="http://schemas.microsoft.com/office/powerpoint/2010/main" val="11001884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50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8"/>
                                        </p:tgtEl>
                                        <p:attrNameLst>
                                          <p:attrName>style.visibility</p:attrName>
                                        </p:attrNameLst>
                                      </p:cBhvr>
                                      <p:to>
                                        <p:strVal val="visible"/>
                                      </p:to>
                                    </p:set>
                                    <p:animEffect transition="in" filter="fade">
                                      <p:cBhvr>
                                        <p:cTn id="14" dur="1000"/>
                                        <p:tgtEl>
                                          <p:spTgt spid="38"/>
                                        </p:tgtEl>
                                      </p:cBhvr>
                                    </p:animEffect>
                                    <p:anim calcmode="lin" valueType="num">
                                      <p:cBhvr>
                                        <p:cTn id="15" dur="1000" fill="hold"/>
                                        <p:tgtEl>
                                          <p:spTgt spid="38"/>
                                        </p:tgtEl>
                                        <p:attrNameLst>
                                          <p:attrName>ppt_x</p:attrName>
                                        </p:attrNameLst>
                                      </p:cBhvr>
                                      <p:tavLst>
                                        <p:tav tm="0">
                                          <p:val>
                                            <p:strVal val="#ppt_x"/>
                                          </p:val>
                                        </p:tav>
                                        <p:tav tm="100000">
                                          <p:val>
                                            <p:strVal val="#ppt_x"/>
                                          </p:val>
                                        </p:tav>
                                      </p:tavLst>
                                    </p:anim>
                                    <p:anim calcmode="lin" valueType="num">
                                      <p:cBhvr>
                                        <p:cTn id="16" dur="1000" fill="hold"/>
                                        <p:tgtEl>
                                          <p:spTgt spid="38"/>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anim calcmode="lin" valueType="num">
                                      <p:cBhvr>
                                        <p:cTn id="20" dur="1000" fill="hold"/>
                                        <p:tgtEl>
                                          <p:spTgt spid="18"/>
                                        </p:tgtEl>
                                        <p:attrNameLst>
                                          <p:attrName>ppt_x</p:attrName>
                                        </p:attrNameLst>
                                      </p:cBhvr>
                                      <p:tavLst>
                                        <p:tav tm="0">
                                          <p:val>
                                            <p:strVal val="#ppt_x"/>
                                          </p:val>
                                        </p:tav>
                                        <p:tav tm="100000">
                                          <p:val>
                                            <p:strVal val="#ppt_x"/>
                                          </p:val>
                                        </p:tav>
                                      </p:tavLst>
                                    </p:anim>
                                    <p:anim calcmode="lin" valueType="num">
                                      <p:cBhvr>
                                        <p:cTn id="21" dur="1000" fill="hold"/>
                                        <p:tgtEl>
                                          <p:spTgt spid="18"/>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1000"/>
                                        <p:tgtEl>
                                          <p:spTgt spid="19"/>
                                        </p:tgtEl>
                                      </p:cBhvr>
                                    </p:animEffect>
                                    <p:anim calcmode="lin" valueType="num">
                                      <p:cBhvr>
                                        <p:cTn id="25" dur="1000" fill="hold"/>
                                        <p:tgtEl>
                                          <p:spTgt spid="19"/>
                                        </p:tgtEl>
                                        <p:attrNameLst>
                                          <p:attrName>ppt_x</p:attrName>
                                        </p:attrNameLst>
                                      </p:cBhvr>
                                      <p:tavLst>
                                        <p:tav tm="0">
                                          <p:val>
                                            <p:strVal val="#ppt_x"/>
                                          </p:val>
                                        </p:tav>
                                        <p:tav tm="100000">
                                          <p:val>
                                            <p:strVal val="#ppt_x"/>
                                          </p:val>
                                        </p:tav>
                                      </p:tavLst>
                                    </p:anim>
                                    <p:anim calcmode="lin" valueType="num">
                                      <p:cBhvr>
                                        <p:cTn id="26" dur="1000" fill="hold"/>
                                        <p:tgtEl>
                                          <p:spTgt spid="19"/>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1000"/>
                                        <p:tgtEl>
                                          <p:spTgt spid="20"/>
                                        </p:tgtEl>
                                      </p:cBhvr>
                                    </p:animEffect>
                                    <p:anim calcmode="lin" valueType="num">
                                      <p:cBhvr>
                                        <p:cTn id="30" dur="1000" fill="hold"/>
                                        <p:tgtEl>
                                          <p:spTgt spid="20"/>
                                        </p:tgtEl>
                                        <p:attrNameLst>
                                          <p:attrName>ppt_x</p:attrName>
                                        </p:attrNameLst>
                                      </p:cBhvr>
                                      <p:tavLst>
                                        <p:tav tm="0">
                                          <p:val>
                                            <p:strVal val="#ppt_x"/>
                                          </p:val>
                                        </p:tav>
                                        <p:tav tm="100000">
                                          <p:val>
                                            <p:strVal val="#ppt_x"/>
                                          </p:val>
                                        </p:tav>
                                      </p:tavLst>
                                    </p:anim>
                                    <p:anim calcmode="lin" valueType="num">
                                      <p:cBhvr>
                                        <p:cTn id="31" dur="1000" fill="hold"/>
                                        <p:tgtEl>
                                          <p:spTgt spid="20"/>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1000"/>
                                        <p:tgtEl>
                                          <p:spTgt spid="21"/>
                                        </p:tgtEl>
                                      </p:cBhvr>
                                    </p:animEffect>
                                    <p:anim calcmode="lin" valueType="num">
                                      <p:cBhvr>
                                        <p:cTn id="35" dur="1000" fill="hold"/>
                                        <p:tgtEl>
                                          <p:spTgt spid="21"/>
                                        </p:tgtEl>
                                        <p:attrNameLst>
                                          <p:attrName>ppt_x</p:attrName>
                                        </p:attrNameLst>
                                      </p:cBhvr>
                                      <p:tavLst>
                                        <p:tav tm="0">
                                          <p:val>
                                            <p:strVal val="#ppt_x"/>
                                          </p:val>
                                        </p:tav>
                                        <p:tav tm="100000">
                                          <p:val>
                                            <p:strVal val="#ppt_x"/>
                                          </p:val>
                                        </p:tav>
                                      </p:tavLst>
                                    </p:anim>
                                    <p:anim calcmode="lin" valueType="num">
                                      <p:cBhvr>
                                        <p:cTn id="36" dur="1000" fill="hold"/>
                                        <p:tgtEl>
                                          <p:spTgt spid="21"/>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1000"/>
                                        <p:tgtEl>
                                          <p:spTgt spid="22"/>
                                        </p:tgtEl>
                                      </p:cBhvr>
                                    </p:animEffect>
                                    <p:anim calcmode="lin" valueType="num">
                                      <p:cBhvr>
                                        <p:cTn id="40" dur="1000" fill="hold"/>
                                        <p:tgtEl>
                                          <p:spTgt spid="22"/>
                                        </p:tgtEl>
                                        <p:attrNameLst>
                                          <p:attrName>ppt_x</p:attrName>
                                        </p:attrNameLst>
                                      </p:cBhvr>
                                      <p:tavLst>
                                        <p:tav tm="0">
                                          <p:val>
                                            <p:strVal val="#ppt_x"/>
                                          </p:val>
                                        </p:tav>
                                        <p:tav tm="100000">
                                          <p:val>
                                            <p:strVal val="#ppt_x"/>
                                          </p:val>
                                        </p:tav>
                                      </p:tavLst>
                                    </p:anim>
                                    <p:anim calcmode="lin" valueType="num">
                                      <p:cBhvr>
                                        <p:cTn id="41" dur="1000" fill="hold"/>
                                        <p:tgtEl>
                                          <p:spTgt spid="22"/>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1000"/>
                                        <p:tgtEl>
                                          <p:spTgt spid="23"/>
                                        </p:tgtEl>
                                      </p:cBhvr>
                                    </p:animEffect>
                                    <p:anim calcmode="lin" valueType="num">
                                      <p:cBhvr>
                                        <p:cTn id="45" dur="1000" fill="hold"/>
                                        <p:tgtEl>
                                          <p:spTgt spid="23"/>
                                        </p:tgtEl>
                                        <p:attrNameLst>
                                          <p:attrName>ppt_x</p:attrName>
                                        </p:attrNameLst>
                                      </p:cBhvr>
                                      <p:tavLst>
                                        <p:tav tm="0">
                                          <p:val>
                                            <p:strVal val="#ppt_x"/>
                                          </p:val>
                                        </p:tav>
                                        <p:tav tm="100000">
                                          <p:val>
                                            <p:strVal val="#ppt_x"/>
                                          </p:val>
                                        </p:tav>
                                      </p:tavLst>
                                    </p:anim>
                                    <p:anim calcmode="lin" valueType="num">
                                      <p:cBhvr>
                                        <p:cTn id="46" dur="1000" fill="hold"/>
                                        <p:tgtEl>
                                          <p:spTgt spid="23"/>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1000"/>
                                        <p:tgtEl>
                                          <p:spTgt spid="24"/>
                                        </p:tgtEl>
                                      </p:cBhvr>
                                    </p:animEffect>
                                    <p:anim calcmode="lin" valueType="num">
                                      <p:cBhvr>
                                        <p:cTn id="50" dur="1000" fill="hold"/>
                                        <p:tgtEl>
                                          <p:spTgt spid="24"/>
                                        </p:tgtEl>
                                        <p:attrNameLst>
                                          <p:attrName>ppt_x</p:attrName>
                                        </p:attrNameLst>
                                      </p:cBhvr>
                                      <p:tavLst>
                                        <p:tav tm="0">
                                          <p:val>
                                            <p:strVal val="#ppt_x"/>
                                          </p:val>
                                        </p:tav>
                                        <p:tav tm="100000">
                                          <p:val>
                                            <p:strVal val="#ppt_x"/>
                                          </p:val>
                                        </p:tav>
                                      </p:tavLst>
                                    </p:anim>
                                    <p:anim calcmode="lin" valueType="num">
                                      <p:cBhvr>
                                        <p:cTn id="51" dur="1000" fill="hold"/>
                                        <p:tgtEl>
                                          <p:spTgt spid="24"/>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32"/>
                                        </p:tgtEl>
                                        <p:attrNameLst>
                                          <p:attrName>style.visibility</p:attrName>
                                        </p:attrNameLst>
                                      </p:cBhvr>
                                      <p:to>
                                        <p:strVal val="visible"/>
                                      </p:to>
                                    </p:set>
                                    <p:animEffect transition="in" filter="fade">
                                      <p:cBhvr>
                                        <p:cTn id="54" dur="1000"/>
                                        <p:tgtEl>
                                          <p:spTgt spid="32"/>
                                        </p:tgtEl>
                                      </p:cBhvr>
                                    </p:animEffect>
                                    <p:anim calcmode="lin" valueType="num">
                                      <p:cBhvr>
                                        <p:cTn id="55" dur="1000" fill="hold"/>
                                        <p:tgtEl>
                                          <p:spTgt spid="32"/>
                                        </p:tgtEl>
                                        <p:attrNameLst>
                                          <p:attrName>ppt_x</p:attrName>
                                        </p:attrNameLst>
                                      </p:cBhvr>
                                      <p:tavLst>
                                        <p:tav tm="0">
                                          <p:val>
                                            <p:strVal val="#ppt_x"/>
                                          </p:val>
                                        </p:tav>
                                        <p:tav tm="100000">
                                          <p:val>
                                            <p:strVal val="#ppt_x"/>
                                          </p:val>
                                        </p:tav>
                                      </p:tavLst>
                                    </p:anim>
                                    <p:anim calcmode="lin" valueType="num">
                                      <p:cBhvr>
                                        <p:cTn id="56" dur="1000" fill="hold"/>
                                        <p:tgtEl>
                                          <p:spTgt spid="32"/>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28"/>
                                        </p:tgtEl>
                                        <p:attrNameLst>
                                          <p:attrName>style.visibility</p:attrName>
                                        </p:attrNameLst>
                                      </p:cBhvr>
                                      <p:to>
                                        <p:strVal val="visible"/>
                                      </p:to>
                                    </p:set>
                                    <p:animEffect transition="in" filter="fade">
                                      <p:cBhvr>
                                        <p:cTn id="59" dur="1000"/>
                                        <p:tgtEl>
                                          <p:spTgt spid="28"/>
                                        </p:tgtEl>
                                      </p:cBhvr>
                                    </p:animEffect>
                                    <p:anim calcmode="lin" valueType="num">
                                      <p:cBhvr>
                                        <p:cTn id="60" dur="1000" fill="hold"/>
                                        <p:tgtEl>
                                          <p:spTgt spid="28"/>
                                        </p:tgtEl>
                                        <p:attrNameLst>
                                          <p:attrName>ppt_x</p:attrName>
                                        </p:attrNameLst>
                                      </p:cBhvr>
                                      <p:tavLst>
                                        <p:tav tm="0">
                                          <p:val>
                                            <p:strVal val="#ppt_x"/>
                                          </p:val>
                                        </p:tav>
                                        <p:tav tm="100000">
                                          <p:val>
                                            <p:strVal val="#ppt_x"/>
                                          </p:val>
                                        </p:tav>
                                      </p:tavLst>
                                    </p:anim>
                                    <p:anim calcmode="lin" valueType="num">
                                      <p:cBhvr>
                                        <p:cTn id="61" dur="1000" fill="hold"/>
                                        <p:tgtEl>
                                          <p:spTgt spid="28"/>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29"/>
                                        </p:tgtEl>
                                        <p:attrNameLst>
                                          <p:attrName>style.visibility</p:attrName>
                                        </p:attrNameLst>
                                      </p:cBhvr>
                                      <p:to>
                                        <p:strVal val="visible"/>
                                      </p:to>
                                    </p:set>
                                    <p:animEffect transition="in" filter="fade">
                                      <p:cBhvr>
                                        <p:cTn id="64" dur="1000"/>
                                        <p:tgtEl>
                                          <p:spTgt spid="29"/>
                                        </p:tgtEl>
                                      </p:cBhvr>
                                    </p:animEffect>
                                    <p:anim calcmode="lin" valueType="num">
                                      <p:cBhvr>
                                        <p:cTn id="65" dur="1000" fill="hold"/>
                                        <p:tgtEl>
                                          <p:spTgt spid="29"/>
                                        </p:tgtEl>
                                        <p:attrNameLst>
                                          <p:attrName>ppt_x</p:attrName>
                                        </p:attrNameLst>
                                      </p:cBhvr>
                                      <p:tavLst>
                                        <p:tav tm="0">
                                          <p:val>
                                            <p:strVal val="#ppt_x"/>
                                          </p:val>
                                        </p:tav>
                                        <p:tav tm="100000">
                                          <p:val>
                                            <p:strVal val="#ppt_x"/>
                                          </p:val>
                                        </p:tav>
                                      </p:tavLst>
                                    </p:anim>
                                    <p:anim calcmode="lin" valueType="num">
                                      <p:cBhvr>
                                        <p:cTn id="66" dur="1000" fill="hold"/>
                                        <p:tgtEl>
                                          <p:spTgt spid="29"/>
                                        </p:tgtEl>
                                        <p:attrNameLst>
                                          <p:attrName>ppt_y</p:attrName>
                                        </p:attrNameLst>
                                      </p:cBhvr>
                                      <p:tavLst>
                                        <p:tav tm="0">
                                          <p:val>
                                            <p:strVal val="#ppt_y+.1"/>
                                          </p:val>
                                        </p:tav>
                                        <p:tav tm="100000">
                                          <p:val>
                                            <p:strVal val="#ppt_y"/>
                                          </p:val>
                                        </p:tav>
                                      </p:tavLst>
                                    </p:anim>
                                  </p:childTnLst>
                                </p:cTn>
                              </p:par>
                              <p:par>
                                <p:cTn id="67" presetID="42" presetClass="entr" presetSubtype="0" fill="hold" nodeType="withEffect">
                                  <p:stCondLst>
                                    <p:cond delay="0"/>
                                  </p:stCondLst>
                                  <p:childTnLst>
                                    <p:set>
                                      <p:cBhvr>
                                        <p:cTn id="68" dur="1" fill="hold">
                                          <p:stCondLst>
                                            <p:cond delay="0"/>
                                          </p:stCondLst>
                                        </p:cTn>
                                        <p:tgtEl>
                                          <p:spTgt spid="4"/>
                                        </p:tgtEl>
                                        <p:attrNameLst>
                                          <p:attrName>style.visibility</p:attrName>
                                        </p:attrNameLst>
                                      </p:cBhvr>
                                      <p:to>
                                        <p:strVal val="visible"/>
                                      </p:to>
                                    </p:set>
                                    <p:animEffect transition="in" filter="fade">
                                      <p:cBhvr>
                                        <p:cTn id="69" dur="1000"/>
                                        <p:tgtEl>
                                          <p:spTgt spid="4"/>
                                        </p:tgtEl>
                                      </p:cBhvr>
                                    </p:animEffect>
                                    <p:anim calcmode="lin" valueType="num">
                                      <p:cBhvr>
                                        <p:cTn id="70" dur="1000" fill="hold"/>
                                        <p:tgtEl>
                                          <p:spTgt spid="4"/>
                                        </p:tgtEl>
                                        <p:attrNameLst>
                                          <p:attrName>ppt_x</p:attrName>
                                        </p:attrNameLst>
                                      </p:cBhvr>
                                      <p:tavLst>
                                        <p:tav tm="0">
                                          <p:val>
                                            <p:strVal val="#ppt_x"/>
                                          </p:val>
                                        </p:tav>
                                        <p:tav tm="100000">
                                          <p:val>
                                            <p:strVal val="#ppt_x"/>
                                          </p:val>
                                        </p:tav>
                                      </p:tavLst>
                                    </p:anim>
                                    <p:anim calcmode="lin" valueType="num">
                                      <p:cBhvr>
                                        <p:cTn id="71" dur="1000" fill="hold"/>
                                        <p:tgtEl>
                                          <p:spTgt spid="4"/>
                                        </p:tgtEl>
                                        <p:attrNameLst>
                                          <p:attrName>ppt_y</p:attrName>
                                        </p:attrNameLst>
                                      </p:cBhvr>
                                      <p:tavLst>
                                        <p:tav tm="0">
                                          <p:val>
                                            <p:strVal val="#ppt_y+.1"/>
                                          </p:val>
                                        </p:tav>
                                        <p:tav tm="100000">
                                          <p:val>
                                            <p:strVal val="#ppt_y"/>
                                          </p:val>
                                        </p:tav>
                                      </p:tavLst>
                                    </p:anim>
                                  </p:childTnLst>
                                </p:cTn>
                              </p:par>
                              <p:par>
                                <p:cTn id="72" presetID="42" presetClass="entr" presetSubtype="0" fill="hold" nodeType="withEffect">
                                  <p:stCondLst>
                                    <p:cond delay="0"/>
                                  </p:stCondLst>
                                  <p:childTnLst>
                                    <p:set>
                                      <p:cBhvr>
                                        <p:cTn id="73" dur="1" fill="hold">
                                          <p:stCondLst>
                                            <p:cond delay="0"/>
                                          </p:stCondLst>
                                        </p:cTn>
                                        <p:tgtEl>
                                          <p:spTgt spid="12"/>
                                        </p:tgtEl>
                                        <p:attrNameLst>
                                          <p:attrName>style.visibility</p:attrName>
                                        </p:attrNameLst>
                                      </p:cBhvr>
                                      <p:to>
                                        <p:strVal val="visible"/>
                                      </p:to>
                                    </p:set>
                                    <p:animEffect transition="in" filter="fade">
                                      <p:cBhvr>
                                        <p:cTn id="74" dur="1000"/>
                                        <p:tgtEl>
                                          <p:spTgt spid="12"/>
                                        </p:tgtEl>
                                      </p:cBhvr>
                                    </p:animEffect>
                                    <p:anim calcmode="lin" valueType="num">
                                      <p:cBhvr>
                                        <p:cTn id="75" dur="1000" fill="hold"/>
                                        <p:tgtEl>
                                          <p:spTgt spid="12"/>
                                        </p:tgtEl>
                                        <p:attrNameLst>
                                          <p:attrName>ppt_x</p:attrName>
                                        </p:attrNameLst>
                                      </p:cBhvr>
                                      <p:tavLst>
                                        <p:tav tm="0">
                                          <p:val>
                                            <p:strVal val="#ppt_x"/>
                                          </p:val>
                                        </p:tav>
                                        <p:tav tm="100000">
                                          <p:val>
                                            <p:strVal val="#ppt_x"/>
                                          </p:val>
                                        </p:tav>
                                      </p:tavLst>
                                    </p:anim>
                                    <p:anim calcmode="lin" valueType="num">
                                      <p:cBhvr>
                                        <p:cTn id="76" dur="1000" fill="hold"/>
                                        <p:tgtEl>
                                          <p:spTgt spid="12"/>
                                        </p:tgtEl>
                                        <p:attrNameLst>
                                          <p:attrName>ppt_y</p:attrName>
                                        </p:attrNameLst>
                                      </p:cBhvr>
                                      <p:tavLst>
                                        <p:tav tm="0">
                                          <p:val>
                                            <p:strVal val="#ppt_y+.1"/>
                                          </p:val>
                                        </p:tav>
                                        <p:tav tm="100000">
                                          <p:val>
                                            <p:strVal val="#ppt_y"/>
                                          </p:val>
                                        </p:tav>
                                      </p:tavLst>
                                    </p:anim>
                                  </p:childTnLst>
                                </p:cTn>
                              </p:par>
                              <p:par>
                                <p:cTn id="77" presetID="42" presetClass="entr" presetSubtype="0" fill="hold" nodeType="with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1000"/>
                                        <p:tgtEl>
                                          <p:spTgt spid="33"/>
                                        </p:tgtEl>
                                      </p:cBhvr>
                                    </p:animEffect>
                                    <p:anim calcmode="lin" valueType="num">
                                      <p:cBhvr>
                                        <p:cTn id="80" dur="1000" fill="hold"/>
                                        <p:tgtEl>
                                          <p:spTgt spid="33"/>
                                        </p:tgtEl>
                                        <p:attrNameLst>
                                          <p:attrName>ppt_x</p:attrName>
                                        </p:attrNameLst>
                                      </p:cBhvr>
                                      <p:tavLst>
                                        <p:tav tm="0">
                                          <p:val>
                                            <p:strVal val="#ppt_x"/>
                                          </p:val>
                                        </p:tav>
                                        <p:tav tm="100000">
                                          <p:val>
                                            <p:strVal val="#ppt_x"/>
                                          </p:val>
                                        </p:tav>
                                      </p:tavLst>
                                    </p:anim>
                                    <p:anim calcmode="lin" valueType="num">
                                      <p:cBhvr>
                                        <p:cTn id="81" dur="1000" fill="hold"/>
                                        <p:tgtEl>
                                          <p:spTgt spid="33"/>
                                        </p:tgtEl>
                                        <p:attrNameLst>
                                          <p:attrName>ppt_y</p:attrName>
                                        </p:attrNameLst>
                                      </p:cBhvr>
                                      <p:tavLst>
                                        <p:tav tm="0">
                                          <p:val>
                                            <p:strVal val="#ppt_y+.1"/>
                                          </p:val>
                                        </p:tav>
                                        <p:tav tm="100000">
                                          <p:val>
                                            <p:strVal val="#ppt_y"/>
                                          </p:val>
                                        </p:tav>
                                      </p:tavLst>
                                    </p:anim>
                                  </p:childTnLst>
                                </p:cTn>
                              </p:par>
                              <p:par>
                                <p:cTn id="82" presetID="42" presetClass="entr" presetSubtype="0" fill="hold" nodeType="withEffect">
                                  <p:stCondLst>
                                    <p:cond delay="0"/>
                                  </p:stCondLst>
                                  <p:childTnLst>
                                    <p:set>
                                      <p:cBhvr>
                                        <p:cTn id="83" dur="1" fill="hold">
                                          <p:stCondLst>
                                            <p:cond delay="0"/>
                                          </p:stCondLst>
                                        </p:cTn>
                                        <p:tgtEl>
                                          <p:spTgt spid="11"/>
                                        </p:tgtEl>
                                        <p:attrNameLst>
                                          <p:attrName>style.visibility</p:attrName>
                                        </p:attrNameLst>
                                      </p:cBhvr>
                                      <p:to>
                                        <p:strVal val="visible"/>
                                      </p:to>
                                    </p:set>
                                    <p:animEffect transition="in" filter="fade">
                                      <p:cBhvr>
                                        <p:cTn id="84" dur="1000"/>
                                        <p:tgtEl>
                                          <p:spTgt spid="11"/>
                                        </p:tgtEl>
                                      </p:cBhvr>
                                    </p:animEffect>
                                    <p:anim calcmode="lin" valueType="num">
                                      <p:cBhvr>
                                        <p:cTn id="85" dur="1000" fill="hold"/>
                                        <p:tgtEl>
                                          <p:spTgt spid="11"/>
                                        </p:tgtEl>
                                        <p:attrNameLst>
                                          <p:attrName>ppt_x</p:attrName>
                                        </p:attrNameLst>
                                      </p:cBhvr>
                                      <p:tavLst>
                                        <p:tav tm="0">
                                          <p:val>
                                            <p:strVal val="#ppt_x"/>
                                          </p:val>
                                        </p:tav>
                                        <p:tav tm="100000">
                                          <p:val>
                                            <p:strVal val="#ppt_x"/>
                                          </p:val>
                                        </p:tav>
                                      </p:tavLst>
                                    </p:anim>
                                    <p:anim calcmode="lin" valueType="num">
                                      <p:cBhvr>
                                        <p:cTn id="86" dur="1000" fill="hold"/>
                                        <p:tgtEl>
                                          <p:spTgt spid="11"/>
                                        </p:tgtEl>
                                        <p:attrNameLst>
                                          <p:attrName>ppt_y</p:attrName>
                                        </p:attrNameLst>
                                      </p:cBhvr>
                                      <p:tavLst>
                                        <p:tav tm="0">
                                          <p:val>
                                            <p:strVal val="#ppt_y+.1"/>
                                          </p:val>
                                        </p:tav>
                                        <p:tav tm="100000">
                                          <p:val>
                                            <p:strVal val="#ppt_y"/>
                                          </p:val>
                                        </p:tav>
                                      </p:tavLst>
                                    </p:anim>
                                  </p:childTnLst>
                                </p:cTn>
                              </p:par>
                              <p:par>
                                <p:cTn id="87" presetID="42" presetClass="entr" presetSubtype="0" fill="hold" nodeType="withEffect">
                                  <p:stCondLst>
                                    <p:cond delay="0"/>
                                  </p:stCondLst>
                                  <p:childTnLst>
                                    <p:set>
                                      <p:cBhvr>
                                        <p:cTn id="88" dur="1" fill="hold">
                                          <p:stCondLst>
                                            <p:cond delay="0"/>
                                          </p:stCondLst>
                                        </p:cTn>
                                        <p:tgtEl>
                                          <p:spTgt spid="35"/>
                                        </p:tgtEl>
                                        <p:attrNameLst>
                                          <p:attrName>style.visibility</p:attrName>
                                        </p:attrNameLst>
                                      </p:cBhvr>
                                      <p:to>
                                        <p:strVal val="visible"/>
                                      </p:to>
                                    </p:set>
                                    <p:animEffect transition="in" filter="fade">
                                      <p:cBhvr>
                                        <p:cTn id="89" dur="1000"/>
                                        <p:tgtEl>
                                          <p:spTgt spid="35"/>
                                        </p:tgtEl>
                                      </p:cBhvr>
                                    </p:animEffect>
                                    <p:anim calcmode="lin" valueType="num">
                                      <p:cBhvr>
                                        <p:cTn id="90" dur="1000" fill="hold"/>
                                        <p:tgtEl>
                                          <p:spTgt spid="35"/>
                                        </p:tgtEl>
                                        <p:attrNameLst>
                                          <p:attrName>ppt_x</p:attrName>
                                        </p:attrNameLst>
                                      </p:cBhvr>
                                      <p:tavLst>
                                        <p:tav tm="0">
                                          <p:val>
                                            <p:strVal val="#ppt_x"/>
                                          </p:val>
                                        </p:tav>
                                        <p:tav tm="100000">
                                          <p:val>
                                            <p:strVal val="#ppt_x"/>
                                          </p:val>
                                        </p:tav>
                                      </p:tavLst>
                                    </p:anim>
                                    <p:anim calcmode="lin" valueType="num">
                                      <p:cBhvr>
                                        <p:cTn id="91" dur="1000" fill="hold"/>
                                        <p:tgtEl>
                                          <p:spTgt spid="35"/>
                                        </p:tgtEl>
                                        <p:attrNameLst>
                                          <p:attrName>ppt_y</p:attrName>
                                        </p:attrNameLst>
                                      </p:cBhvr>
                                      <p:tavLst>
                                        <p:tav tm="0">
                                          <p:val>
                                            <p:strVal val="#ppt_y+.1"/>
                                          </p:val>
                                        </p:tav>
                                        <p:tav tm="100000">
                                          <p:val>
                                            <p:strVal val="#ppt_y"/>
                                          </p:val>
                                        </p:tav>
                                      </p:tavLst>
                                    </p:anim>
                                  </p:childTnLst>
                                </p:cTn>
                              </p:par>
                              <p:par>
                                <p:cTn id="92" presetID="42" presetClass="entr" presetSubtype="0" fill="hold" nodeType="withEffect">
                                  <p:stCondLst>
                                    <p:cond delay="0"/>
                                  </p:stCondLst>
                                  <p:childTnLst>
                                    <p:set>
                                      <p:cBhvr>
                                        <p:cTn id="93" dur="1" fill="hold">
                                          <p:stCondLst>
                                            <p:cond delay="0"/>
                                          </p:stCondLst>
                                        </p:cTn>
                                        <p:tgtEl>
                                          <p:spTgt spid="9"/>
                                        </p:tgtEl>
                                        <p:attrNameLst>
                                          <p:attrName>style.visibility</p:attrName>
                                        </p:attrNameLst>
                                      </p:cBhvr>
                                      <p:to>
                                        <p:strVal val="visible"/>
                                      </p:to>
                                    </p:set>
                                    <p:animEffect transition="in" filter="fade">
                                      <p:cBhvr>
                                        <p:cTn id="94" dur="1000"/>
                                        <p:tgtEl>
                                          <p:spTgt spid="9"/>
                                        </p:tgtEl>
                                      </p:cBhvr>
                                    </p:animEffect>
                                    <p:anim calcmode="lin" valueType="num">
                                      <p:cBhvr>
                                        <p:cTn id="95" dur="1000" fill="hold"/>
                                        <p:tgtEl>
                                          <p:spTgt spid="9"/>
                                        </p:tgtEl>
                                        <p:attrNameLst>
                                          <p:attrName>ppt_x</p:attrName>
                                        </p:attrNameLst>
                                      </p:cBhvr>
                                      <p:tavLst>
                                        <p:tav tm="0">
                                          <p:val>
                                            <p:strVal val="#ppt_x"/>
                                          </p:val>
                                        </p:tav>
                                        <p:tav tm="100000">
                                          <p:val>
                                            <p:strVal val="#ppt_x"/>
                                          </p:val>
                                        </p:tav>
                                      </p:tavLst>
                                    </p:anim>
                                    <p:anim calcmode="lin" valueType="num">
                                      <p:cBhvr>
                                        <p:cTn id="96" dur="1000" fill="hold"/>
                                        <p:tgtEl>
                                          <p:spTgt spid="9"/>
                                        </p:tgtEl>
                                        <p:attrNameLst>
                                          <p:attrName>ppt_y</p:attrName>
                                        </p:attrNameLst>
                                      </p:cBhvr>
                                      <p:tavLst>
                                        <p:tav tm="0">
                                          <p:val>
                                            <p:strVal val="#ppt_y+.1"/>
                                          </p:val>
                                        </p:tav>
                                        <p:tav tm="100000">
                                          <p:val>
                                            <p:strVal val="#ppt_y"/>
                                          </p:val>
                                        </p:tav>
                                      </p:tavLst>
                                    </p:anim>
                                  </p:childTnLst>
                                </p:cTn>
                              </p:par>
                              <p:par>
                                <p:cTn id="97" presetID="42" presetClass="entr" presetSubtype="0" fill="hold" nodeType="withEffect">
                                  <p:stCondLst>
                                    <p:cond delay="0"/>
                                  </p:stCondLst>
                                  <p:childTnLst>
                                    <p:set>
                                      <p:cBhvr>
                                        <p:cTn id="98" dur="1" fill="hold">
                                          <p:stCondLst>
                                            <p:cond delay="0"/>
                                          </p:stCondLst>
                                        </p:cTn>
                                        <p:tgtEl>
                                          <p:spTgt spid="36"/>
                                        </p:tgtEl>
                                        <p:attrNameLst>
                                          <p:attrName>style.visibility</p:attrName>
                                        </p:attrNameLst>
                                      </p:cBhvr>
                                      <p:to>
                                        <p:strVal val="visible"/>
                                      </p:to>
                                    </p:set>
                                    <p:animEffect transition="in" filter="fade">
                                      <p:cBhvr>
                                        <p:cTn id="99" dur="1000"/>
                                        <p:tgtEl>
                                          <p:spTgt spid="36"/>
                                        </p:tgtEl>
                                      </p:cBhvr>
                                    </p:animEffect>
                                    <p:anim calcmode="lin" valueType="num">
                                      <p:cBhvr>
                                        <p:cTn id="100" dur="1000" fill="hold"/>
                                        <p:tgtEl>
                                          <p:spTgt spid="36"/>
                                        </p:tgtEl>
                                        <p:attrNameLst>
                                          <p:attrName>ppt_x</p:attrName>
                                        </p:attrNameLst>
                                      </p:cBhvr>
                                      <p:tavLst>
                                        <p:tav tm="0">
                                          <p:val>
                                            <p:strVal val="#ppt_x"/>
                                          </p:val>
                                        </p:tav>
                                        <p:tav tm="100000">
                                          <p:val>
                                            <p:strVal val="#ppt_x"/>
                                          </p:val>
                                        </p:tav>
                                      </p:tavLst>
                                    </p:anim>
                                    <p:anim calcmode="lin" valueType="num">
                                      <p:cBhvr>
                                        <p:cTn id="101" dur="1000" fill="hold"/>
                                        <p:tgtEl>
                                          <p:spTgt spid="36"/>
                                        </p:tgtEl>
                                        <p:attrNameLst>
                                          <p:attrName>ppt_y</p:attrName>
                                        </p:attrNameLst>
                                      </p:cBhvr>
                                      <p:tavLst>
                                        <p:tav tm="0">
                                          <p:val>
                                            <p:strVal val="#ppt_y+.1"/>
                                          </p:val>
                                        </p:tav>
                                        <p:tav tm="100000">
                                          <p:val>
                                            <p:strVal val="#ppt_y"/>
                                          </p:val>
                                        </p:tav>
                                      </p:tavLst>
                                    </p:anim>
                                  </p:childTnLst>
                                </p:cTn>
                              </p:par>
                              <p:par>
                                <p:cTn id="102" presetID="42" presetClass="entr" presetSubtype="0" fill="hold" nodeType="withEffect">
                                  <p:stCondLst>
                                    <p:cond delay="0"/>
                                  </p:stCondLst>
                                  <p:childTnLst>
                                    <p:set>
                                      <p:cBhvr>
                                        <p:cTn id="103" dur="1" fill="hold">
                                          <p:stCondLst>
                                            <p:cond delay="0"/>
                                          </p:stCondLst>
                                        </p:cTn>
                                        <p:tgtEl>
                                          <p:spTgt spid="39"/>
                                        </p:tgtEl>
                                        <p:attrNameLst>
                                          <p:attrName>style.visibility</p:attrName>
                                        </p:attrNameLst>
                                      </p:cBhvr>
                                      <p:to>
                                        <p:strVal val="visible"/>
                                      </p:to>
                                    </p:set>
                                    <p:animEffect transition="in" filter="fade">
                                      <p:cBhvr>
                                        <p:cTn id="104" dur="1000"/>
                                        <p:tgtEl>
                                          <p:spTgt spid="39"/>
                                        </p:tgtEl>
                                      </p:cBhvr>
                                    </p:animEffect>
                                    <p:anim calcmode="lin" valueType="num">
                                      <p:cBhvr>
                                        <p:cTn id="105" dur="1000" fill="hold"/>
                                        <p:tgtEl>
                                          <p:spTgt spid="39"/>
                                        </p:tgtEl>
                                        <p:attrNameLst>
                                          <p:attrName>ppt_x</p:attrName>
                                        </p:attrNameLst>
                                      </p:cBhvr>
                                      <p:tavLst>
                                        <p:tav tm="0">
                                          <p:val>
                                            <p:strVal val="#ppt_x"/>
                                          </p:val>
                                        </p:tav>
                                        <p:tav tm="100000">
                                          <p:val>
                                            <p:strVal val="#ppt_x"/>
                                          </p:val>
                                        </p:tav>
                                      </p:tavLst>
                                    </p:anim>
                                    <p:anim calcmode="lin" valueType="num">
                                      <p:cBhvr>
                                        <p:cTn id="106" dur="1000" fill="hold"/>
                                        <p:tgtEl>
                                          <p:spTgt spid="39"/>
                                        </p:tgtEl>
                                        <p:attrNameLst>
                                          <p:attrName>ppt_y</p:attrName>
                                        </p:attrNameLst>
                                      </p:cBhvr>
                                      <p:tavLst>
                                        <p:tav tm="0">
                                          <p:val>
                                            <p:strVal val="#ppt_y+.1"/>
                                          </p:val>
                                        </p:tav>
                                        <p:tav tm="100000">
                                          <p:val>
                                            <p:strVal val="#ppt_y"/>
                                          </p:val>
                                        </p:tav>
                                      </p:tavLst>
                                    </p:anim>
                                  </p:childTnLst>
                                </p:cTn>
                              </p:par>
                              <p:par>
                                <p:cTn id="107" presetID="42" presetClass="entr" presetSubtype="0" fill="hold" nodeType="withEffect">
                                  <p:stCondLst>
                                    <p:cond delay="0"/>
                                  </p:stCondLst>
                                  <p:childTnLst>
                                    <p:set>
                                      <p:cBhvr>
                                        <p:cTn id="108" dur="1" fill="hold">
                                          <p:stCondLst>
                                            <p:cond delay="0"/>
                                          </p:stCondLst>
                                        </p:cTn>
                                        <p:tgtEl>
                                          <p:spTgt spid="37"/>
                                        </p:tgtEl>
                                        <p:attrNameLst>
                                          <p:attrName>style.visibility</p:attrName>
                                        </p:attrNameLst>
                                      </p:cBhvr>
                                      <p:to>
                                        <p:strVal val="visible"/>
                                      </p:to>
                                    </p:set>
                                    <p:animEffect transition="in" filter="fade">
                                      <p:cBhvr>
                                        <p:cTn id="109" dur="1000"/>
                                        <p:tgtEl>
                                          <p:spTgt spid="37"/>
                                        </p:tgtEl>
                                      </p:cBhvr>
                                    </p:animEffect>
                                    <p:anim calcmode="lin" valueType="num">
                                      <p:cBhvr>
                                        <p:cTn id="110" dur="1000" fill="hold"/>
                                        <p:tgtEl>
                                          <p:spTgt spid="37"/>
                                        </p:tgtEl>
                                        <p:attrNameLst>
                                          <p:attrName>ppt_x</p:attrName>
                                        </p:attrNameLst>
                                      </p:cBhvr>
                                      <p:tavLst>
                                        <p:tav tm="0">
                                          <p:val>
                                            <p:strVal val="#ppt_x"/>
                                          </p:val>
                                        </p:tav>
                                        <p:tav tm="100000">
                                          <p:val>
                                            <p:strVal val="#ppt_x"/>
                                          </p:val>
                                        </p:tav>
                                      </p:tavLst>
                                    </p:anim>
                                    <p:anim calcmode="lin" valueType="num">
                                      <p:cBhvr>
                                        <p:cTn id="111" dur="1000" fill="hold"/>
                                        <p:tgtEl>
                                          <p:spTgt spid="37"/>
                                        </p:tgtEl>
                                        <p:attrNameLst>
                                          <p:attrName>ppt_y</p:attrName>
                                        </p:attrNameLst>
                                      </p:cBhvr>
                                      <p:tavLst>
                                        <p:tav tm="0">
                                          <p:val>
                                            <p:strVal val="#ppt_y+.1"/>
                                          </p:val>
                                        </p:tav>
                                        <p:tav tm="100000">
                                          <p:val>
                                            <p:strVal val="#ppt_y"/>
                                          </p:val>
                                        </p:tav>
                                      </p:tavLst>
                                    </p:anim>
                                  </p:childTnLst>
                                </p:cTn>
                              </p:par>
                              <p:par>
                                <p:cTn id="112" presetID="42" presetClass="entr" presetSubtype="0" fill="hold" nodeType="withEffect">
                                  <p:stCondLst>
                                    <p:cond delay="0"/>
                                  </p:stCondLst>
                                  <p:childTnLst>
                                    <p:set>
                                      <p:cBhvr>
                                        <p:cTn id="113" dur="1" fill="hold">
                                          <p:stCondLst>
                                            <p:cond delay="0"/>
                                          </p:stCondLst>
                                        </p:cTn>
                                        <p:tgtEl>
                                          <p:spTgt spid="40"/>
                                        </p:tgtEl>
                                        <p:attrNameLst>
                                          <p:attrName>style.visibility</p:attrName>
                                        </p:attrNameLst>
                                      </p:cBhvr>
                                      <p:to>
                                        <p:strVal val="visible"/>
                                      </p:to>
                                    </p:set>
                                    <p:animEffect transition="in" filter="fade">
                                      <p:cBhvr>
                                        <p:cTn id="114" dur="1000"/>
                                        <p:tgtEl>
                                          <p:spTgt spid="40"/>
                                        </p:tgtEl>
                                      </p:cBhvr>
                                    </p:animEffect>
                                    <p:anim calcmode="lin" valueType="num">
                                      <p:cBhvr>
                                        <p:cTn id="115" dur="1000" fill="hold"/>
                                        <p:tgtEl>
                                          <p:spTgt spid="40"/>
                                        </p:tgtEl>
                                        <p:attrNameLst>
                                          <p:attrName>ppt_x</p:attrName>
                                        </p:attrNameLst>
                                      </p:cBhvr>
                                      <p:tavLst>
                                        <p:tav tm="0">
                                          <p:val>
                                            <p:strVal val="#ppt_x"/>
                                          </p:val>
                                        </p:tav>
                                        <p:tav tm="100000">
                                          <p:val>
                                            <p:strVal val="#ppt_x"/>
                                          </p:val>
                                        </p:tav>
                                      </p:tavLst>
                                    </p:anim>
                                    <p:anim calcmode="lin" valueType="num">
                                      <p:cBhvr>
                                        <p:cTn id="116" dur="1000" fill="hold"/>
                                        <p:tgtEl>
                                          <p:spTgt spid="40"/>
                                        </p:tgtEl>
                                        <p:attrNameLst>
                                          <p:attrName>ppt_y</p:attrName>
                                        </p:attrNameLst>
                                      </p:cBhvr>
                                      <p:tavLst>
                                        <p:tav tm="0">
                                          <p:val>
                                            <p:strVal val="#ppt_y+.1"/>
                                          </p:val>
                                        </p:tav>
                                        <p:tav tm="100000">
                                          <p:val>
                                            <p:strVal val="#ppt_y"/>
                                          </p:val>
                                        </p:tav>
                                      </p:tavLst>
                                    </p:anim>
                                  </p:childTnLst>
                                </p:cTn>
                              </p:par>
                              <p:par>
                                <p:cTn id="117" presetID="42" presetClass="entr" presetSubtype="0" fill="hold" nodeType="withEffect">
                                  <p:stCondLst>
                                    <p:cond delay="0"/>
                                  </p:stCondLst>
                                  <p:childTnLst>
                                    <p:set>
                                      <p:cBhvr>
                                        <p:cTn id="118" dur="1" fill="hold">
                                          <p:stCondLst>
                                            <p:cond delay="0"/>
                                          </p:stCondLst>
                                        </p:cTn>
                                        <p:tgtEl>
                                          <p:spTgt spid="25"/>
                                        </p:tgtEl>
                                        <p:attrNameLst>
                                          <p:attrName>style.visibility</p:attrName>
                                        </p:attrNameLst>
                                      </p:cBhvr>
                                      <p:to>
                                        <p:strVal val="visible"/>
                                      </p:to>
                                    </p:set>
                                    <p:animEffect transition="in" filter="fade">
                                      <p:cBhvr>
                                        <p:cTn id="119" dur="1000"/>
                                        <p:tgtEl>
                                          <p:spTgt spid="25"/>
                                        </p:tgtEl>
                                      </p:cBhvr>
                                    </p:animEffect>
                                    <p:anim calcmode="lin" valueType="num">
                                      <p:cBhvr>
                                        <p:cTn id="120" dur="1000" fill="hold"/>
                                        <p:tgtEl>
                                          <p:spTgt spid="25"/>
                                        </p:tgtEl>
                                        <p:attrNameLst>
                                          <p:attrName>ppt_x</p:attrName>
                                        </p:attrNameLst>
                                      </p:cBhvr>
                                      <p:tavLst>
                                        <p:tav tm="0">
                                          <p:val>
                                            <p:strVal val="#ppt_x"/>
                                          </p:val>
                                        </p:tav>
                                        <p:tav tm="100000">
                                          <p:val>
                                            <p:strVal val="#ppt_x"/>
                                          </p:val>
                                        </p:tav>
                                      </p:tavLst>
                                    </p:anim>
                                    <p:anim calcmode="lin" valueType="num">
                                      <p:cBhvr>
                                        <p:cTn id="121" dur="1000" fill="hold"/>
                                        <p:tgtEl>
                                          <p:spTgt spid="25"/>
                                        </p:tgtEl>
                                        <p:attrNameLst>
                                          <p:attrName>ppt_y</p:attrName>
                                        </p:attrNameLst>
                                      </p:cBhvr>
                                      <p:tavLst>
                                        <p:tav tm="0">
                                          <p:val>
                                            <p:strVal val="#ppt_y+.1"/>
                                          </p:val>
                                        </p:tav>
                                        <p:tav tm="100000">
                                          <p:val>
                                            <p:strVal val="#ppt_y"/>
                                          </p:val>
                                        </p:tav>
                                      </p:tavLst>
                                    </p:anim>
                                  </p:childTnLst>
                                </p:cTn>
                              </p:par>
                              <p:par>
                                <p:cTn id="122" presetID="42" presetClass="entr" presetSubtype="0" fill="hold" nodeType="withEffect">
                                  <p:stCondLst>
                                    <p:cond delay="0"/>
                                  </p:stCondLst>
                                  <p:childTnLst>
                                    <p:set>
                                      <p:cBhvr>
                                        <p:cTn id="123" dur="1" fill="hold">
                                          <p:stCondLst>
                                            <p:cond delay="0"/>
                                          </p:stCondLst>
                                        </p:cTn>
                                        <p:tgtEl>
                                          <p:spTgt spid="26"/>
                                        </p:tgtEl>
                                        <p:attrNameLst>
                                          <p:attrName>style.visibility</p:attrName>
                                        </p:attrNameLst>
                                      </p:cBhvr>
                                      <p:to>
                                        <p:strVal val="visible"/>
                                      </p:to>
                                    </p:set>
                                    <p:animEffect transition="in" filter="fade">
                                      <p:cBhvr>
                                        <p:cTn id="124" dur="1000"/>
                                        <p:tgtEl>
                                          <p:spTgt spid="26"/>
                                        </p:tgtEl>
                                      </p:cBhvr>
                                    </p:animEffect>
                                    <p:anim calcmode="lin" valueType="num">
                                      <p:cBhvr>
                                        <p:cTn id="125" dur="1000" fill="hold"/>
                                        <p:tgtEl>
                                          <p:spTgt spid="26"/>
                                        </p:tgtEl>
                                        <p:attrNameLst>
                                          <p:attrName>ppt_x</p:attrName>
                                        </p:attrNameLst>
                                      </p:cBhvr>
                                      <p:tavLst>
                                        <p:tav tm="0">
                                          <p:val>
                                            <p:strVal val="#ppt_x"/>
                                          </p:val>
                                        </p:tav>
                                        <p:tav tm="100000">
                                          <p:val>
                                            <p:strVal val="#ppt_x"/>
                                          </p:val>
                                        </p:tav>
                                      </p:tavLst>
                                    </p:anim>
                                    <p:anim calcmode="lin" valueType="num">
                                      <p:cBhvr>
                                        <p:cTn id="126" dur="1000" fill="hold"/>
                                        <p:tgtEl>
                                          <p:spTgt spid="26"/>
                                        </p:tgtEl>
                                        <p:attrNameLst>
                                          <p:attrName>ppt_y</p:attrName>
                                        </p:attrNameLst>
                                      </p:cBhvr>
                                      <p:tavLst>
                                        <p:tav tm="0">
                                          <p:val>
                                            <p:strVal val="#ppt_y+.1"/>
                                          </p:val>
                                        </p:tav>
                                        <p:tav tm="100000">
                                          <p:val>
                                            <p:strVal val="#ppt_y"/>
                                          </p:val>
                                        </p:tav>
                                      </p:tavLst>
                                    </p:anim>
                                  </p:childTnLst>
                                </p:cTn>
                              </p:par>
                              <p:par>
                                <p:cTn id="127" presetID="42" presetClass="entr" presetSubtype="0" fill="hold" nodeType="withEffect">
                                  <p:stCondLst>
                                    <p:cond delay="0"/>
                                  </p:stCondLst>
                                  <p:childTnLst>
                                    <p:set>
                                      <p:cBhvr>
                                        <p:cTn id="128" dur="1" fill="hold">
                                          <p:stCondLst>
                                            <p:cond delay="0"/>
                                          </p:stCondLst>
                                        </p:cTn>
                                        <p:tgtEl>
                                          <p:spTgt spid="27"/>
                                        </p:tgtEl>
                                        <p:attrNameLst>
                                          <p:attrName>style.visibility</p:attrName>
                                        </p:attrNameLst>
                                      </p:cBhvr>
                                      <p:to>
                                        <p:strVal val="visible"/>
                                      </p:to>
                                    </p:set>
                                    <p:animEffect transition="in" filter="fade">
                                      <p:cBhvr>
                                        <p:cTn id="129" dur="1000"/>
                                        <p:tgtEl>
                                          <p:spTgt spid="27"/>
                                        </p:tgtEl>
                                      </p:cBhvr>
                                    </p:animEffect>
                                    <p:anim calcmode="lin" valueType="num">
                                      <p:cBhvr>
                                        <p:cTn id="130" dur="1000" fill="hold"/>
                                        <p:tgtEl>
                                          <p:spTgt spid="27"/>
                                        </p:tgtEl>
                                        <p:attrNameLst>
                                          <p:attrName>ppt_x</p:attrName>
                                        </p:attrNameLst>
                                      </p:cBhvr>
                                      <p:tavLst>
                                        <p:tav tm="0">
                                          <p:val>
                                            <p:strVal val="#ppt_x"/>
                                          </p:val>
                                        </p:tav>
                                        <p:tav tm="100000">
                                          <p:val>
                                            <p:strVal val="#ppt_x"/>
                                          </p:val>
                                        </p:tav>
                                      </p:tavLst>
                                    </p:anim>
                                    <p:anim calcmode="lin" valueType="num">
                                      <p:cBhvr>
                                        <p:cTn id="131" dur="1000" fill="hold"/>
                                        <p:tgtEl>
                                          <p:spTgt spid="27"/>
                                        </p:tgtEl>
                                        <p:attrNameLst>
                                          <p:attrName>ppt_y</p:attrName>
                                        </p:attrNameLst>
                                      </p:cBhvr>
                                      <p:tavLst>
                                        <p:tav tm="0">
                                          <p:val>
                                            <p:strVal val="#ppt_y+.1"/>
                                          </p:val>
                                        </p:tav>
                                        <p:tav tm="100000">
                                          <p:val>
                                            <p:strVal val="#ppt_y"/>
                                          </p:val>
                                        </p:tav>
                                      </p:tavLst>
                                    </p:anim>
                                  </p:childTnLst>
                                </p:cTn>
                              </p:par>
                              <p:par>
                                <p:cTn id="132" presetID="42" presetClass="entr" presetSubtype="0" fill="hold" nodeType="withEffect">
                                  <p:stCondLst>
                                    <p:cond delay="0"/>
                                  </p:stCondLst>
                                  <p:childTnLst>
                                    <p:set>
                                      <p:cBhvr>
                                        <p:cTn id="133" dur="1" fill="hold">
                                          <p:stCondLst>
                                            <p:cond delay="0"/>
                                          </p:stCondLst>
                                        </p:cTn>
                                        <p:tgtEl>
                                          <p:spTgt spid="41"/>
                                        </p:tgtEl>
                                        <p:attrNameLst>
                                          <p:attrName>style.visibility</p:attrName>
                                        </p:attrNameLst>
                                      </p:cBhvr>
                                      <p:to>
                                        <p:strVal val="visible"/>
                                      </p:to>
                                    </p:set>
                                    <p:animEffect transition="in" filter="fade">
                                      <p:cBhvr>
                                        <p:cTn id="134" dur="1000"/>
                                        <p:tgtEl>
                                          <p:spTgt spid="41"/>
                                        </p:tgtEl>
                                      </p:cBhvr>
                                    </p:animEffect>
                                    <p:anim calcmode="lin" valueType="num">
                                      <p:cBhvr>
                                        <p:cTn id="135" dur="1000" fill="hold"/>
                                        <p:tgtEl>
                                          <p:spTgt spid="41"/>
                                        </p:tgtEl>
                                        <p:attrNameLst>
                                          <p:attrName>ppt_x</p:attrName>
                                        </p:attrNameLst>
                                      </p:cBhvr>
                                      <p:tavLst>
                                        <p:tav tm="0">
                                          <p:val>
                                            <p:strVal val="#ppt_x"/>
                                          </p:val>
                                        </p:tav>
                                        <p:tav tm="100000">
                                          <p:val>
                                            <p:strVal val="#ppt_x"/>
                                          </p:val>
                                        </p:tav>
                                      </p:tavLst>
                                    </p:anim>
                                    <p:anim calcmode="lin" valueType="num">
                                      <p:cBhvr>
                                        <p:cTn id="136" dur="1000" fill="hold"/>
                                        <p:tgtEl>
                                          <p:spTgt spid="41"/>
                                        </p:tgtEl>
                                        <p:attrNameLst>
                                          <p:attrName>ppt_y</p:attrName>
                                        </p:attrNameLst>
                                      </p:cBhvr>
                                      <p:tavLst>
                                        <p:tav tm="0">
                                          <p:val>
                                            <p:strVal val="#ppt_y+.1"/>
                                          </p:val>
                                        </p:tav>
                                        <p:tav tm="100000">
                                          <p:val>
                                            <p:strVal val="#ppt_y"/>
                                          </p:val>
                                        </p:tav>
                                      </p:tavLst>
                                    </p:anim>
                                  </p:childTnLst>
                                </p:cTn>
                              </p:par>
                              <p:par>
                                <p:cTn id="137" presetID="42" presetClass="entr" presetSubtype="0" fill="hold" nodeType="withEffect">
                                  <p:stCondLst>
                                    <p:cond delay="0"/>
                                  </p:stCondLst>
                                  <p:childTnLst>
                                    <p:set>
                                      <p:cBhvr>
                                        <p:cTn id="138" dur="1" fill="hold">
                                          <p:stCondLst>
                                            <p:cond delay="0"/>
                                          </p:stCondLst>
                                        </p:cTn>
                                        <p:tgtEl>
                                          <p:spTgt spid="10"/>
                                        </p:tgtEl>
                                        <p:attrNameLst>
                                          <p:attrName>style.visibility</p:attrName>
                                        </p:attrNameLst>
                                      </p:cBhvr>
                                      <p:to>
                                        <p:strVal val="visible"/>
                                      </p:to>
                                    </p:set>
                                    <p:animEffect transition="in" filter="fade">
                                      <p:cBhvr>
                                        <p:cTn id="139" dur="1000"/>
                                        <p:tgtEl>
                                          <p:spTgt spid="10"/>
                                        </p:tgtEl>
                                      </p:cBhvr>
                                    </p:animEffect>
                                    <p:anim calcmode="lin" valueType="num">
                                      <p:cBhvr>
                                        <p:cTn id="140" dur="1000" fill="hold"/>
                                        <p:tgtEl>
                                          <p:spTgt spid="10"/>
                                        </p:tgtEl>
                                        <p:attrNameLst>
                                          <p:attrName>ppt_x</p:attrName>
                                        </p:attrNameLst>
                                      </p:cBhvr>
                                      <p:tavLst>
                                        <p:tav tm="0">
                                          <p:val>
                                            <p:strVal val="#ppt_x"/>
                                          </p:val>
                                        </p:tav>
                                        <p:tav tm="100000">
                                          <p:val>
                                            <p:strVal val="#ppt_x"/>
                                          </p:val>
                                        </p:tav>
                                      </p:tavLst>
                                    </p:anim>
                                    <p:anim calcmode="lin" valueType="num">
                                      <p:cBhvr>
                                        <p:cTn id="141" dur="1000" fill="hold"/>
                                        <p:tgtEl>
                                          <p:spTgt spid="10"/>
                                        </p:tgtEl>
                                        <p:attrNameLst>
                                          <p:attrName>ppt_y</p:attrName>
                                        </p:attrNameLst>
                                      </p:cBhvr>
                                      <p:tavLst>
                                        <p:tav tm="0">
                                          <p:val>
                                            <p:strVal val="#ppt_y+.1"/>
                                          </p:val>
                                        </p:tav>
                                        <p:tav tm="100000">
                                          <p:val>
                                            <p:strVal val="#ppt_y"/>
                                          </p:val>
                                        </p:tav>
                                      </p:tavLst>
                                    </p:anim>
                                  </p:childTnLst>
                                </p:cTn>
                              </p:par>
                              <p:par>
                                <p:cTn id="142" presetID="42" presetClass="entr" presetSubtype="0" fill="hold" grpId="0" nodeType="withEffect">
                                  <p:stCondLst>
                                    <p:cond delay="0"/>
                                  </p:stCondLst>
                                  <p:childTnLst>
                                    <p:set>
                                      <p:cBhvr>
                                        <p:cTn id="143" dur="1" fill="hold">
                                          <p:stCondLst>
                                            <p:cond delay="0"/>
                                          </p:stCondLst>
                                        </p:cTn>
                                        <p:tgtEl>
                                          <p:spTgt spid="16"/>
                                        </p:tgtEl>
                                        <p:attrNameLst>
                                          <p:attrName>style.visibility</p:attrName>
                                        </p:attrNameLst>
                                      </p:cBhvr>
                                      <p:to>
                                        <p:strVal val="visible"/>
                                      </p:to>
                                    </p:set>
                                    <p:animEffect transition="in" filter="fade">
                                      <p:cBhvr>
                                        <p:cTn id="144" dur="1000"/>
                                        <p:tgtEl>
                                          <p:spTgt spid="16"/>
                                        </p:tgtEl>
                                      </p:cBhvr>
                                    </p:animEffect>
                                    <p:anim calcmode="lin" valueType="num">
                                      <p:cBhvr>
                                        <p:cTn id="145" dur="1000" fill="hold"/>
                                        <p:tgtEl>
                                          <p:spTgt spid="16"/>
                                        </p:tgtEl>
                                        <p:attrNameLst>
                                          <p:attrName>ppt_x</p:attrName>
                                        </p:attrNameLst>
                                      </p:cBhvr>
                                      <p:tavLst>
                                        <p:tav tm="0">
                                          <p:val>
                                            <p:strVal val="#ppt_x"/>
                                          </p:val>
                                        </p:tav>
                                        <p:tav tm="100000">
                                          <p:val>
                                            <p:strVal val="#ppt_x"/>
                                          </p:val>
                                        </p:tav>
                                      </p:tavLst>
                                    </p:anim>
                                    <p:anim calcmode="lin" valueType="num">
                                      <p:cBhvr>
                                        <p:cTn id="146"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8" grpId="0"/>
      <p:bldP spid="19" grpId="0"/>
      <p:bldP spid="20" grpId="0"/>
      <p:bldP spid="21" grpId="0"/>
      <p:bldP spid="22" grpId="0"/>
      <p:bldP spid="23" grpId="0"/>
      <p:bldP spid="24" grpId="0"/>
      <p:bldP spid="29" grpId="0"/>
      <p:bldP spid="1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67BF723D-2B08-3B44-8A9F-814D05C87C20}"/>
              </a:ext>
            </a:extLst>
          </p:cNvPr>
          <p:cNvSpPr>
            <a:spLocks noChangeAspect="1"/>
          </p:cNvSpPr>
          <p:nvPr/>
        </p:nvSpPr>
        <p:spPr bwMode="gray">
          <a:xfrm rot="10800000" flipH="1">
            <a:off x="-1320823" y="-819472"/>
            <a:ext cx="7056784" cy="780387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dirty="0">
              <a:solidFill>
                <a:schemeClr val="accent5"/>
              </a:solidFill>
            </a:endParaRPr>
          </a:p>
        </p:txBody>
      </p:sp>
      <p:sp>
        <p:nvSpPr>
          <p:cNvPr id="2" name="Titre 1">
            <a:extLst>
              <a:ext uri="{FF2B5EF4-FFF2-40B4-BE49-F238E27FC236}">
                <a16:creationId xmlns:a16="http://schemas.microsoft.com/office/drawing/2014/main" id="{B0CF25B4-5EE2-442F-BD2D-5F408B595A34}"/>
              </a:ext>
            </a:extLst>
          </p:cNvPr>
          <p:cNvSpPr>
            <a:spLocks noGrp="1"/>
          </p:cNvSpPr>
          <p:nvPr>
            <p:ph type="title"/>
          </p:nvPr>
        </p:nvSpPr>
        <p:spPr>
          <a:xfrm>
            <a:off x="479376" y="548680"/>
            <a:ext cx="10315576" cy="863600"/>
          </a:xfrm>
        </p:spPr>
        <p:txBody>
          <a:bodyPr>
            <a:normAutofit/>
          </a:bodyPr>
          <a:lstStyle/>
          <a:p>
            <a:r>
              <a:rPr lang="en-US" b="1" dirty="0"/>
              <a:t>Sound familiar? </a:t>
            </a:r>
            <a:endParaRPr lang="en-US" sz="1800" b="1" dirty="0"/>
          </a:p>
        </p:txBody>
      </p:sp>
      <p:sp>
        <p:nvSpPr>
          <p:cNvPr id="5" name="Text Box 25">
            <a:extLst>
              <a:ext uri="{FF2B5EF4-FFF2-40B4-BE49-F238E27FC236}">
                <a16:creationId xmlns:a16="http://schemas.microsoft.com/office/drawing/2014/main" id="{396DA196-742E-442D-9F71-52D1B6EAE763}"/>
              </a:ext>
            </a:extLst>
          </p:cNvPr>
          <p:cNvSpPr txBox="1">
            <a:spLocks noChangeArrowheads="1"/>
          </p:cNvSpPr>
          <p:nvPr/>
        </p:nvSpPr>
        <p:spPr bwMode="auto">
          <a:xfrm>
            <a:off x="497902" y="1463761"/>
            <a:ext cx="4320480" cy="3754874"/>
          </a:xfrm>
          <a:prstGeom prst="rect">
            <a:avLst/>
          </a:prstGeom>
          <a:noFill/>
          <a:ln w="19050">
            <a:noFill/>
            <a:miter lim="800000"/>
            <a:headEnd/>
            <a:tailEnd/>
          </a:ln>
        </p:spPr>
        <p:txBody>
          <a:bodyPr wrap="square" rIns="0">
            <a:spAutoFit/>
          </a:bodyPr>
          <a:lstStyle/>
          <a:p>
            <a:pPr marL="285750" indent="-285750" eaLnBrk="0" hangingPunct="0">
              <a:spcBef>
                <a:spcPts val="600"/>
              </a:spcBef>
              <a:spcAft>
                <a:spcPts val="600"/>
              </a:spcAft>
              <a:buClr>
                <a:srgbClr val="FF304C"/>
              </a:buClr>
              <a:buFont typeface="Wingdings" panose="05000000000000000000" pitchFamily="2" charset="2"/>
              <a:buChar char=""/>
              <a:defRPr/>
            </a:pPr>
            <a:r>
              <a:rPr lang="en-US" kern="0" dirty="0">
                <a:solidFill>
                  <a:schemeClr val="bg1"/>
                </a:solidFill>
                <a:latin typeface="Ubuntu" panose="020B0504030602030204" pitchFamily="34" charset="0"/>
              </a:rPr>
              <a:t>Fragmented approaches to cloud migration and native development? Multiple POCs, tools &amp; vendors = Hard to  scale!</a:t>
            </a:r>
          </a:p>
          <a:p>
            <a:pPr marL="285750" indent="-285750" eaLnBrk="0" hangingPunct="0">
              <a:spcBef>
                <a:spcPts val="600"/>
              </a:spcBef>
              <a:spcAft>
                <a:spcPts val="600"/>
              </a:spcAft>
              <a:buClr>
                <a:srgbClr val="FF304C"/>
              </a:buClr>
              <a:buFont typeface="Wingdings" panose="05000000000000000000" pitchFamily="2" charset="2"/>
              <a:buChar char=""/>
              <a:defRPr/>
            </a:pPr>
            <a:r>
              <a:rPr lang="en-US" kern="0" dirty="0">
                <a:solidFill>
                  <a:schemeClr val="bg1"/>
                </a:solidFill>
                <a:latin typeface="Ubuntu" panose="020B0504030602030204" pitchFamily="34" charset="0"/>
              </a:rPr>
              <a:t>Lack of in-house skills?  Silos of skills  developing?</a:t>
            </a:r>
          </a:p>
          <a:p>
            <a:pPr marL="285750" indent="-285750" eaLnBrk="0" hangingPunct="0">
              <a:spcBef>
                <a:spcPts val="600"/>
              </a:spcBef>
              <a:spcAft>
                <a:spcPts val="600"/>
              </a:spcAft>
              <a:buClr>
                <a:srgbClr val="FF304C"/>
              </a:buClr>
              <a:buFont typeface="Wingdings" panose="05000000000000000000" pitchFamily="2" charset="2"/>
              <a:buChar char=""/>
              <a:defRPr/>
            </a:pPr>
            <a:r>
              <a:rPr lang="en-US" kern="0" dirty="0">
                <a:solidFill>
                  <a:schemeClr val="bg1"/>
                </a:solidFill>
                <a:latin typeface="Ubuntu" panose="020B0504030602030204" pitchFamily="34" charset="0"/>
              </a:rPr>
              <a:t>Technical Guidance &amp; Best Practices not standardized or easily shared?</a:t>
            </a:r>
          </a:p>
          <a:p>
            <a:pPr eaLnBrk="0" hangingPunct="0">
              <a:spcBef>
                <a:spcPts val="600"/>
              </a:spcBef>
              <a:spcAft>
                <a:spcPts val="600"/>
              </a:spcAft>
              <a:buClr>
                <a:srgbClr val="FF304C"/>
              </a:buClr>
              <a:defRPr/>
            </a:pPr>
            <a:endParaRPr lang="en-US" kern="0" dirty="0">
              <a:solidFill>
                <a:schemeClr val="bg1"/>
              </a:solidFill>
              <a:latin typeface="Ubuntu" panose="020B0504030602030204" pitchFamily="34" charset="0"/>
            </a:endParaRPr>
          </a:p>
          <a:p>
            <a:pPr eaLnBrk="0" hangingPunct="0">
              <a:spcBef>
                <a:spcPts val="600"/>
              </a:spcBef>
              <a:spcAft>
                <a:spcPts val="600"/>
              </a:spcAft>
              <a:buClr>
                <a:srgbClr val="FF304C"/>
              </a:buClr>
              <a:defRPr/>
            </a:pPr>
            <a:r>
              <a:rPr lang="en-US" b="1" kern="0" dirty="0">
                <a:solidFill>
                  <a:schemeClr val="bg1"/>
                </a:solidFill>
                <a:latin typeface="Ubuntu" panose="020B0504030602030204" pitchFamily="34" charset="0"/>
              </a:rPr>
              <a:t>Meaning... You’re not getting the Cloud benefits &amp; Innovation promised</a:t>
            </a:r>
          </a:p>
        </p:txBody>
      </p:sp>
      <p:sp>
        <p:nvSpPr>
          <p:cNvPr id="6" name="Text Box 25">
            <a:extLst>
              <a:ext uri="{FF2B5EF4-FFF2-40B4-BE49-F238E27FC236}">
                <a16:creationId xmlns:a16="http://schemas.microsoft.com/office/drawing/2014/main" id="{6BC463F1-4751-5C4E-958A-EEE09E3EDA35}"/>
              </a:ext>
            </a:extLst>
          </p:cNvPr>
          <p:cNvSpPr txBox="1">
            <a:spLocks noChangeArrowheads="1"/>
          </p:cNvSpPr>
          <p:nvPr/>
        </p:nvSpPr>
        <p:spPr bwMode="auto">
          <a:xfrm>
            <a:off x="6096000" y="646231"/>
            <a:ext cx="5739369" cy="5663089"/>
          </a:xfrm>
          <a:prstGeom prst="rect">
            <a:avLst/>
          </a:prstGeom>
          <a:noFill/>
          <a:ln w="19050">
            <a:noFill/>
            <a:miter lim="800000"/>
            <a:headEnd/>
            <a:tailEnd/>
          </a:ln>
        </p:spPr>
        <p:txBody>
          <a:bodyPr wrap="square" rIns="0">
            <a:spAutoFit/>
          </a:bodyPr>
          <a:lstStyle/>
          <a:p>
            <a:pPr marR="0" lvl="0" algn="l" defTabSz="914400" rtl="0" eaLnBrk="0" fontAlgn="auto" latinLnBrk="0" hangingPunct="0">
              <a:lnSpc>
                <a:spcPct val="100000"/>
              </a:lnSpc>
              <a:spcBef>
                <a:spcPts val="600"/>
              </a:spcBef>
              <a:spcAft>
                <a:spcPts val="600"/>
              </a:spcAft>
              <a:buClr>
                <a:srgbClr val="FF304C"/>
              </a:buClr>
              <a:buSzTx/>
              <a:tabLst/>
              <a:defRPr/>
            </a:pPr>
            <a:r>
              <a:rPr lang="en-US" sz="2800" b="1" kern="0" dirty="0">
                <a:solidFill>
                  <a:srgbClr val="0070AD"/>
                </a:solidFill>
                <a:latin typeface="Ubuntu" panose="020B0504030602030204" pitchFamily="34" charset="0"/>
              </a:rPr>
              <a:t>What we took away and solved...</a:t>
            </a:r>
          </a:p>
          <a:p>
            <a:pPr marR="0" lvl="0" algn="l" defTabSz="914400" rtl="0" eaLnBrk="0" fontAlgn="auto" latinLnBrk="0" hangingPunct="0">
              <a:lnSpc>
                <a:spcPct val="100000"/>
              </a:lnSpc>
              <a:spcBef>
                <a:spcPts val="600"/>
              </a:spcBef>
              <a:spcAft>
                <a:spcPts val="600"/>
              </a:spcAft>
              <a:buClr>
                <a:srgbClr val="FF304C"/>
              </a:buClr>
              <a:buSzTx/>
              <a:tabLst/>
              <a:defRPr/>
            </a:pPr>
            <a:endParaRPr lang="en-US" sz="2800" b="1" kern="0" dirty="0">
              <a:solidFill>
                <a:srgbClr val="0070AD"/>
              </a:solidFill>
              <a:latin typeface="Ubuntu" panose="020B0504030602030204" pitchFamily="34" charset="0"/>
            </a:endParaRPr>
          </a:p>
          <a:p>
            <a:pPr eaLnBrk="0" hangingPunct="0">
              <a:spcBef>
                <a:spcPts val="600"/>
              </a:spcBef>
              <a:spcAft>
                <a:spcPts val="600"/>
              </a:spcAft>
              <a:buClr>
                <a:schemeClr val="tx2"/>
              </a:buClr>
              <a:defRPr/>
            </a:pPr>
            <a:r>
              <a:rPr lang="en-US" b="1" kern="0" noProof="0" dirty="0">
                <a:solidFill>
                  <a:srgbClr val="0070AD"/>
                </a:solidFill>
                <a:latin typeface="Ubuntu" panose="020B0504030602030204" pitchFamily="34" charset="0"/>
              </a:rPr>
              <a:t>You are looking for a one stop shop</a:t>
            </a:r>
          </a:p>
          <a:p>
            <a:pPr eaLnBrk="0" hangingPunct="0">
              <a:spcBef>
                <a:spcPts val="600"/>
              </a:spcBef>
              <a:spcAft>
                <a:spcPts val="600"/>
              </a:spcAft>
              <a:buClr>
                <a:schemeClr val="tx2"/>
              </a:buClr>
              <a:defRPr/>
            </a:pPr>
            <a:r>
              <a:rPr lang="en-US" kern="0" dirty="0">
                <a:solidFill>
                  <a:srgbClr val="5D696B"/>
                </a:solidFill>
                <a:latin typeface="Ubuntu" panose="020B0504030602030204" pitchFamily="34" charset="0"/>
              </a:rPr>
              <a:t>that brings together all the different elements in a single approach, aligned with best practice guidance </a:t>
            </a:r>
          </a:p>
          <a:p>
            <a:pPr eaLnBrk="0" hangingPunct="0">
              <a:spcBef>
                <a:spcPts val="600"/>
              </a:spcBef>
              <a:spcAft>
                <a:spcPts val="600"/>
              </a:spcAft>
              <a:buClr>
                <a:schemeClr val="tx2"/>
              </a:buClr>
              <a:defRPr/>
            </a:pPr>
            <a:r>
              <a:rPr lang="en-US" b="1" kern="0" noProof="0" dirty="0">
                <a:solidFill>
                  <a:srgbClr val="0070AD"/>
                </a:solidFill>
                <a:latin typeface="Ubuntu" panose="020B0504030602030204" pitchFamily="34" charset="0"/>
              </a:rPr>
              <a:t>You need consistency you can trust</a:t>
            </a:r>
          </a:p>
          <a:p>
            <a:pPr eaLnBrk="0" hangingPunct="0">
              <a:spcBef>
                <a:spcPts val="600"/>
              </a:spcBef>
              <a:spcAft>
                <a:spcPts val="600"/>
              </a:spcAft>
              <a:buClr>
                <a:schemeClr val="tx2"/>
              </a:buClr>
              <a:defRPr/>
            </a:pPr>
            <a:r>
              <a:rPr lang="en-US" kern="0" dirty="0">
                <a:solidFill>
                  <a:srgbClr val="5D696B"/>
                </a:solidFill>
                <a:latin typeface="Ubuntu" panose="020B0504030602030204" pitchFamily="34" charset="0"/>
              </a:rPr>
              <a:t>to provide ongoing support, optimization, modernization and innovation</a:t>
            </a:r>
            <a:r>
              <a:rPr lang="en-US" kern="0" noProof="0" dirty="0">
                <a:solidFill>
                  <a:srgbClr val="5D696B"/>
                </a:solidFill>
                <a:latin typeface="Ubuntu" panose="020B0504030602030204" pitchFamily="34" charset="0"/>
              </a:rPr>
              <a:t> </a:t>
            </a:r>
          </a:p>
          <a:p>
            <a:pPr eaLnBrk="0" hangingPunct="0">
              <a:spcBef>
                <a:spcPts val="600"/>
              </a:spcBef>
              <a:spcAft>
                <a:spcPts val="600"/>
              </a:spcAft>
              <a:buClr>
                <a:schemeClr val="tx2"/>
              </a:buClr>
              <a:defRPr/>
            </a:pPr>
            <a:r>
              <a:rPr lang="en-US" b="1" kern="0" dirty="0">
                <a:solidFill>
                  <a:srgbClr val="0070AD"/>
                </a:solidFill>
                <a:latin typeface="Ubuntu" panose="020B0504030602030204" pitchFamily="34" charset="0"/>
              </a:rPr>
              <a:t>You need technical guidance and best practices </a:t>
            </a:r>
          </a:p>
          <a:p>
            <a:pPr eaLnBrk="0" hangingPunct="0">
              <a:spcBef>
                <a:spcPts val="600"/>
              </a:spcBef>
              <a:spcAft>
                <a:spcPts val="600"/>
              </a:spcAft>
              <a:buClr>
                <a:schemeClr val="tx2"/>
              </a:buClr>
              <a:defRPr/>
            </a:pPr>
            <a:r>
              <a:rPr lang="en-US" kern="0" dirty="0">
                <a:solidFill>
                  <a:srgbClr val="5D696B"/>
                </a:solidFill>
                <a:latin typeface="Ubuntu" panose="020B0504030602030204" pitchFamily="34" charset="0"/>
              </a:rPr>
              <a:t>tailored to the unique scenarios your business works in </a:t>
            </a:r>
          </a:p>
          <a:p>
            <a:pPr eaLnBrk="0" hangingPunct="0">
              <a:spcBef>
                <a:spcPts val="600"/>
              </a:spcBef>
              <a:spcAft>
                <a:spcPts val="600"/>
              </a:spcAft>
              <a:buClr>
                <a:schemeClr val="tx2"/>
              </a:buClr>
              <a:defRPr/>
            </a:pPr>
            <a:r>
              <a:rPr lang="en-US" b="1" kern="0" dirty="0">
                <a:solidFill>
                  <a:srgbClr val="0070AD"/>
                </a:solidFill>
                <a:latin typeface="Ubuntu" panose="020B0504030602030204" pitchFamily="34" charset="0"/>
              </a:rPr>
              <a:t>You need support in driving change management </a:t>
            </a:r>
          </a:p>
          <a:p>
            <a:pPr eaLnBrk="0" hangingPunct="0">
              <a:spcBef>
                <a:spcPts val="600"/>
              </a:spcBef>
              <a:spcAft>
                <a:spcPts val="600"/>
              </a:spcAft>
              <a:buClr>
                <a:schemeClr val="tx2"/>
              </a:buClr>
              <a:defRPr/>
            </a:pPr>
            <a:r>
              <a:rPr lang="en-US" kern="0" dirty="0">
                <a:solidFill>
                  <a:srgbClr val="5D696B"/>
                </a:solidFill>
                <a:latin typeface="Ubuntu" panose="020B0504030602030204" pitchFamily="34" charset="0"/>
              </a:rPr>
              <a:t>Both internally and developing new Azure skills amongst existing resources</a:t>
            </a:r>
            <a:endParaRPr lang="en-US" kern="0" dirty="0">
              <a:solidFill>
                <a:schemeClr val="tx2"/>
              </a:solidFill>
              <a:latin typeface="Ubuntu" panose="020B0504030602030204" pitchFamily="34" charset="0"/>
            </a:endParaRPr>
          </a:p>
        </p:txBody>
      </p:sp>
      <p:pic>
        <p:nvPicPr>
          <p:cNvPr id="8" name="Picture 7">
            <a:extLst>
              <a:ext uri="{FF2B5EF4-FFF2-40B4-BE49-F238E27FC236}">
                <a16:creationId xmlns:a16="http://schemas.microsoft.com/office/drawing/2014/main" id="{03933943-B2A7-2041-A3D7-FEBF56ABCF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00816" y="4914041"/>
            <a:ext cx="1195184" cy="839632"/>
          </a:xfrm>
          <a:prstGeom prst="rect">
            <a:avLst/>
          </a:prstGeom>
        </p:spPr>
      </p:pic>
      <p:pic>
        <p:nvPicPr>
          <p:cNvPr id="9" name="Picture 8">
            <a:extLst>
              <a:ext uri="{FF2B5EF4-FFF2-40B4-BE49-F238E27FC236}">
                <a16:creationId xmlns:a16="http://schemas.microsoft.com/office/drawing/2014/main" id="{2B0EC22C-4D47-9A4C-B86C-44914845E5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49856" y="5833383"/>
            <a:ext cx="763362" cy="536272"/>
          </a:xfrm>
          <a:prstGeom prst="rect">
            <a:avLst/>
          </a:prstGeom>
        </p:spPr>
      </p:pic>
      <p:pic>
        <p:nvPicPr>
          <p:cNvPr id="10" name="Graphic 9">
            <a:extLst>
              <a:ext uri="{FF2B5EF4-FFF2-40B4-BE49-F238E27FC236}">
                <a16:creationId xmlns:a16="http://schemas.microsoft.com/office/drawing/2014/main" id="{1A36F15B-17C7-174E-AA8B-B0E2ADAE5E89}"/>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8837" t="17602" r="13232" b="25699"/>
          <a:stretch/>
        </p:blipFill>
        <p:spPr>
          <a:xfrm>
            <a:off x="3149116" y="5504543"/>
            <a:ext cx="1669266" cy="1160607"/>
          </a:xfrm>
          <a:prstGeom prst="rect">
            <a:avLst/>
          </a:prstGeom>
        </p:spPr>
      </p:pic>
    </p:spTree>
    <p:extLst>
      <p:ext uri="{BB962C8B-B14F-4D97-AF65-F5344CB8AC3E}">
        <p14:creationId xmlns:p14="http://schemas.microsoft.com/office/powerpoint/2010/main" val="3312022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CA371EE4-7134-A14A-9AEB-41F3CE8D99F6}"/>
              </a:ext>
            </a:extLst>
          </p:cNvPr>
          <p:cNvSpPr>
            <a:spLocks noChangeAspect="1"/>
          </p:cNvSpPr>
          <p:nvPr/>
        </p:nvSpPr>
        <p:spPr bwMode="gray">
          <a:xfrm rot="10800000" flipH="1">
            <a:off x="-1438252" y="-387424"/>
            <a:ext cx="7753303" cy="7371826"/>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dirty="0">
              <a:solidFill>
                <a:schemeClr val="accent5"/>
              </a:solidFill>
            </a:endParaRPr>
          </a:p>
        </p:txBody>
      </p:sp>
      <p:sp>
        <p:nvSpPr>
          <p:cNvPr id="2" name="Titre 1">
            <a:extLst>
              <a:ext uri="{FF2B5EF4-FFF2-40B4-BE49-F238E27FC236}">
                <a16:creationId xmlns:a16="http://schemas.microsoft.com/office/drawing/2014/main" id="{1A596A14-A776-4140-8152-B9D05F8EAA5D}"/>
              </a:ext>
            </a:extLst>
          </p:cNvPr>
          <p:cNvSpPr>
            <a:spLocks noGrp="1"/>
          </p:cNvSpPr>
          <p:nvPr>
            <p:ph type="title"/>
          </p:nvPr>
        </p:nvSpPr>
        <p:spPr>
          <a:xfrm>
            <a:off x="407988" y="514103"/>
            <a:ext cx="9345612" cy="357187"/>
          </a:xfrm>
        </p:spPr>
        <p:txBody>
          <a:bodyPr/>
          <a:lstStyle/>
          <a:p>
            <a:r>
              <a:rPr lang="en-GB" sz="2800" b="1" dirty="0">
                <a:solidFill>
                  <a:schemeClr val="bg1"/>
                </a:solidFill>
                <a:latin typeface="Ubuntu" panose="020B0504030602030204" pitchFamily="34" charset="0"/>
              </a:rPr>
              <a:t>‘Cloud Transformation has </a:t>
            </a:r>
            <a:br>
              <a:rPr lang="en-GB" sz="2800" b="1" dirty="0">
                <a:solidFill>
                  <a:schemeClr val="bg1"/>
                </a:solidFill>
                <a:latin typeface="Ubuntu" panose="020B0504030602030204" pitchFamily="34" charset="0"/>
              </a:rPr>
            </a:br>
            <a:r>
              <a:rPr lang="en-GB" sz="2800" b="1" dirty="0">
                <a:solidFill>
                  <a:schemeClr val="bg1"/>
                </a:solidFill>
                <a:latin typeface="Ubuntu" panose="020B0504030602030204" pitchFamily="34" charset="0"/>
              </a:rPr>
              <a:t>evolved…</a:t>
            </a:r>
            <a:endParaRPr lang="en-US" sz="2800" b="1" dirty="0">
              <a:solidFill>
                <a:schemeClr val="bg1"/>
              </a:solidFill>
            </a:endParaRPr>
          </a:p>
        </p:txBody>
      </p:sp>
      <p:sp>
        <p:nvSpPr>
          <p:cNvPr id="7" name="Text Box 25">
            <a:extLst>
              <a:ext uri="{FF2B5EF4-FFF2-40B4-BE49-F238E27FC236}">
                <a16:creationId xmlns:a16="http://schemas.microsoft.com/office/drawing/2014/main" id="{0E2B7B94-D345-469E-8212-D4A0E80DB46C}"/>
              </a:ext>
            </a:extLst>
          </p:cNvPr>
          <p:cNvSpPr txBox="1">
            <a:spLocks noChangeArrowheads="1"/>
          </p:cNvSpPr>
          <p:nvPr/>
        </p:nvSpPr>
        <p:spPr bwMode="auto">
          <a:xfrm>
            <a:off x="386135" y="1772816"/>
            <a:ext cx="4341713" cy="4970591"/>
          </a:xfrm>
          <a:prstGeom prst="rect">
            <a:avLst/>
          </a:prstGeom>
          <a:noFill/>
          <a:ln w="19050">
            <a:noFill/>
            <a:miter lim="800000"/>
            <a:headEnd/>
            <a:tailEnd/>
          </a:ln>
        </p:spPr>
        <p:txBody>
          <a:bodyPr wrap="square" rIns="0">
            <a:spAutoFit/>
          </a:bodyPr>
          <a:lstStyle/>
          <a:p>
            <a:pPr eaLnBrk="0" hangingPunct="0">
              <a:spcBef>
                <a:spcPts val="600"/>
              </a:spcBef>
              <a:spcAft>
                <a:spcPts val="300"/>
              </a:spcAft>
              <a:buClr>
                <a:srgbClr val="FF304C"/>
              </a:buClr>
              <a:defRPr/>
            </a:pPr>
            <a:r>
              <a:rPr lang="en-US" sz="2200" kern="0" dirty="0">
                <a:solidFill>
                  <a:schemeClr val="bg1"/>
                </a:solidFill>
                <a:latin typeface="Ubuntu" panose="020B0504030602030204" pitchFamily="34" charset="0"/>
              </a:rPr>
              <a:t>At </a:t>
            </a:r>
            <a:r>
              <a:rPr lang="en-US" sz="2200" b="1" kern="0" dirty="0">
                <a:solidFill>
                  <a:schemeClr val="bg1"/>
                </a:solidFill>
                <a:latin typeface="Ubuntu" panose="020B0504030602030204" pitchFamily="34" charset="0"/>
              </a:rPr>
              <a:t>first </a:t>
            </a:r>
            <a:r>
              <a:rPr lang="en-US" sz="2200" kern="0" dirty="0">
                <a:solidFill>
                  <a:schemeClr val="bg1"/>
                </a:solidFill>
                <a:latin typeface="Ubuntu" panose="020B0504030602030204" pitchFamily="34" charset="0"/>
              </a:rPr>
              <a:t>Cloud Transformation was about </a:t>
            </a:r>
            <a:r>
              <a:rPr lang="en-US" sz="2200" b="1" kern="0" dirty="0">
                <a:solidFill>
                  <a:schemeClr val="bg1"/>
                </a:solidFill>
                <a:latin typeface="Ubuntu" panose="020B0504030602030204" pitchFamily="34" charset="0"/>
              </a:rPr>
              <a:t>optimization of assets… </a:t>
            </a:r>
          </a:p>
          <a:p>
            <a:pPr eaLnBrk="0" hangingPunct="0">
              <a:spcBef>
                <a:spcPts val="600"/>
              </a:spcBef>
              <a:spcAft>
                <a:spcPts val="300"/>
              </a:spcAft>
              <a:buClr>
                <a:srgbClr val="FF304C"/>
              </a:buClr>
              <a:defRPr/>
            </a:pPr>
            <a:endParaRPr lang="en-US" sz="2200" kern="0" dirty="0">
              <a:solidFill>
                <a:schemeClr val="bg1"/>
              </a:solidFill>
              <a:latin typeface="Ubuntu" panose="020B0504030602030204" pitchFamily="34" charset="0"/>
            </a:endParaRPr>
          </a:p>
          <a:p>
            <a:pPr marL="914400" lvl="1" indent="-457200" eaLnBrk="0" hangingPunct="0">
              <a:spcBef>
                <a:spcPts val="600"/>
              </a:spcBef>
              <a:spcAft>
                <a:spcPts val="300"/>
              </a:spcAft>
              <a:buClr>
                <a:srgbClr val="FF304C"/>
              </a:buClr>
              <a:buFont typeface="Wingdings" panose="05000000000000000000" pitchFamily="2" charset="2"/>
              <a:buChar char="§"/>
              <a:defRPr/>
            </a:pPr>
            <a:r>
              <a:rPr lang="en-US" b="1" kern="0" dirty="0">
                <a:solidFill>
                  <a:schemeClr val="bg1"/>
                </a:solidFill>
                <a:latin typeface="Ubuntu" panose="020B0504030602030204" pitchFamily="34" charset="0"/>
              </a:rPr>
              <a:t>To get Cost reduction </a:t>
            </a:r>
            <a:r>
              <a:rPr lang="en-US" kern="0" dirty="0">
                <a:solidFill>
                  <a:schemeClr val="bg1"/>
                </a:solidFill>
                <a:latin typeface="Ubuntu" panose="020B0504030602030204" pitchFamily="34" charset="0"/>
              </a:rPr>
              <a:t>/ Data storage / Disaster recovery.</a:t>
            </a:r>
          </a:p>
          <a:p>
            <a:pPr marL="914400" lvl="1" indent="-457200" eaLnBrk="0" hangingPunct="0">
              <a:spcBef>
                <a:spcPts val="600"/>
              </a:spcBef>
              <a:spcAft>
                <a:spcPts val="300"/>
              </a:spcAft>
              <a:buClr>
                <a:srgbClr val="FF304C"/>
              </a:buClr>
              <a:buFont typeface="Wingdings" panose="05000000000000000000" pitchFamily="2" charset="2"/>
              <a:buChar char="§"/>
              <a:defRPr/>
            </a:pPr>
            <a:r>
              <a:rPr lang="en-US" kern="0" dirty="0">
                <a:solidFill>
                  <a:schemeClr val="bg1"/>
                </a:solidFill>
                <a:latin typeface="Ubuntu" panose="020B0504030602030204" pitchFamily="34" charset="0"/>
              </a:rPr>
              <a:t>Purely on Infra as a Service (</a:t>
            </a:r>
            <a:r>
              <a:rPr lang="en-US" b="1" kern="0" dirty="0">
                <a:solidFill>
                  <a:schemeClr val="bg1"/>
                </a:solidFill>
                <a:latin typeface="Ubuntu" panose="020B0504030602030204" pitchFamily="34" charset="0"/>
              </a:rPr>
              <a:t>IaaS)</a:t>
            </a:r>
            <a:r>
              <a:rPr lang="en-US" kern="0" dirty="0">
                <a:solidFill>
                  <a:schemeClr val="bg1"/>
                </a:solidFill>
                <a:latin typeface="Ubuntu" panose="020B0504030602030204" pitchFamily="34" charset="0"/>
              </a:rPr>
              <a:t>.</a:t>
            </a:r>
          </a:p>
          <a:p>
            <a:pPr marL="914400" lvl="1" indent="-457200" eaLnBrk="0" hangingPunct="0">
              <a:spcBef>
                <a:spcPts val="600"/>
              </a:spcBef>
              <a:spcAft>
                <a:spcPts val="300"/>
              </a:spcAft>
              <a:buClr>
                <a:srgbClr val="FF304C"/>
              </a:buClr>
              <a:buFont typeface="Wingdings" panose="05000000000000000000" pitchFamily="2" charset="2"/>
              <a:buChar char="§"/>
              <a:defRPr/>
            </a:pPr>
            <a:r>
              <a:rPr lang="en-US" kern="0" dirty="0">
                <a:solidFill>
                  <a:schemeClr val="bg1"/>
                </a:solidFill>
                <a:latin typeface="Ubuntu" panose="020B0504030602030204" pitchFamily="34" charset="0"/>
              </a:rPr>
              <a:t>Concerns around security – Private versus Public Cloud.</a:t>
            </a:r>
          </a:p>
          <a:p>
            <a:pPr marL="914400" lvl="1" indent="-457200" eaLnBrk="0" hangingPunct="0">
              <a:spcBef>
                <a:spcPts val="600"/>
              </a:spcBef>
              <a:spcAft>
                <a:spcPts val="300"/>
              </a:spcAft>
              <a:buClr>
                <a:srgbClr val="FF304C"/>
              </a:buClr>
              <a:buFont typeface="Wingdings" panose="05000000000000000000" pitchFamily="2" charset="2"/>
              <a:buChar char="§"/>
              <a:defRPr/>
            </a:pPr>
            <a:r>
              <a:rPr lang="en-US" kern="0" dirty="0">
                <a:solidFill>
                  <a:schemeClr val="bg1"/>
                </a:solidFill>
                <a:latin typeface="Ubuntu" panose="020B0504030602030204" pitchFamily="34" charset="0"/>
              </a:rPr>
              <a:t>Moving to SaaS solution for COTS applications ( Salesforce / 0365 etc.. )</a:t>
            </a:r>
          </a:p>
          <a:p>
            <a:pPr marL="0" lvl="1" eaLnBrk="0" hangingPunct="0">
              <a:spcBef>
                <a:spcPts val="600"/>
              </a:spcBef>
              <a:spcAft>
                <a:spcPts val="300"/>
              </a:spcAft>
              <a:buClr>
                <a:srgbClr val="FF304C"/>
              </a:buClr>
              <a:defRPr/>
            </a:pPr>
            <a:endParaRPr lang="en-US" sz="2200" b="1" kern="0" dirty="0">
              <a:solidFill>
                <a:schemeClr val="bg1"/>
              </a:solidFill>
              <a:latin typeface="Ubuntu" panose="020B0504030602030204" pitchFamily="34" charset="0"/>
            </a:endParaRPr>
          </a:p>
        </p:txBody>
      </p:sp>
      <p:sp>
        <p:nvSpPr>
          <p:cNvPr id="5" name="Text Box 25">
            <a:extLst>
              <a:ext uri="{FF2B5EF4-FFF2-40B4-BE49-F238E27FC236}">
                <a16:creationId xmlns:a16="http://schemas.microsoft.com/office/drawing/2014/main" id="{ABE22848-31B3-154A-B68A-CC01B7EE109E}"/>
              </a:ext>
            </a:extLst>
          </p:cNvPr>
          <p:cNvSpPr txBox="1">
            <a:spLocks noChangeArrowheads="1"/>
          </p:cNvSpPr>
          <p:nvPr/>
        </p:nvSpPr>
        <p:spPr bwMode="auto">
          <a:xfrm>
            <a:off x="7068729" y="718682"/>
            <a:ext cx="5112568" cy="5439951"/>
          </a:xfrm>
          <a:prstGeom prst="rect">
            <a:avLst/>
          </a:prstGeom>
          <a:noFill/>
          <a:ln w="19050">
            <a:noFill/>
            <a:miter lim="800000"/>
            <a:headEnd/>
            <a:tailEnd/>
          </a:ln>
        </p:spPr>
        <p:txBody>
          <a:bodyPr wrap="square" rIns="0">
            <a:spAutoFit/>
          </a:bodyPr>
          <a:lstStyle/>
          <a:p>
            <a:pPr eaLnBrk="0" hangingPunct="0">
              <a:spcBef>
                <a:spcPts val="600"/>
              </a:spcBef>
              <a:spcAft>
                <a:spcPts val="300"/>
              </a:spcAft>
              <a:buClr>
                <a:srgbClr val="FF304C"/>
              </a:buClr>
              <a:defRPr/>
            </a:pPr>
            <a:r>
              <a:rPr lang="en-US" sz="2200" b="1" kern="0" dirty="0">
                <a:solidFill>
                  <a:schemeClr val="accent1"/>
                </a:solidFill>
                <a:latin typeface="Ubuntu" panose="020B0504030602030204" pitchFamily="34" charset="0"/>
              </a:rPr>
              <a:t>Now</a:t>
            </a:r>
            <a:r>
              <a:rPr lang="en-US" sz="2200" kern="0" dirty="0">
                <a:solidFill>
                  <a:schemeClr val="accent1"/>
                </a:solidFill>
                <a:latin typeface="Ubuntu" panose="020B0504030602030204" pitchFamily="34" charset="0"/>
              </a:rPr>
              <a:t> Cloud Transformation is about </a:t>
            </a:r>
            <a:r>
              <a:rPr lang="en-US" sz="2200" b="1" kern="0" dirty="0">
                <a:solidFill>
                  <a:schemeClr val="accent1"/>
                </a:solidFill>
                <a:latin typeface="Ubuntu" panose="020B0504030602030204" pitchFamily="34" charset="0"/>
              </a:rPr>
              <a:t>Agility and flexibility </a:t>
            </a:r>
            <a:r>
              <a:rPr lang="en-US" sz="2200" kern="0" dirty="0">
                <a:solidFill>
                  <a:schemeClr val="accent1"/>
                </a:solidFill>
                <a:latin typeface="Ubuntu" panose="020B0504030602030204" pitchFamily="34" charset="0"/>
              </a:rPr>
              <a:t>to enable </a:t>
            </a:r>
            <a:r>
              <a:rPr lang="en-US" sz="2200" b="1" kern="0" dirty="0">
                <a:solidFill>
                  <a:schemeClr val="accent1"/>
                </a:solidFill>
                <a:latin typeface="Ubuntu" panose="020B0504030602030204" pitchFamily="34" charset="0"/>
              </a:rPr>
              <a:t>Innovation…</a:t>
            </a:r>
          </a:p>
          <a:p>
            <a:pPr eaLnBrk="0" hangingPunct="0">
              <a:spcBef>
                <a:spcPts val="600"/>
              </a:spcBef>
              <a:spcAft>
                <a:spcPts val="300"/>
              </a:spcAft>
              <a:buClr>
                <a:srgbClr val="FF304C"/>
              </a:buClr>
              <a:defRPr/>
            </a:pPr>
            <a:endParaRPr lang="en-US" sz="2200" kern="0" dirty="0">
              <a:solidFill>
                <a:schemeClr val="accent1"/>
              </a:solidFill>
              <a:latin typeface="Ubuntu" panose="020B0504030602030204" pitchFamily="34" charset="0"/>
            </a:endParaRPr>
          </a:p>
          <a:p>
            <a:pPr marL="914400" lvl="1" indent="-457200" eaLnBrk="0" hangingPunct="0">
              <a:spcBef>
                <a:spcPts val="600"/>
              </a:spcBef>
              <a:spcAft>
                <a:spcPts val="300"/>
              </a:spcAft>
              <a:buClr>
                <a:srgbClr val="FF304C"/>
              </a:buClr>
              <a:buFont typeface="Wingdings" panose="05000000000000000000" pitchFamily="2" charset="2"/>
              <a:buChar char="§"/>
              <a:defRPr/>
            </a:pPr>
            <a:r>
              <a:rPr lang="en-US" sz="2000" kern="0" dirty="0">
                <a:solidFill>
                  <a:schemeClr val="accent1"/>
                </a:solidFill>
                <a:latin typeface="Ubuntu" panose="020B0504030602030204" pitchFamily="34" charset="0"/>
              </a:rPr>
              <a:t>More focus now on leveraging </a:t>
            </a:r>
            <a:r>
              <a:rPr lang="en-US" sz="2000" b="1" kern="0" dirty="0">
                <a:solidFill>
                  <a:schemeClr val="accent1"/>
                </a:solidFill>
                <a:latin typeface="Ubuntu" panose="020B0504030602030204" pitchFamily="34" charset="0"/>
              </a:rPr>
              <a:t>Platform as a Service (</a:t>
            </a:r>
            <a:r>
              <a:rPr lang="en-US" sz="2000" b="1" kern="0" dirty="0" err="1">
                <a:solidFill>
                  <a:schemeClr val="accent1"/>
                </a:solidFill>
                <a:latin typeface="Ubuntu" panose="020B0504030602030204" pitchFamily="34" charset="0"/>
              </a:rPr>
              <a:t>PasS</a:t>
            </a:r>
            <a:r>
              <a:rPr lang="en-US" sz="2000" b="1" kern="0" dirty="0">
                <a:solidFill>
                  <a:schemeClr val="accent1"/>
                </a:solidFill>
                <a:latin typeface="Ubuntu" panose="020B0504030602030204" pitchFamily="34" charset="0"/>
              </a:rPr>
              <a:t>)</a:t>
            </a:r>
            <a:r>
              <a:rPr lang="en-US" sz="2000" kern="0" dirty="0">
                <a:solidFill>
                  <a:schemeClr val="accent1"/>
                </a:solidFill>
                <a:latin typeface="Ubuntu" panose="020B0504030602030204" pitchFamily="34" charset="0"/>
              </a:rPr>
              <a:t> and rebuilding applications on Cloud</a:t>
            </a:r>
          </a:p>
          <a:p>
            <a:pPr marL="914400" lvl="1" indent="-457200" eaLnBrk="0" hangingPunct="0">
              <a:spcBef>
                <a:spcPts val="600"/>
              </a:spcBef>
              <a:spcAft>
                <a:spcPts val="300"/>
              </a:spcAft>
              <a:buClr>
                <a:srgbClr val="FF304C"/>
              </a:buClr>
              <a:buFont typeface="Wingdings" panose="05000000000000000000" pitchFamily="2" charset="2"/>
              <a:buChar char="§"/>
              <a:defRPr/>
            </a:pPr>
            <a:r>
              <a:rPr lang="en-US" sz="2000" kern="0" dirty="0">
                <a:solidFill>
                  <a:schemeClr val="accent1"/>
                </a:solidFill>
                <a:latin typeface="Ubuntu" panose="020B0504030602030204" pitchFamily="34" charset="0"/>
              </a:rPr>
              <a:t>More organizations moving to </a:t>
            </a:r>
            <a:r>
              <a:rPr lang="en-US" sz="2000" b="1" kern="0" dirty="0">
                <a:solidFill>
                  <a:schemeClr val="accent1"/>
                </a:solidFill>
                <a:latin typeface="Ubuntu" panose="020B0504030602030204" pitchFamily="34" charset="0"/>
              </a:rPr>
              <a:t>Public Cloud</a:t>
            </a:r>
            <a:r>
              <a:rPr lang="en-US" sz="2000" kern="0" dirty="0">
                <a:solidFill>
                  <a:schemeClr val="accent1"/>
                </a:solidFill>
                <a:latin typeface="Ubuntu" panose="020B0504030602030204" pitchFamily="34" charset="0"/>
              </a:rPr>
              <a:t>.</a:t>
            </a:r>
          </a:p>
          <a:p>
            <a:pPr marL="914400" lvl="1" indent="-457200" eaLnBrk="0" hangingPunct="0">
              <a:spcBef>
                <a:spcPts val="600"/>
              </a:spcBef>
              <a:spcAft>
                <a:spcPts val="300"/>
              </a:spcAft>
              <a:buClr>
                <a:srgbClr val="FF304C"/>
              </a:buClr>
              <a:buFont typeface="Wingdings" panose="05000000000000000000" pitchFamily="2" charset="2"/>
              <a:buChar char="§"/>
              <a:defRPr/>
            </a:pPr>
            <a:r>
              <a:rPr lang="en-US" sz="2000" kern="0" dirty="0">
                <a:solidFill>
                  <a:schemeClr val="accent1"/>
                </a:solidFill>
                <a:latin typeface="Ubuntu" panose="020B0504030602030204" pitchFamily="34" charset="0"/>
              </a:rPr>
              <a:t>Multi-Cloud and Hybrid cloud strategy supported by Containerization (Kubernetes / API management / Microservices / Serverless).</a:t>
            </a:r>
            <a:endParaRPr lang="en-US" sz="2400" kern="0" dirty="0">
              <a:solidFill>
                <a:schemeClr val="accent1"/>
              </a:solidFill>
              <a:latin typeface="Ubuntu" panose="020B0504030602030204" pitchFamily="34" charset="0"/>
            </a:endParaRPr>
          </a:p>
          <a:p>
            <a:pPr eaLnBrk="0" hangingPunct="0">
              <a:spcBef>
                <a:spcPts val="600"/>
              </a:spcBef>
              <a:spcAft>
                <a:spcPts val="300"/>
              </a:spcAft>
              <a:buClr>
                <a:srgbClr val="FF304C"/>
              </a:buClr>
              <a:defRPr/>
            </a:pPr>
            <a:endParaRPr lang="en-US" sz="2200" kern="0" dirty="0">
              <a:solidFill>
                <a:srgbClr val="0070AD"/>
              </a:solidFill>
              <a:latin typeface="Ubuntu" panose="020B0504030602030204" pitchFamily="34" charset="0"/>
            </a:endParaRPr>
          </a:p>
        </p:txBody>
      </p:sp>
      <p:pic>
        <p:nvPicPr>
          <p:cNvPr id="8" name="Graphic 7">
            <a:extLst>
              <a:ext uri="{FF2B5EF4-FFF2-40B4-BE49-F238E27FC236}">
                <a16:creationId xmlns:a16="http://schemas.microsoft.com/office/drawing/2014/main" id="{DB6DCA69-7EA9-6047-9114-4A1A91091C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51784" y="1655258"/>
            <a:ext cx="4082246" cy="4211159"/>
          </a:xfrm>
          <a:prstGeom prst="rect">
            <a:avLst/>
          </a:prstGeom>
        </p:spPr>
      </p:pic>
    </p:spTree>
    <p:extLst>
      <p:ext uri="{BB962C8B-B14F-4D97-AF65-F5344CB8AC3E}">
        <p14:creationId xmlns:p14="http://schemas.microsoft.com/office/powerpoint/2010/main" val="2289611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B7BE2F6C-2B5B-C943-9C71-ED55350FE814}"/>
              </a:ext>
            </a:extLst>
          </p:cNvPr>
          <p:cNvSpPr/>
          <p:nvPr/>
        </p:nvSpPr>
        <p:spPr>
          <a:xfrm>
            <a:off x="-6730" y="0"/>
            <a:ext cx="9124248" cy="685800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50237335-B902-D74B-91C0-2CDF723C3A58}"/>
              </a:ext>
            </a:extLst>
          </p:cNvPr>
          <p:cNvSpPr txBox="1"/>
          <p:nvPr/>
        </p:nvSpPr>
        <p:spPr>
          <a:xfrm>
            <a:off x="4349363" y="341906"/>
            <a:ext cx="184731" cy="369332"/>
          </a:xfrm>
          <a:prstGeom prst="rect">
            <a:avLst/>
          </a:prstGeom>
          <a:noFill/>
        </p:spPr>
        <p:txBody>
          <a:bodyPr wrap="none" rtlCol="0">
            <a:spAutoFit/>
          </a:bodyPr>
          <a:lstStyle/>
          <a:p>
            <a:endParaRPr lang="en-US" dirty="0"/>
          </a:p>
        </p:txBody>
      </p:sp>
      <p:sp>
        <p:nvSpPr>
          <p:cNvPr id="19" name="TextBox 18">
            <a:extLst>
              <a:ext uri="{FF2B5EF4-FFF2-40B4-BE49-F238E27FC236}">
                <a16:creationId xmlns:a16="http://schemas.microsoft.com/office/drawing/2014/main" id="{BAC2D73D-93D0-4C4E-89C5-C1C317883E4E}"/>
              </a:ext>
            </a:extLst>
          </p:cNvPr>
          <p:cNvSpPr txBox="1"/>
          <p:nvPr/>
        </p:nvSpPr>
        <p:spPr>
          <a:xfrm>
            <a:off x="407368" y="333216"/>
            <a:ext cx="9649071" cy="584775"/>
          </a:xfrm>
          <a:prstGeom prst="rect">
            <a:avLst/>
          </a:prstGeom>
          <a:noFill/>
        </p:spPr>
        <p:txBody>
          <a:bodyPr wrap="square" rtlCol="0">
            <a:spAutoFit/>
          </a:bodyPr>
          <a:lstStyle/>
          <a:p>
            <a:r>
              <a:rPr lang="en-US" sz="3200" b="1" dirty="0">
                <a:solidFill>
                  <a:schemeClr val="bg1"/>
                </a:solidFill>
              </a:rPr>
              <a:t>What our clients achieve with EPM</a:t>
            </a:r>
          </a:p>
        </p:txBody>
      </p:sp>
      <p:sp>
        <p:nvSpPr>
          <p:cNvPr id="2" name="Rectangle 1">
            <a:extLst>
              <a:ext uri="{FF2B5EF4-FFF2-40B4-BE49-F238E27FC236}">
                <a16:creationId xmlns:a16="http://schemas.microsoft.com/office/drawing/2014/main" id="{1BCCC3AE-65D0-B54D-8E99-FE236B176F10}"/>
              </a:ext>
            </a:extLst>
          </p:cNvPr>
          <p:cNvSpPr/>
          <p:nvPr/>
        </p:nvSpPr>
        <p:spPr>
          <a:xfrm>
            <a:off x="437162" y="1243837"/>
            <a:ext cx="7597237" cy="4524315"/>
          </a:xfrm>
          <a:prstGeom prst="rect">
            <a:avLst/>
          </a:prstGeom>
        </p:spPr>
        <p:txBody>
          <a:bodyPr wrap="square">
            <a:spAutoFit/>
          </a:bodyPr>
          <a:lstStyle/>
          <a:p>
            <a:pPr fontAlgn="t"/>
            <a:r>
              <a:rPr lang="en-GB" b="1" dirty="0">
                <a:solidFill>
                  <a:schemeClr val="bg1"/>
                </a:solidFill>
                <a:latin typeface="Ubuntu" panose="020B0504030602030204" pitchFamily="34" charset="0"/>
              </a:rPr>
              <a:t>Identify your IT and business needs</a:t>
            </a:r>
          </a:p>
          <a:p>
            <a:pPr marL="285750" indent="-285750" fontAlgn="t">
              <a:buFont typeface="Wingdings" panose="05000000000000000000" pitchFamily="2" charset="2"/>
              <a:buChar char="ü"/>
            </a:pPr>
            <a:r>
              <a:rPr lang="en-GB" dirty="0">
                <a:solidFill>
                  <a:schemeClr val="bg1"/>
                </a:solidFill>
                <a:latin typeface="Ubuntu" panose="020B0504030602030204" pitchFamily="34" charset="0"/>
              </a:rPr>
              <a:t>Comprehensive Application discovery and assessment</a:t>
            </a:r>
          </a:p>
          <a:p>
            <a:pPr marL="285750" indent="-285750" fontAlgn="t">
              <a:buFont typeface="Wingdings" panose="05000000000000000000" pitchFamily="2" charset="2"/>
              <a:buChar char="ü"/>
            </a:pPr>
            <a:r>
              <a:rPr lang="en-GB" dirty="0">
                <a:solidFill>
                  <a:schemeClr val="bg1"/>
                </a:solidFill>
                <a:latin typeface="Ubuntu" panose="020B0504030602030204" pitchFamily="34" charset="0"/>
              </a:rPr>
              <a:t>Roadmap application landscape to Cloud</a:t>
            </a:r>
          </a:p>
          <a:p>
            <a:pPr marL="285750" indent="-285750" fontAlgn="t">
              <a:buFont typeface="Wingdings" panose="05000000000000000000" pitchFamily="2" charset="2"/>
              <a:buChar char="ü"/>
            </a:pPr>
            <a:r>
              <a:rPr lang="en-GB" dirty="0">
                <a:solidFill>
                  <a:schemeClr val="bg1"/>
                </a:solidFill>
                <a:latin typeface="Ubuntu" panose="020B0504030602030204" pitchFamily="34" charset="0"/>
              </a:rPr>
              <a:t>Align your cloud migration with business strategy</a:t>
            </a:r>
          </a:p>
          <a:p>
            <a:pPr fontAlgn="t"/>
            <a:endParaRPr lang="en-GB" dirty="0">
              <a:solidFill>
                <a:schemeClr val="bg1"/>
              </a:solidFill>
              <a:latin typeface="Ubuntu" panose="020B0504030602030204" pitchFamily="34" charset="0"/>
            </a:endParaRPr>
          </a:p>
          <a:p>
            <a:pPr fontAlgn="t"/>
            <a:r>
              <a:rPr lang="en-GB" b="1" dirty="0">
                <a:solidFill>
                  <a:schemeClr val="bg1"/>
                </a:solidFill>
                <a:latin typeface="Ubuntu" panose="020B0504030602030204" pitchFamily="34" charset="0"/>
              </a:rPr>
              <a:t>Accelerate your migration to Cloud</a:t>
            </a:r>
          </a:p>
          <a:p>
            <a:pPr marL="285750" indent="-285750" fontAlgn="t">
              <a:buFont typeface="Wingdings" panose="05000000000000000000" pitchFamily="2" charset="2"/>
              <a:buChar char="ü"/>
            </a:pPr>
            <a:r>
              <a:rPr lang="en-GB" dirty="0">
                <a:solidFill>
                  <a:schemeClr val="bg1"/>
                </a:solidFill>
                <a:latin typeface="Ubuntu" panose="020B0504030602030204" pitchFamily="34" charset="0"/>
              </a:rPr>
              <a:t>Futureproof for application innovation</a:t>
            </a:r>
          </a:p>
          <a:p>
            <a:pPr marL="285750" indent="-285750" fontAlgn="t">
              <a:buFont typeface="Wingdings" panose="05000000000000000000" pitchFamily="2" charset="2"/>
              <a:buChar char="ü"/>
            </a:pPr>
            <a:r>
              <a:rPr lang="en-GB" dirty="0">
                <a:solidFill>
                  <a:schemeClr val="bg1"/>
                </a:solidFill>
                <a:latin typeface="Ubuntu" panose="020B0504030602030204" pitchFamily="34" charset="0"/>
              </a:rPr>
              <a:t>Minimise cost, risk, and disruption</a:t>
            </a:r>
          </a:p>
          <a:p>
            <a:pPr marL="285750" indent="-285750" fontAlgn="t">
              <a:buFont typeface="Wingdings" panose="05000000000000000000" pitchFamily="2" charset="2"/>
              <a:buChar char="ü"/>
            </a:pPr>
            <a:r>
              <a:rPr lang="en-GB" dirty="0">
                <a:solidFill>
                  <a:schemeClr val="bg1"/>
                </a:solidFill>
                <a:latin typeface="Ubuntu" panose="020B0504030602030204" pitchFamily="34" charset="0"/>
              </a:rPr>
              <a:t>Automate migration processes using our accelerators and assets</a:t>
            </a:r>
          </a:p>
          <a:p>
            <a:pPr marL="285750" indent="-285750" fontAlgn="t">
              <a:buFont typeface="Wingdings" panose="05000000000000000000" pitchFamily="2" charset="2"/>
              <a:buChar char="ü"/>
            </a:pPr>
            <a:endParaRPr lang="en-GB" dirty="0">
              <a:solidFill>
                <a:schemeClr val="bg1"/>
              </a:solidFill>
              <a:latin typeface="Ubuntu" panose="020B0504030602030204" pitchFamily="34" charset="0"/>
            </a:endParaRPr>
          </a:p>
          <a:p>
            <a:pPr fontAlgn="t"/>
            <a:r>
              <a:rPr lang="en-GB" b="1" dirty="0">
                <a:solidFill>
                  <a:schemeClr val="bg1"/>
                </a:solidFill>
                <a:latin typeface="Ubuntu" panose="020B0504030602030204" pitchFamily="34" charset="0"/>
              </a:rPr>
              <a:t>Achieve digital transformation</a:t>
            </a:r>
          </a:p>
          <a:p>
            <a:pPr marL="285750" indent="-285750" fontAlgn="t">
              <a:buFont typeface="Wingdings" panose="05000000000000000000" pitchFamily="2" charset="2"/>
              <a:buChar char="ü"/>
            </a:pPr>
            <a:r>
              <a:rPr lang="en-GB" dirty="0">
                <a:solidFill>
                  <a:schemeClr val="bg1"/>
                </a:solidFill>
                <a:latin typeface="Ubuntu" panose="020B0504030602030204" pitchFamily="34" charset="0"/>
              </a:rPr>
              <a:t>Realise differentiating new capabilities and business models</a:t>
            </a:r>
          </a:p>
          <a:p>
            <a:pPr marL="285750" indent="-285750" fontAlgn="t">
              <a:buFont typeface="Wingdings" panose="05000000000000000000" pitchFamily="2" charset="2"/>
              <a:buChar char="ü"/>
            </a:pPr>
            <a:r>
              <a:rPr lang="en-GB" dirty="0">
                <a:solidFill>
                  <a:schemeClr val="bg1"/>
                </a:solidFill>
                <a:latin typeface="Ubuntu" panose="020B0504030602030204" pitchFamily="34" charset="0"/>
              </a:rPr>
              <a:t>Respond rapidly to changing market realities</a:t>
            </a:r>
          </a:p>
          <a:p>
            <a:pPr marL="285750" indent="-285750" fontAlgn="t">
              <a:buFont typeface="Wingdings" panose="05000000000000000000" pitchFamily="2" charset="2"/>
              <a:buChar char="ü"/>
            </a:pPr>
            <a:r>
              <a:rPr lang="en-GB" dirty="0">
                <a:solidFill>
                  <a:schemeClr val="bg1"/>
                </a:solidFill>
                <a:latin typeface="Ubuntu" panose="020B0504030602030204" pitchFamily="34" charset="0"/>
              </a:rPr>
              <a:t>Deliver new services and customer experiences</a:t>
            </a:r>
          </a:p>
          <a:p>
            <a:pPr marL="285750" indent="-285750" fontAlgn="t">
              <a:buFont typeface="Wingdings" panose="05000000000000000000" pitchFamily="2" charset="2"/>
              <a:buChar char="ü"/>
            </a:pPr>
            <a:endParaRPr lang="en-GB" dirty="0">
              <a:solidFill>
                <a:schemeClr val="bg1"/>
              </a:solidFill>
              <a:latin typeface="Ubuntu" panose="020B0504030602030204" pitchFamily="34" charset="0"/>
            </a:endParaRPr>
          </a:p>
          <a:p>
            <a:pPr marL="285750" indent="-285750" fontAlgn="t">
              <a:buFont typeface="Wingdings" panose="05000000000000000000" pitchFamily="2" charset="2"/>
              <a:buChar char="ü"/>
            </a:pPr>
            <a:endParaRPr lang="en-GB" dirty="0">
              <a:solidFill>
                <a:schemeClr val="bg1"/>
              </a:solidFill>
              <a:latin typeface="Ubuntu" panose="020B0504030602030204" pitchFamily="34" charset="0"/>
            </a:endParaRPr>
          </a:p>
        </p:txBody>
      </p:sp>
      <p:pic>
        <p:nvPicPr>
          <p:cNvPr id="6" name="Picture 5">
            <a:extLst>
              <a:ext uri="{FF2B5EF4-FFF2-40B4-BE49-F238E27FC236}">
                <a16:creationId xmlns:a16="http://schemas.microsoft.com/office/drawing/2014/main" id="{447AE4EA-0FE9-5842-A35F-2E9400C635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10872" y="5695089"/>
            <a:ext cx="1195184" cy="839632"/>
          </a:xfrm>
          <a:prstGeom prst="rect">
            <a:avLst/>
          </a:prstGeom>
        </p:spPr>
      </p:pic>
      <p:pic>
        <p:nvPicPr>
          <p:cNvPr id="7" name="Picture 6">
            <a:extLst>
              <a:ext uri="{FF2B5EF4-FFF2-40B4-BE49-F238E27FC236}">
                <a16:creationId xmlns:a16="http://schemas.microsoft.com/office/drawing/2014/main" id="{D6F62DB3-20AD-6548-9824-4430CE7019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54622" y="5846769"/>
            <a:ext cx="763362" cy="536272"/>
          </a:xfrm>
          <a:prstGeom prst="rect">
            <a:avLst/>
          </a:prstGeom>
        </p:spPr>
      </p:pic>
      <p:pic>
        <p:nvPicPr>
          <p:cNvPr id="8" name="Graphic 7">
            <a:extLst>
              <a:ext uri="{FF2B5EF4-FFF2-40B4-BE49-F238E27FC236}">
                <a16:creationId xmlns:a16="http://schemas.microsoft.com/office/drawing/2014/main" id="{7359B0EC-D2E0-4142-BAA7-0A81A5056ACD}"/>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8837" t="17602" r="13232" b="25699"/>
          <a:stretch/>
        </p:blipFill>
        <p:spPr>
          <a:xfrm>
            <a:off x="2703815" y="5697393"/>
            <a:ext cx="1669266" cy="1160607"/>
          </a:xfrm>
          <a:prstGeom prst="rect">
            <a:avLst/>
          </a:prstGeom>
        </p:spPr>
      </p:pic>
      <p:pic>
        <p:nvPicPr>
          <p:cNvPr id="5" name="Graphic 4">
            <a:extLst>
              <a:ext uri="{FF2B5EF4-FFF2-40B4-BE49-F238E27FC236}">
                <a16:creationId xmlns:a16="http://schemas.microsoft.com/office/drawing/2014/main" id="{D52D6C8F-111E-6B49-B90E-6FEFF66656C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64152" y="917991"/>
            <a:ext cx="4547672" cy="4418660"/>
          </a:xfrm>
          <a:prstGeom prst="rect">
            <a:avLst/>
          </a:prstGeom>
        </p:spPr>
      </p:pic>
    </p:spTree>
    <p:extLst>
      <p:ext uri="{BB962C8B-B14F-4D97-AF65-F5344CB8AC3E}">
        <p14:creationId xmlns:p14="http://schemas.microsoft.com/office/powerpoint/2010/main" val="3381978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48135013-C6BF-8F43-B5DE-0AC5BF0522DB}"/>
              </a:ext>
            </a:extLst>
          </p:cNvPr>
          <p:cNvSpPr/>
          <p:nvPr/>
        </p:nvSpPr>
        <p:spPr>
          <a:xfrm>
            <a:off x="19368" y="-21684"/>
            <a:ext cx="11121795" cy="685800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4" name="Rectangle 313">
            <a:extLst>
              <a:ext uri="{FF2B5EF4-FFF2-40B4-BE49-F238E27FC236}">
                <a16:creationId xmlns:a16="http://schemas.microsoft.com/office/drawing/2014/main" id="{8D15EB5A-0D5B-BE4C-AFE3-9B3303E723A9}"/>
              </a:ext>
            </a:extLst>
          </p:cNvPr>
          <p:cNvSpPr/>
          <p:nvPr/>
        </p:nvSpPr>
        <p:spPr>
          <a:xfrm>
            <a:off x="335360" y="880515"/>
            <a:ext cx="10225136" cy="6001643"/>
          </a:xfrm>
          <a:prstGeom prst="rect">
            <a:avLst/>
          </a:prstGeom>
        </p:spPr>
        <p:txBody>
          <a:bodyPr wrap="square">
            <a:spAutoFit/>
          </a:bodyPr>
          <a:lstStyle/>
          <a:p>
            <a:pPr fontAlgn="t"/>
            <a:r>
              <a:rPr lang="en-GB" sz="2000" b="1" dirty="0">
                <a:solidFill>
                  <a:schemeClr val="bg1"/>
                </a:solidFill>
                <a:latin typeface="Ubuntu" panose="020B0504030602030204" pitchFamily="34" charset="0"/>
              </a:rPr>
              <a:t>Its Sogeti’s end to end solution made up of </a:t>
            </a:r>
            <a:r>
              <a:rPr lang="en-GB" sz="2000" b="1" dirty="0">
                <a:solidFill>
                  <a:schemeClr val="accent2"/>
                </a:solidFill>
                <a:latin typeface="Ubuntu" panose="020B0504030602030204" pitchFamily="34" charset="0"/>
              </a:rPr>
              <a:t> OneMigrate </a:t>
            </a:r>
            <a:r>
              <a:rPr lang="en-GB" sz="2000" b="1" dirty="0">
                <a:solidFill>
                  <a:schemeClr val="bg1"/>
                </a:solidFill>
                <a:latin typeface="Ubuntu" panose="020B0504030602030204" pitchFamily="34" charset="0"/>
              </a:rPr>
              <a:t>&amp; </a:t>
            </a:r>
            <a:r>
              <a:rPr lang="en-GB" sz="2000" b="1" dirty="0">
                <a:solidFill>
                  <a:schemeClr val="accent2"/>
                </a:solidFill>
                <a:latin typeface="Ubuntu" panose="020B0504030602030204" pitchFamily="34" charset="0"/>
              </a:rPr>
              <a:t>OneNative</a:t>
            </a:r>
            <a:r>
              <a:rPr lang="en-GB" sz="2000" b="1" dirty="0">
                <a:solidFill>
                  <a:schemeClr val="bg1"/>
                </a:solidFill>
                <a:latin typeface="Ubuntu" panose="020B0504030602030204" pitchFamily="34" charset="0"/>
              </a:rPr>
              <a:t> that takes care of your Cloud adoption, and it’s specifically for Microsoft Azure. </a:t>
            </a:r>
          </a:p>
          <a:p>
            <a:pPr fontAlgn="t"/>
            <a:endParaRPr lang="en-GB" sz="2000" b="1" dirty="0">
              <a:solidFill>
                <a:schemeClr val="bg1"/>
              </a:solidFill>
              <a:latin typeface="Ubuntu" panose="020B0504030602030204" pitchFamily="34" charset="0"/>
            </a:endParaRPr>
          </a:p>
          <a:p>
            <a:pPr lvl="3" fontAlgn="t"/>
            <a:r>
              <a:rPr lang="en-GB" sz="2000" b="1" dirty="0">
                <a:solidFill>
                  <a:schemeClr val="bg1"/>
                </a:solidFill>
                <a:latin typeface="Ubuntu" panose="020B0504030602030204" pitchFamily="34" charset="0"/>
              </a:rPr>
              <a:t>It contains our library of assets to accelerate your </a:t>
            </a:r>
            <a:r>
              <a:rPr lang="en-GB" sz="2000" b="1" dirty="0">
                <a:solidFill>
                  <a:schemeClr val="accent2"/>
                </a:solidFill>
                <a:latin typeface="Ubuntu" panose="020B0504030602030204" pitchFamily="34" charset="0"/>
              </a:rPr>
              <a:t>START</a:t>
            </a:r>
            <a:r>
              <a:rPr lang="en-GB" sz="2000" b="1" dirty="0">
                <a:solidFill>
                  <a:schemeClr val="bg1"/>
                </a:solidFill>
                <a:latin typeface="Ubuntu" panose="020B0504030602030204" pitchFamily="34" charset="0"/>
              </a:rPr>
              <a:t> and build a foundation that truly scales along the Journey – we call it </a:t>
            </a:r>
            <a:r>
              <a:rPr lang="en-GB" sz="2000" b="1" dirty="0">
                <a:solidFill>
                  <a:schemeClr val="accent2"/>
                </a:solidFill>
                <a:latin typeface="Ubuntu" panose="020B0504030602030204" pitchFamily="34" charset="0"/>
              </a:rPr>
              <a:t>CloudBoost</a:t>
            </a:r>
          </a:p>
          <a:p>
            <a:pPr lvl="1" fontAlgn="t"/>
            <a:endParaRPr lang="en-GB" sz="2000" b="1" dirty="0">
              <a:solidFill>
                <a:schemeClr val="bg1"/>
              </a:solidFill>
              <a:latin typeface="Ubuntu" panose="020B0504030602030204" pitchFamily="34" charset="0"/>
            </a:endParaRPr>
          </a:p>
          <a:p>
            <a:pPr lvl="3" fontAlgn="t"/>
            <a:r>
              <a:rPr lang="en-GB" sz="2000" b="1" dirty="0">
                <a:solidFill>
                  <a:schemeClr val="bg1"/>
                </a:solidFill>
                <a:latin typeface="Ubuntu" panose="020B0504030602030204" pitchFamily="34" charset="0"/>
              </a:rPr>
              <a:t>It’s our </a:t>
            </a:r>
            <a:r>
              <a:rPr lang="en-GB" sz="2000" b="1" dirty="0" err="1">
                <a:solidFill>
                  <a:schemeClr val="accent2"/>
                </a:solidFill>
                <a:latin typeface="Ubuntu" panose="020B0504030602030204" pitchFamily="34" charset="0"/>
              </a:rPr>
              <a:t>OneMigrate</a:t>
            </a:r>
            <a:r>
              <a:rPr lang="en-GB" sz="2000" b="1" dirty="0">
                <a:solidFill>
                  <a:schemeClr val="bg1"/>
                </a:solidFill>
                <a:latin typeface="Ubuntu" panose="020B0504030602030204" pitchFamily="34" charset="0"/>
              </a:rPr>
              <a:t> service that starts with an assessment and helps you </a:t>
            </a:r>
            <a:r>
              <a:rPr lang="en-GB" sz="2000" b="1" dirty="0">
                <a:solidFill>
                  <a:schemeClr val="accent2"/>
                </a:solidFill>
                <a:latin typeface="Ubuntu" panose="020B0504030602030204" pitchFamily="34" charset="0"/>
              </a:rPr>
              <a:t>MOVE </a:t>
            </a:r>
            <a:r>
              <a:rPr lang="en-GB" sz="2000" b="1" dirty="0">
                <a:solidFill>
                  <a:schemeClr val="bg1"/>
                </a:solidFill>
                <a:latin typeface="Ubuntu" panose="020B0504030602030204" pitchFamily="34" charset="0"/>
              </a:rPr>
              <a:t>to Azure with an automated migration path.</a:t>
            </a:r>
          </a:p>
          <a:p>
            <a:pPr lvl="3" fontAlgn="t"/>
            <a:endParaRPr lang="en-GB" sz="2000" b="1" dirty="0">
              <a:solidFill>
                <a:schemeClr val="bg1"/>
              </a:solidFill>
              <a:latin typeface="Ubuntu" panose="020B0504030602030204" pitchFamily="34" charset="0"/>
            </a:endParaRPr>
          </a:p>
          <a:p>
            <a:pPr lvl="3" fontAlgn="t"/>
            <a:r>
              <a:rPr lang="en-GB" sz="2000" b="1" dirty="0">
                <a:solidFill>
                  <a:schemeClr val="bg1"/>
                </a:solidFill>
                <a:latin typeface="Ubuntu" panose="020B0504030602030204" pitchFamily="34" charset="0"/>
              </a:rPr>
              <a:t>It’s our </a:t>
            </a:r>
            <a:r>
              <a:rPr lang="en-GB" sz="2000" b="1" dirty="0">
                <a:solidFill>
                  <a:schemeClr val="accent2"/>
                </a:solidFill>
                <a:latin typeface="Ubuntu" panose="020B0504030602030204" pitchFamily="34" charset="0"/>
              </a:rPr>
              <a:t>OneNative</a:t>
            </a:r>
            <a:r>
              <a:rPr lang="en-GB" sz="2000" b="1" dirty="0">
                <a:solidFill>
                  <a:schemeClr val="bg1"/>
                </a:solidFill>
                <a:latin typeface="Ubuntu" panose="020B0504030602030204" pitchFamily="34" charset="0"/>
              </a:rPr>
              <a:t> services that help you </a:t>
            </a:r>
            <a:r>
              <a:rPr lang="en-GB" sz="2000" b="1" dirty="0">
                <a:solidFill>
                  <a:schemeClr val="accent2"/>
                </a:solidFill>
                <a:latin typeface="Ubuntu" panose="020B0504030602030204" pitchFamily="34" charset="0"/>
              </a:rPr>
              <a:t>BUILD </a:t>
            </a:r>
            <a:r>
              <a:rPr lang="en-GB" sz="2000" b="1" dirty="0">
                <a:solidFill>
                  <a:schemeClr val="bg1"/>
                </a:solidFill>
                <a:latin typeface="Ubuntu" panose="020B0504030602030204" pitchFamily="34" charset="0"/>
              </a:rPr>
              <a:t>quickly on Azure, and optimise your applications using our assets </a:t>
            </a:r>
          </a:p>
          <a:p>
            <a:pPr lvl="3" fontAlgn="t"/>
            <a:endParaRPr lang="en-GB" sz="2000" b="1" dirty="0">
              <a:solidFill>
                <a:schemeClr val="bg1"/>
              </a:solidFill>
              <a:latin typeface="Ubuntu" panose="020B0504030602030204" pitchFamily="34" charset="0"/>
            </a:endParaRPr>
          </a:p>
          <a:p>
            <a:pPr lvl="3" fontAlgn="t"/>
            <a:r>
              <a:rPr lang="en-GB" sz="2000" b="1" dirty="0">
                <a:solidFill>
                  <a:schemeClr val="bg1"/>
                </a:solidFill>
                <a:latin typeface="Ubuntu" panose="020B0504030602030204" pitchFamily="34" charset="0"/>
              </a:rPr>
              <a:t>&amp; It’s our comprehensive set of Microsoft Expert accredited Managed Services help you </a:t>
            </a:r>
            <a:r>
              <a:rPr lang="en-GB" sz="2000" b="1" dirty="0">
                <a:solidFill>
                  <a:schemeClr val="accent2"/>
                </a:solidFill>
                <a:latin typeface="Ubuntu" panose="020B0504030602030204" pitchFamily="34" charset="0"/>
              </a:rPr>
              <a:t>PERFORM</a:t>
            </a:r>
            <a:r>
              <a:rPr lang="en-GB" sz="2000" b="1" dirty="0">
                <a:solidFill>
                  <a:srgbClr val="FF5135"/>
                </a:solidFill>
                <a:latin typeface="Ubuntu" panose="020B0504030602030204" pitchFamily="34" charset="0"/>
              </a:rPr>
              <a:t> </a:t>
            </a:r>
            <a:r>
              <a:rPr lang="en-GB" sz="2000" b="1" dirty="0">
                <a:solidFill>
                  <a:schemeClr val="bg1"/>
                </a:solidFill>
                <a:latin typeface="Ubuntu" panose="020B0504030602030204" pitchFamily="34" charset="0"/>
              </a:rPr>
              <a:t>on Azure </a:t>
            </a:r>
          </a:p>
          <a:p>
            <a:pPr fontAlgn="t"/>
            <a:endParaRPr lang="en-GB" sz="2000" b="1" dirty="0">
              <a:solidFill>
                <a:schemeClr val="bg1"/>
              </a:solidFill>
              <a:latin typeface="Ubuntu" panose="020B0504030602030204" pitchFamily="34" charset="0"/>
            </a:endParaRPr>
          </a:p>
          <a:p>
            <a:pPr fontAlgn="t"/>
            <a:r>
              <a:rPr lang="en-GB" sz="2000" b="1" dirty="0">
                <a:solidFill>
                  <a:schemeClr val="bg1"/>
                </a:solidFill>
                <a:latin typeface="Ubuntu" panose="020B0504030602030204" pitchFamily="34" charset="0"/>
              </a:rPr>
              <a:t>			PS You can even buy</a:t>
            </a:r>
            <a:r>
              <a:rPr lang="en-GB" sz="2000" b="1" dirty="0">
                <a:solidFill>
                  <a:schemeClr val="accent2"/>
                </a:solidFill>
                <a:latin typeface="Ubuntu" panose="020B0504030602030204" pitchFamily="34" charset="0"/>
              </a:rPr>
              <a:t> Azure </a:t>
            </a:r>
            <a:r>
              <a:rPr lang="en-GB" sz="2000" b="1" dirty="0">
                <a:solidFill>
                  <a:schemeClr val="bg1"/>
                </a:solidFill>
                <a:latin typeface="Ubuntu" panose="020B0504030602030204" pitchFamily="34" charset="0"/>
              </a:rPr>
              <a:t>from us ...</a:t>
            </a:r>
          </a:p>
          <a:p>
            <a:pPr fontAlgn="t"/>
            <a:endParaRPr lang="en-GB" sz="2000" b="1" dirty="0">
              <a:solidFill>
                <a:schemeClr val="bg1"/>
              </a:solidFill>
              <a:latin typeface="Ubuntu" panose="020B0504030602030204" pitchFamily="34" charset="0"/>
            </a:endParaRPr>
          </a:p>
          <a:p>
            <a:pPr fontAlgn="t"/>
            <a:r>
              <a:rPr lang="en-GB" sz="2000" b="1" dirty="0">
                <a:solidFill>
                  <a:schemeClr val="bg1"/>
                </a:solidFill>
                <a:latin typeface="Ubuntu" panose="020B0504030602030204" pitchFamily="34" charset="0"/>
              </a:rPr>
              <a:t>	</a:t>
            </a:r>
          </a:p>
          <a:p>
            <a:pPr fontAlgn="t"/>
            <a:endParaRPr lang="en-GB" sz="1200" b="1" dirty="0">
              <a:solidFill>
                <a:schemeClr val="bg1"/>
              </a:solidFill>
              <a:latin typeface="Ubuntu" panose="020B0504030602030204" pitchFamily="34" charset="0"/>
            </a:endParaRPr>
          </a:p>
          <a:p>
            <a:pPr fontAlgn="t"/>
            <a:endParaRPr lang="en-GB" sz="1200" b="1" dirty="0">
              <a:solidFill>
                <a:schemeClr val="bg1"/>
              </a:solidFill>
              <a:latin typeface="Ubuntu" panose="020B0504030602030204" pitchFamily="34" charset="0"/>
            </a:endParaRPr>
          </a:p>
        </p:txBody>
      </p:sp>
      <p:sp>
        <p:nvSpPr>
          <p:cNvPr id="4" name="TextBox 3">
            <a:extLst>
              <a:ext uri="{FF2B5EF4-FFF2-40B4-BE49-F238E27FC236}">
                <a16:creationId xmlns:a16="http://schemas.microsoft.com/office/drawing/2014/main" id="{50237335-B902-D74B-91C0-2CDF723C3A58}"/>
              </a:ext>
            </a:extLst>
          </p:cNvPr>
          <p:cNvSpPr txBox="1"/>
          <p:nvPr/>
        </p:nvSpPr>
        <p:spPr>
          <a:xfrm>
            <a:off x="4349363" y="341906"/>
            <a:ext cx="184731" cy="369332"/>
          </a:xfrm>
          <a:prstGeom prst="rect">
            <a:avLst/>
          </a:prstGeom>
          <a:noFill/>
        </p:spPr>
        <p:txBody>
          <a:bodyPr wrap="none" rtlCol="0">
            <a:spAutoFit/>
          </a:bodyPr>
          <a:lstStyle/>
          <a:p>
            <a:endParaRPr lang="en-US" dirty="0"/>
          </a:p>
        </p:txBody>
      </p:sp>
      <p:sp>
        <p:nvSpPr>
          <p:cNvPr id="19" name="TextBox 18">
            <a:extLst>
              <a:ext uri="{FF2B5EF4-FFF2-40B4-BE49-F238E27FC236}">
                <a16:creationId xmlns:a16="http://schemas.microsoft.com/office/drawing/2014/main" id="{BAC2D73D-93D0-4C4E-89C5-C1C317883E4E}"/>
              </a:ext>
            </a:extLst>
          </p:cNvPr>
          <p:cNvSpPr txBox="1"/>
          <p:nvPr/>
        </p:nvSpPr>
        <p:spPr>
          <a:xfrm>
            <a:off x="263352" y="172629"/>
            <a:ext cx="11121795" cy="584775"/>
          </a:xfrm>
          <a:prstGeom prst="rect">
            <a:avLst/>
          </a:prstGeom>
          <a:noFill/>
        </p:spPr>
        <p:txBody>
          <a:bodyPr wrap="square" rtlCol="0">
            <a:spAutoFit/>
          </a:bodyPr>
          <a:lstStyle/>
          <a:p>
            <a:r>
              <a:rPr lang="en-US" sz="3200" b="1" dirty="0">
                <a:solidFill>
                  <a:schemeClr val="bg1"/>
                </a:solidFill>
              </a:rPr>
              <a:t>So... what is EPM? </a:t>
            </a:r>
          </a:p>
        </p:txBody>
      </p:sp>
      <p:pic>
        <p:nvPicPr>
          <p:cNvPr id="6" name="Graphic 5">
            <a:extLst>
              <a:ext uri="{FF2B5EF4-FFF2-40B4-BE49-F238E27FC236}">
                <a16:creationId xmlns:a16="http://schemas.microsoft.com/office/drawing/2014/main" id="{A03835F6-FD1E-284F-ACFB-9EFEF73ECB56}"/>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8837" t="17602" r="13232" b="25699"/>
          <a:stretch/>
        </p:blipFill>
        <p:spPr>
          <a:xfrm>
            <a:off x="627067" y="1844824"/>
            <a:ext cx="932102" cy="648072"/>
          </a:xfrm>
          <a:prstGeom prst="rect">
            <a:avLst/>
          </a:prstGeom>
        </p:spPr>
      </p:pic>
      <p:sp>
        <p:nvSpPr>
          <p:cNvPr id="7" name="TextBox 6">
            <a:extLst>
              <a:ext uri="{FF2B5EF4-FFF2-40B4-BE49-F238E27FC236}">
                <a16:creationId xmlns:a16="http://schemas.microsoft.com/office/drawing/2014/main" id="{89FEE5CE-6645-DA44-A027-9A17ACD09348}"/>
              </a:ext>
            </a:extLst>
          </p:cNvPr>
          <p:cNvSpPr txBox="1"/>
          <p:nvPr/>
        </p:nvSpPr>
        <p:spPr>
          <a:xfrm>
            <a:off x="986487" y="1988839"/>
            <a:ext cx="95653" cy="338554"/>
          </a:xfrm>
          <a:prstGeom prst="rect">
            <a:avLst/>
          </a:prstGeom>
          <a:noFill/>
        </p:spPr>
        <p:txBody>
          <a:bodyPr wrap="square" rtlCol="0">
            <a:spAutoFit/>
          </a:bodyPr>
          <a:lstStyle/>
          <a:p>
            <a:r>
              <a:rPr lang="en-US" sz="1600" b="1" dirty="0">
                <a:solidFill>
                  <a:schemeClr val="bg1"/>
                </a:solidFill>
                <a:latin typeface="Ubuntu" panose="020B0504030602030204" pitchFamily="34" charset="0"/>
              </a:rPr>
              <a:t>1</a:t>
            </a:r>
          </a:p>
        </p:txBody>
      </p:sp>
      <p:pic>
        <p:nvPicPr>
          <p:cNvPr id="8" name="Graphic 7">
            <a:extLst>
              <a:ext uri="{FF2B5EF4-FFF2-40B4-BE49-F238E27FC236}">
                <a16:creationId xmlns:a16="http://schemas.microsoft.com/office/drawing/2014/main" id="{83D3E346-DE65-144F-8B45-6CA7E933C890}"/>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8837" t="17602" r="13232" b="25699"/>
          <a:stretch/>
        </p:blipFill>
        <p:spPr>
          <a:xfrm>
            <a:off x="627067" y="2708920"/>
            <a:ext cx="932102" cy="648072"/>
          </a:xfrm>
          <a:prstGeom prst="rect">
            <a:avLst/>
          </a:prstGeom>
        </p:spPr>
      </p:pic>
      <p:pic>
        <p:nvPicPr>
          <p:cNvPr id="9" name="Graphic 8">
            <a:extLst>
              <a:ext uri="{FF2B5EF4-FFF2-40B4-BE49-F238E27FC236}">
                <a16:creationId xmlns:a16="http://schemas.microsoft.com/office/drawing/2014/main" id="{4F939C74-015A-A64D-925D-140EDAAEE664}"/>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8837" t="17602" r="13232" b="25699"/>
          <a:stretch/>
        </p:blipFill>
        <p:spPr>
          <a:xfrm>
            <a:off x="627067" y="3584486"/>
            <a:ext cx="932102" cy="648072"/>
          </a:xfrm>
          <a:prstGeom prst="rect">
            <a:avLst/>
          </a:prstGeom>
        </p:spPr>
      </p:pic>
      <p:pic>
        <p:nvPicPr>
          <p:cNvPr id="10" name="Graphic 9">
            <a:extLst>
              <a:ext uri="{FF2B5EF4-FFF2-40B4-BE49-F238E27FC236}">
                <a16:creationId xmlns:a16="http://schemas.microsoft.com/office/drawing/2014/main" id="{1D55D420-5362-2F40-A3BF-8B9B966218E6}"/>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8837" t="17602" r="13232" b="25699"/>
          <a:stretch/>
        </p:blipFill>
        <p:spPr>
          <a:xfrm>
            <a:off x="623392" y="4460052"/>
            <a:ext cx="932102" cy="648072"/>
          </a:xfrm>
          <a:prstGeom prst="rect">
            <a:avLst/>
          </a:prstGeom>
        </p:spPr>
      </p:pic>
      <p:sp>
        <p:nvSpPr>
          <p:cNvPr id="12" name="TextBox 11">
            <a:extLst>
              <a:ext uri="{FF2B5EF4-FFF2-40B4-BE49-F238E27FC236}">
                <a16:creationId xmlns:a16="http://schemas.microsoft.com/office/drawing/2014/main" id="{D5EFC39A-0695-4840-9CAA-4F10B316613A}"/>
              </a:ext>
            </a:extLst>
          </p:cNvPr>
          <p:cNvSpPr txBox="1"/>
          <p:nvPr/>
        </p:nvSpPr>
        <p:spPr>
          <a:xfrm>
            <a:off x="993790" y="2874422"/>
            <a:ext cx="95653" cy="338554"/>
          </a:xfrm>
          <a:prstGeom prst="rect">
            <a:avLst/>
          </a:prstGeom>
          <a:noFill/>
        </p:spPr>
        <p:txBody>
          <a:bodyPr wrap="square" rtlCol="0">
            <a:spAutoFit/>
          </a:bodyPr>
          <a:lstStyle/>
          <a:p>
            <a:r>
              <a:rPr lang="en-US" sz="1600" b="1" dirty="0">
                <a:solidFill>
                  <a:schemeClr val="bg1"/>
                </a:solidFill>
                <a:latin typeface="Ubuntu" panose="020B0504030602030204" pitchFamily="34" charset="0"/>
              </a:rPr>
              <a:t>2</a:t>
            </a:r>
          </a:p>
        </p:txBody>
      </p:sp>
      <p:sp>
        <p:nvSpPr>
          <p:cNvPr id="13" name="TextBox 12">
            <a:extLst>
              <a:ext uri="{FF2B5EF4-FFF2-40B4-BE49-F238E27FC236}">
                <a16:creationId xmlns:a16="http://schemas.microsoft.com/office/drawing/2014/main" id="{2A845BA2-9CA2-C848-BDC2-5351B10A3426}"/>
              </a:ext>
            </a:extLst>
          </p:cNvPr>
          <p:cNvSpPr txBox="1"/>
          <p:nvPr/>
        </p:nvSpPr>
        <p:spPr>
          <a:xfrm>
            <a:off x="948207" y="3738518"/>
            <a:ext cx="433699" cy="338554"/>
          </a:xfrm>
          <a:prstGeom prst="rect">
            <a:avLst/>
          </a:prstGeom>
          <a:noFill/>
        </p:spPr>
        <p:txBody>
          <a:bodyPr wrap="square" rtlCol="0">
            <a:spAutoFit/>
          </a:bodyPr>
          <a:lstStyle/>
          <a:p>
            <a:r>
              <a:rPr lang="en-US" sz="1600" b="1" dirty="0">
                <a:solidFill>
                  <a:schemeClr val="bg1"/>
                </a:solidFill>
                <a:latin typeface="Ubuntu" panose="020B0504030602030204" pitchFamily="34" charset="0"/>
              </a:rPr>
              <a:t>3</a:t>
            </a:r>
          </a:p>
        </p:txBody>
      </p:sp>
      <p:sp>
        <p:nvSpPr>
          <p:cNvPr id="14" name="TextBox 13">
            <a:extLst>
              <a:ext uri="{FF2B5EF4-FFF2-40B4-BE49-F238E27FC236}">
                <a16:creationId xmlns:a16="http://schemas.microsoft.com/office/drawing/2014/main" id="{86335428-4C21-4445-BAEC-AF8BA9B1407B}"/>
              </a:ext>
            </a:extLst>
          </p:cNvPr>
          <p:cNvSpPr txBox="1"/>
          <p:nvPr/>
        </p:nvSpPr>
        <p:spPr>
          <a:xfrm>
            <a:off x="943515" y="4614810"/>
            <a:ext cx="312931" cy="349297"/>
          </a:xfrm>
          <a:prstGeom prst="rect">
            <a:avLst/>
          </a:prstGeom>
          <a:noFill/>
        </p:spPr>
        <p:txBody>
          <a:bodyPr wrap="square" rtlCol="0">
            <a:spAutoFit/>
          </a:bodyPr>
          <a:lstStyle/>
          <a:p>
            <a:r>
              <a:rPr lang="en-US" sz="1600" b="1" dirty="0">
                <a:solidFill>
                  <a:schemeClr val="bg1"/>
                </a:solidFill>
                <a:latin typeface="Ubuntu" panose="020B0504030602030204" pitchFamily="34" charset="0"/>
              </a:rPr>
              <a:t>4</a:t>
            </a:r>
          </a:p>
        </p:txBody>
      </p:sp>
    </p:spTree>
    <p:extLst>
      <p:ext uri="{BB962C8B-B14F-4D97-AF65-F5344CB8AC3E}">
        <p14:creationId xmlns:p14="http://schemas.microsoft.com/office/powerpoint/2010/main" val="37754909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19">
            <a:extLst>
              <a:ext uri="{FF2B5EF4-FFF2-40B4-BE49-F238E27FC236}">
                <a16:creationId xmlns:a16="http://schemas.microsoft.com/office/drawing/2014/main" id="{3C02D8BA-6268-404E-94F2-D9A2AD72D73D}"/>
              </a:ext>
            </a:extLst>
          </p:cNvPr>
          <p:cNvSpPr/>
          <p:nvPr/>
        </p:nvSpPr>
        <p:spPr>
          <a:xfrm>
            <a:off x="1" y="0"/>
            <a:ext cx="9124248" cy="685800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Graphic 7">
            <a:extLst>
              <a:ext uri="{FF2B5EF4-FFF2-40B4-BE49-F238E27FC236}">
                <a16:creationId xmlns:a16="http://schemas.microsoft.com/office/drawing/2014/main" id="{FFE68402-9A61-A74A-AFCE-F220673A60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5023" y="3238938"/>
            <a:ext cx="3581400" cy="3479800"/>
          </a:xfrm>
          <a:prstGeom prst="rect">
            <a:avLst/>
          </a:prstGeom>
        </p:spPr>
      </p:pic>
      <p:cxnSp>
        <p:nvCxnSpPr>
          <p:cNvPr id="111" name="Straight Connector 110">
            <a:extLst>
              <a:ext uri="{FF2B5EF4-FFF2-40B4-BE49-F238E27FC236}">
                <a16:creationId xmlns:a16="http://schemas.microsoft.com/office/drawing/2014/main" id="{CF69AB2A-E837-6B4E-853F-4F7836909AA0}"/>
              </a:ext>
            </a:extLst>
          </p:cNvPr>
          <p:cNvCxnSpPr>
            <a:cxnSpLocks/>
          </p:cNvCxnSpPr>
          <p:nvPr/>
        </p:nvCxnSpPr>
        <p:spPr>
          <a:xfrm flipV="1">
            <a:off x="2591783" y="4444822"/>
            <a:ext cx="0" cy="405532"/>
          </a:xfrm>
          <a:prstGeom prst="line">
            <a:avLst/>
          </a:prstGeom>
          <a:ln w="38100" cap="rnd">
            <a:gradFill>
              <a:gsLst>
                <a:gs pos="0">
                  <a:schemeClr val="accent1">
                    <a:lumMod val="5000"/>
                    <a:lumOff val="95000"/>
                  </a:schemeClr>
                </a:gs>
                <a:gs pos="44000">
                  <a:schemeClr val="bg1"/>
                </a:gs>
                <a:gs pos="83000">
                  <a:schemeClr val="accent2"/>
                </a:gs>
                <a:gs pos="100000">
                  <a:schemeClr val="accent2"/>
                </a:gs>
              </a:gsLst>
              <a:lin ang="5400000" scaled="1"/>
            </a:gradFill>
          </a:ln>
        </p:spPr>
        <p:style>
          <a:lnRef idx="1">
            <a:schemeClr val="accent1"/>
          </a:lnRef>
          <a:fillRef idx="0">
            <a:schemeClr val="accent1"/>
          </a:fillRef>
          <a:effectRef idx="0">
            <a:schemeClr val="accent1"/>
          </a:effectRef>
          <a:fontRef idx="minor">
            <a:schemeClr val="tx1"/>
          </a:fontRef>
        </p:style>
      </p:cxnSp>
      <p:sp>
        <p:nvSpPr>
          <p:cNvPr id="3" name="object 819">
            <a:extLst>
              <a:ext uri="{FF2B5EF4-FFF2-40B4-BE49-F238E27FC236}">
                <a16:creationId xmlns:a16="http://schemas.microsoft.com/office/drawing/2014/main" id="{168ED7B8-D0F9-E94C-AE8F-6A80CEA7B383}"/>
              </a:ext>
            </a:extLst>
          </p:cNvPr>
          <p:cNvSpPr/>
          <p:nvPr/>
        </p:nvSpPr>
        <p:spPr>
          <a:xfrm flipH="1">
            <a:off x="1504505" y="3048732"/>
            <a:ext cx="1713992" cy="1396090"/>
          </a:xfrm>
          <a:prstGeom prst="rect">
            <a:avLst/>
          </a:prstGeom>
          <a:blipFill>
            <a:blip r:embed="rId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sp>
        <p:nvSpPr>
          <p:cNvPr id="12" name="object 819">
            <a:extLst>
              <a:ext uri="{FF2B5EF4-FFF2-40B4-BE49-F238E27FC236}">
                <a16:creationId xmlns:a16="http://schemas.microsoft.com/office/drawing/2014/main" id="{403F3265-54EC-6940-BD34-99B9B4B51ED2}"/>
              </a:ext>
            </a:extLst>
          </p:cNvPr>
          <p:cNvSpPr/>
          <p:nvPr/>
        </p:nvSpPr>
        <p:spPr>
          <a:xfrm flipH="1">
            <a:off x="1079619" y="2811816"/>
            <a:ext cx="777765" cy="633509"/>
          </a:xfrm>
          <a:prstGeom prst="rect">
            <a:avLst/>
          </a:prstGeom>
          <a:blipFill>
            <a:blip r:embed="rId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pic>
        <p:nvPicPr>
          <p:cNvPr id="14" name="Graphic 13">
            <a:extLst>
              <a:ext uri="{FF2B5EF4-FFF2-40B4-BE49-F238E27FC236}">
                <a16:creationId xmlns:a16="http://schemas.microsoft.com/office/drawing/2014/main" id="{1057672C-4B78-4640-B9DD-29A195E12C3A}"/>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9676" t="12355" r="22595" b="16771"/>
          <a:stretch/>
        </p:blipFill>
        <p:spPr>
          <a:xfrm>
            <a:off x="1432497" y="2445829"/>
            <a:ext cx="1998993" cy="1998993"/>
          </a:xfrm>
          <a:prstGeom prst="rect">
            <a:avLst/>
          </a:prstGeom>
        </p:spPr>
      </p:pic>
      <p:sp>
        <p:nvSpPr>
          <p:cNvPr id="18" name="TextBox 17">
            <a:extLst>
              <a:ext uri="{FF2B5EF4-FFF2-40B4-BE49-F238E27FC236}">
                <a16:creationId xmlns:a16="http://schemas.microsoft.com/office/drawing/2014/main" id="{BC16D8BC-366B-C54D-BC1A-6D2EE1B03FB2}"/>
              </a:ext>
            </a:extLst>
          </p:cNvPr>
          <p:cNvSpPr txBox="1"/>
          <p:nvPr/>
        </p:nvSpPr>
        <p:spPr>
          <a:xfrm>
            <a:off x="2919749" y="4610447"/>
            <a:ext cx="1584176" cy="523220"/>
          </a:xfrm>
          <a:prstGeom prst="rect">
            <a:avLst/>
          </a:prstGeom>
          <a:noFill/>
        </p:spPr>
        <p:txBody>
          <a:bodyPr wrap="square" rtlCol="0">
            <a:spAutoFit/>
          </a:bodyPr>
          <a:lstStyle/>
          <a:p>
            <a:r>
              <a:rPr lang="en-US" sz="1400" b="1" dirty="0">
                <a:solidFill>
                  <a:schemeClr val="bg1"/>
                </a:solidFill>
                <a:latin typeface="Ubuntu" panose="020B0504030602030204" pitchFamily="34" charset="0"/>
              </a:rPr>
              <a:t>CloudBoost </a:t>
            </a:r>
          </a:p>
          <a:p>
            <a:r>
              <a:rPr lang="en-US" sz="1400" b="1" dirty="0">
                <a:solidFill>
                  <a:schemeClr val="bg1"/>
                </a:solidFill>
                <a:latin typeface="Ubuntu" panose="020B0504030602030204" pitchFamily="34" charset="0"/>
              </a:rPr>
              <a:t>Library</a:t>
            </a:r>
          </a:p>
        </p:txBody>
      </p:sp>
      <p:pic>
        <p:nvPicPr>
          <p:cNvPr id="42" name="Picture 41">
            <a:extLst>
              <a:ext uri="{FF2B5EF4-FFF2-40B4-BE49-F238E27FC236}">
                <a16:creationId xmlns:a16="http://schemas.microsoft.com/office/drawing/2014/main" id="{56D4D7B9-22B4-F045-B590-D9985023B97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97412" y="1172346"/>
            <a:ext cx="1341306" cy="942285"/>
          </a:xfrm>
          <a:prstGeom prst="rect">
            <a:avLst/>
          </a:prstGeom>
        </p:spPr>
      </p:pic>
      <p:pic>
        <p:nvPicPr>
          <p:cNvPr id="44" name="Picture 43">
            <a:extLst>
              <a:ext uri="{FF2B5EF4-FFF2-40B4-BE49-F238E27FC236}">
                <a16:creationId xmlns:a16="http://schemas.microsoft.com/office/drawing/2014/main" id="{242AB71B-F575-7A46-A0F0-02EFC509607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38858" y="3723966"/>
            <a:ext cx="1341306" cy="942285"/>
          </a:xfrm>
          <a:prstGeom prst="rect">
            <a:avLst/>
          </a:prstGeom>
        </p:spPr>
      </p:pic>
      <p:sp>
        <p:nvSpPr>
          <p:cNvPr id="49" name="TextBox 48">
            <a:extLst>
              <a:ext uri="{FF2B5EF4-FFF2-40B4-BE49-F238E27FC236}">
                <a16:creationId xmlns:a16="http://schemas.microsoft.com/office/drawing/2014/main" id="{4714AF9D-D730-D346-9718-AA4BED49CEFE}"/>
              </a:ext>
            </a:extLst>
          </p:cNvPr>
          <p:cNvSpPr txBox="1"/>
          <p:nvPr/>
        </p:nvSpPr>
        <p:spPr>
          <a:xfrm>
            <a:off x="5878467" y="4793899"/>
            <a:ext cx="1111707" cy="307777"/>
          </a:xfrm>
          <a:prstGeom prst="rect">
            <a:avLst/>
          </a:prstGeom>
          <a:noFill/>
        </p:spPr>
        <p:txBody>
          <a:bodyPr wrap="square" rtlCol="0">
            <a:spAutoFit/>
          </a:bodyPr>
          <a:lstStyle/>
          <a:p>
            <a:r>
              <a:rPr lang="en-US" sz="1400" b="1" dirty="0">
                <a:solidFill>
                  <a:schemeClr val="bg1"/>
                </a:solidFill>
                <a:latin typeface="Ubuntu" panose="020B0504030602030204" pitchFamily="34" charset="0"/>
              </a:rPr>
              <a:t>OneNative</a:t>
            </a:r>
          </a:p>
        </p:txBody>
      </p:sp>
      <p:sp>
        <p:nvSpPr>
          <p:cNvPr id="50" name="TextBox 49">
            <a:extLst>
              <a:ext uri="{FF2B5EF4-FFF2-40B4-BE49-F238E27FC236}">
                <a16:creationId xmlns:a16="http://schemas.microsoft.com/office/drawing/2014/main" id="{1B7AE217-06A9-C548-B52F-DEBF149B4566}"/>
              </a:ext>
            </a:extLst>
          </p:cNvPr>
          <p:cNvSpPr txBox="1"/>
          <p:nvPr/>
        </p:nvSpPr>
        <p:spPr>
          <a:xfrm>
            <a:off x="5654793" y="2288382"/>
            <a:ext cx="1256546" cy="307777"/>
          </a:xfrm>
          <a:prstGeom prst="rect">
            <a:avLst/>
          </a:prstGeom>
          <a:noFill/>
        </p:spPr>
        <p:txBody>
          <a:bodyPr wrap="square" rtlCol="0">
            <a:spAutoFit/>
          </a:bodyPr>
          <a:lstStyle/>
          <a:p>
            <a:r>
              <a:rPr lang="en-US" sz="1400" b="1" dirty="0">
                <a:solidFill>
                  <a:schemeClr val="bg1"/>
                </a:solidFill>
                <a:latin typeface="Ubuntu" panose="020B0504030602030204" pitchFamily="34" charset="0"/>
              </a:rPr>
              <a:t>OneMigrate</a:t>
            </a:r>
          </a:p>
        </p:txBody>
      </p:sp>
      <p:sp>
        <p:nvSpPr>
          <p:cNvPr id="6" name="Freeform 5">
            <a:extLst>
              <a:ext uri="{FF2B5EF4-FFF2-40B4-BE49-F238E27FC236}">
                <a16:creationId xmlns:a16="http://schemas.microsoft.com/office/drawing/2014/main" id="{9E3AA5DA-E5B8-A14D-B99F-80EA449A8B40}"/>
              </a:ext>
            </a:extLst>
          </p:cNvPr>
          <p:cNvSpPr/>
          <p:nvPr/>
        </p:nvSpPr>
        <p:spPr>
          <a:xfrm>
            <a:off x="2054611" y="1595696"/>
            <a:ext cx="3196281" cy="1212859"/>
          </a:xfrm>
          <a:custGeom>
            <a:avLst/>
            <a:gdLst>
              <a:gd name="connsiteX0" fmla="*/ 0 w 3196281"/>
              <a:gd name="connsiteY0" fmla="*/ 1212859 h 1212859"/>
              <a:gd name="connsiteX1" fmla="*/ 799071 w 3196281"/>
              <a:gd name="connsiteY1" fmla="*/ 117227 h 1212859"/>
              <a:gd name="connsiteX2" fmla="*/ 3196281 w 3196281"/>
              <a:gd name="connsiteY2" fmla="*/ 43086 h 1212859"/>
            </a:gdLst>
            <a:ahLst/>
            <a:cxnLst>
              <a:cxn ang="0">
                <a:pos x="connsiteX0" y="connsiteY0"/>
              </a:cxn>
              <a:cxn ang="0">
                <a:pos x="connsiteX1" y="connsiteY1"/>
              </a:cxn>
              <a:cxn ang="0">
                <a:pos x="connsiteX2" y="connsiteY2"/>
              </a:cxn>
            </a:cxnLst>
            <a:rect l="l" t="t" r="r" b="b"/>
            <a:pathLst>
              <a:path w="3196281" h="1212859">
                <a:moveTo>
                  <a:pt x="0" y="1212859"/>
                </a:moveTo>
                <a:cubicBezTo>
                  <a:pt x="133179" y="762524"/>
                  <a:pt x="266358" y="312189"/>
                  <a:pt x="799071" y="117227"/>
                </a:cubicBezTo>
                <a:cubicBezTo>
                  <a:pt x="1331785" y="-77735"/>
                  <a:pt x="2828324" y="25237"/>
                  <a:pt x="3196281" y="43086"/>
                </a:cubicBezTo>
              </a:path>
            </a:pathLst>
          </a:custGeom>
          <a:noFill/>
          <a:ln w="38100">
            <a:solidFill>
              <a:schemeClr val="bg1"/>
            </a:solid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6">
            <a:extLst>
              <a:ext uri="{FF2B5EF4-FFF2-40B4-BE49-F238E27FC236}">
                <a16:creationId xmlns:a16="http://schemas.microsoft.com/office/drawing/2014/main" id="{2AEC232C-D6BA-CF41-A5EF-13C02FA604C3}"/>
              </a:ext>
            </a:extLst>
          </p:cNvPr>
          <p:cNvSpPr/>
          <p:nvPr/>
        </p:nvSpPr>
        <p:spPr>
          <a:xfrm>
            <a:off x="3380903" y="3846523"/>
            <a:ext cx="2054899" cy="385637"/>
          </a:xfrm>
          <a:custGeom>
            <a:avLst/>
            <a:gdLst>
              <a:gd name="connsiteX0" fmla="*/ 0 w 2265406"/>
              <a:gd name="connsiteY0" fmla="*/ 0 h 385637"/>
              <a:gd name="connsiteX1" fmla="*/ 1153297 w 2265406"/>
              <a:gd name="connsiteY1" fmla="*/ 378940 h 385637"/>
              <a:gd name="connsiteX2" fmla="*/ 2265406 w 2265406"/>
              <a:gd name="connsiteY2" fmla="*/ 205946 h 385637"/>
            </a:gdLst>
            <a:ahLst/>
            <a:cxnLst>
              <a:cxn ang="0">
                <a:pos x="connsiteX0" y="connsiteY0"/>
              </a:cxn>
              <a:cxn ang="0">
                <a:pos x="connsiteX1" y="connsiteY1"/>
              </a:cxn>
              <a:cxn ang="0">
                <a:pos x="connsiteX2" y="connsiteY2"/>
              </a:cxn>
            </a:cxnLst>
            <a:rect l="l" t="t" r="r" b="b"/>
            <a:pathLst>
              <a:path w="2265406" h="385637">
                <a:moveTo>
                  <a:pt x="0" y="0"/>
                </a:moveTo>
                <a:cubicBezTo>
                  <a:pt x="387864" y="172308"/>
                  <a:pt x="775729" y="344616"/>
                  <a:pt x="1153297" y="378940"/>
                </a:cubicBezTo>
                <a:cubicBezTo>
                  <a:pt x="1530865" y="413264"/>
                  <a:pt x="1898135" y="309605"/>
                  <a:pt x="2265406" y="205946"/>
                </a:cubicBezTo>
              </a:path>
            </a:pathLst>
          </a:custGeom>
          <a:noFill/>
          <a:ln w="38100">
            <a:solidFill>
              <a:schemeClr val="bg1"/>
            </a:solidFill>
            <a:headEnd type="oval"/>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TextBox 33">
            <a:extLst>
              <a:ext uri="{FF2B5EF4-FFF2-40B4-BE49-F238E27FC236}">
                <a16:creationId xmlns:a16="http://schemas.microsoft.com/office/drawing/2014/main" id="{DCE2EDC3-8D10-5146-A2E8-0734F16BAEDC}"/>
              </a:ext>
            </a:extLst>
          </p:cNvPr>
          <p:cNvSpPr txBox="1"/>
          <p:nvPr/>
        </p:nvSpPr>
        <p:spPr>
          <a:xfrm>
            <a:off x="9526924" y="3346369"/>
            <a:ext cx="2010248" cy="400110"/>
          </a:xfrm>
          <a:prstGeom prst="rect">
            <a:avLst/>
          </a:prstGeom>
          <a:noFill/>
        </p:spPr>
        <p:txBody>
          <a:bodyPr wrap="square" rtlCol="0">
            <a:spAutoFit/>
          </a:bodyPr>
          <a:lstStyle/>
          <a:p>
            <a:r>
              <a:rPr lang="en-US" sz="2000" b="1" dirty="0">
                <a:solidFill>
                  <a:schemeClr val="accent2"/>
                </a:solidFill>
                <a:latin typeface="Ubuntu" panose="020B0504030602030204" pitchFamily="34" charset="0"/>
              </a:rPr>
              <a:t>CSP</a:t>
            </a:r>
          </a:p>
        </p:txBody>
      </p:sp>
      <p:sp>
        <p:nvSpPr>
          <p:cNvPr id="36" name="TextBox 35">
            <a:extLst>
              <a:ext uri="{FF2B5EF4-FFF2-40B4-BE49-F238E27FC236}">
                <a16:creationId xmlns:a16="http://schemas.microsoft.com/office/drawing/2014/main" id="{71ABC431-D76C-3941-97D8-0883DAED5FB8}"/>
              </a:ext>
            </a:extLst>
          </p:cNvPr>
          <p:cNvSpPr txBox="1"/>
          <p:nvPr/>
        </p:nvSpPr>
        <p:spPr>
          <a:xfrm>
            <a:off x="9533559" y="4609829"/>
            <a:ext cx="2261464" cy="400110"/>
          </a:xfrm>
          <a:prstGeom prst="rect">
            <a:avLst/>
          </a:prstGeom>
          <a:noFill/>
        </p:spPr>
        <p:txBody>
          <a:bodyPr wrap="square" rtlCol="0">
            <a:spAutoFit/>
          </a:bodyPr>
          <a:lstStyle/>
          <a:p>
            <a:r>
              <a:rPr lang="en-US" sz="2000" b="1" dirty="0">
                <a:solidFill>
                  <a:schemeClr val="accent2"/>
                </a:solidFill>
                <a:latin typeface="Ubuntu" panose="020B0504030602030204" pitchFamily="34" charset="0"/>
              </a:rPr>
              <a:t>Cloud Platform</a:t>
            </a:r>
          </a:p>
        </p:txBody>
      </p:sp>
      <p:pic>
        <p:nvPicPr>
          <p:cNvPr id="39" name="Picture 38">
            <a:extLst>
              <a:ext uri="{FF2B5EF4-FFF2-40B4-BE49-F238E27FC236}">
                <a16:creationId xmlns:a16="http://schemas.microsoft.com/office/drawing/2014/main" id="{BF10D9CB-C20B-E147-AE90-3BCE626CE45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58624" y="3425065"/>
            <a:ext cx="1117735" cy="829789"/>
          </a:xfrm>
          <a:prstGeom prst="rect">
            <a:avLst/>
          </a:prstGeom>
        </p:spPr>
      </p:pic>
      <p:pic>
        <p:nvPicPr>
          <p:cNvPr id="41" name="Graphic 40">
            <a:extLst>
              <a:ext uri="{FF2B5EF4-FFF2-40B4-BE49-F238E27FC236}">
                <a16:creationId xmlns:a16="http://schemas.microsoft.com/office/drawing/2014/main" id="{F41187A2-410A-0841-A0D2-92B6941FEA51}"/>
              </a:ext>
            </a:extLst>
          </p:cNvPr>
          <p:cNvPicPr>
            <a:picLocks noChangeAspect="1"/>
          </p:cNvPicPr>
          <p:nvPr/>
        </p:nvPicPr>
        <p:blipFill rotWithShape="1">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rcRect l="8837" t="17602" r="13232" b="25699"/>
          <a:stretch/>
        </p:blipFill>
        <p:spPr>
          <a:xfrm>
            <a:off x="5116036" y="4286193"/>
            <a:ext cx="775730" cy="539349"/>
          </a:xfrm>
          <a:prstGeom prst="rect">
            <a:avLst/>
          </a:prstGeom>
        </p:spPr>
      </p:pic>
      <p:pic>
        <p:nvPicPr>
          <p:cNvPr id="43" name="Graphic 42">
            <a:extLst>
              <a:ext uri="{FF2B5EF4-FFF2-40B4-BE49-F238E27FC236}">
                <a16:creationId xmlns:a16="http://schemas.microsoft.com/office/drawing/2014/main" id="{63F2C0E7-9DBB-3D4B-BF3A-9FF289FB0BA4}"/>
              </a:ext>
            </a:extLst>
          </p:cNvPr>
          <p:cNvPicPr>
            <a:picLocks noChangeAspect="1"/>
          </p:cNvPicPr>
          <p:nvPr/>
        </p:nvPicPr>
        <p:blipFill rotWithShape="1">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rcRect l="8837" t="17602" r="13232" b="25699"/>
          <a:stretch/>
        </p:blipFill>
        <p:spPr>
          <a:xfrm>
            <a:off x="5029912" y="1767257"/>
            <a:ext cx="775730" cy="539349"/>
          </a:xfrm>
          <a:prstGeom prst="rect">
            <a:avLst/>
          </a:prstGeom>
        </p:spPr>
      </p:pic>
      <p:sp>
        <p:nvSpPr>
          <p:cNvPr id="29" name="TextBox 28">
            <a:extLst>
              <a:ext uri="{FF2B5EF4-FFF2-40B4-BE49-F238E27FC236}">
                <a16:creationId xmlns:a16="http://schemas.microsoft.com/office/drawing/2014/main" id="{518CD4D9-4305-A645-8FA8-F516F04EF4BD}"/>
              </a:ext>
            </a:extLst>
          </p:cNvPr>
          <p:cNvSpPr txBox="1"/>
          <p:nvPr/>
        </p:nvSpPr>
        <p:spPr>
          <a:xfrm>
            <a:off x="1984444" y="4354697"/>
            <a:ext cx="223124" cy="400110"/>
          </a:xfrm>
          <a:prstGeom prst="rect">
            <a:avLst/>
          </a:prstGeom>
          <a:noFill/>
        </p:spPr>
        <p:txBody>
          <a:bodyPr wrap="square" rtlCol="0">
            <a:spAutoFit/>
          </a:bodyPr>
          <a:lstStyle/>
          <a:p>
            <a:r>
              <a:rPr lang="en-US" sz="2000" b="1" dirty="0">
                <a:solidFill>
                  <a:schemeClr val="bg1"/>
                </a:solidFill>
                <a:latin typeface="Ubuntu" panose="020B0504030602030204" pitchFamily="34" charset="0"/>
              </a:rPr>
              <a:t>1</a:t>
            </a:r>
          </a:p>
        </p:txBody>
      </p:sp>
      <p:sp>
        <p:nvSpPr>
          <p:cNvPr id="23" name="TextBox 22">
            <a:extLst>
              <a:ext uri="{FF2B5EF4-FFF2-40B4-BE49-F238E27FC236}">
                <a16:creationId xmlns:a16="http://schemas.microsoft.com/office/drawing/2014/main" id="{3F0D9BCE-5C1C-D840-A987-DAC0A5F9CED3}"/>
              </a:ext>
            </a:extLst>
          </p:cNvPr>
          <p:cNvSpPr txBox="1"/>
          <p:nvPr/>
        </p:nvSpPr>
        <p:spPr>
          <a:xfrm>
            <a:off x="5250892" y="1823119"/>
            <a:ext cx="223124" cy="400110"/>
          </a:xfrm>
          <a:prstGeom prst="rect">
            <a:avLst/>
          </a:prstGeom>
          <a:noFill/>
        </p:spPr>
        <p:txBody>
          <a:bodyPr wrap="square" rtlCol="0">
            <a:spAutoFit/>
          </a:bodyPr>
          <a:lstStyle/>
          <a:p>
            <a:r>
              <a:rPr lang="en-US" sz="2000" b="1" dirty="0">
                <a:solidFill>
                  <a:schemeClr val="bg1"/>
                </a:solidFill>
                <a:latin typeface="Ubuntu" panose="020B0504030602030204" pitchFamily="34" charset="0"/>
              </a:rPr>
              <a:t>2</a:t>
            </a:r>
          </a:p>
        </p:txBody>
      </p:sp>
      <p:sp>
        <p:nvSpPr>
          <p:cNvPr id="46" name="TextBox 45">
            <a:extLst>
              <a:ext uri="{FF2B5EF4-FFF2-40B4-BE49-F238E27FC236}">
                <a16:creationId xmlns:a16="http://schemas.microsoft.com/office/drawing/2014/main" id="{3AA28B94-D30E-534C-84A5-CCA2C17E6E51}"/>
              </a:ext>
            </a:extLst>
          </p:cNvPr>
          <p:cNvSpPr txBox="1"/>
          <p:nvPr/>
        </p:nvSpPr>
        <p:spPr>
          <a:xfrm>
            <a:off x="5347333" y="4340659"/>
            <a:ext cx="223124" cy="400110"/>
          </a:xfrm>
          <a:prstGeom prst="rect">
            <a:avLst/>
          </a:prstGeom>
          <a:noFill/>
        </p:spPr>
        <p:txBody>
          <a:bodyPr wrap="square" rtlCol="0">
            <a:spAutoFit/>
          </a:bodyPr>
          <a:lstStyle/>
          <a:p>
            <a:r>
              <a:rPr lang="en-US" sz="2000" b="1" dirty="0">
                <a:solidFill>
                  <a:schemeClr val="bg1"/>
                </a:solidFill>
                <a:latin typeface="Ubuntu" panose="020B0504030602030204" pitchFamily="34" charset="0"/>
              </a:rPr>
              <a:t>3</a:t>
            </a:r>
          </a:p>
        </p:txBody>
      </p:sp>
      <p:sp>
        <p:nvSpPr>
          <p:cNvPr id="55" name="TextBox 54">
            <a:extLst>
              <a:ext uri="{FF2B5EF4-FFF2-40B4-BE49-F238E27FC236}">
                <a16:creationId xmlns:a16="http://schemas.microsoft.com/office/drawing/2014/main" id="{1D728CA5-4DB9-F648-9628-8703D1144C4B}"/>
              </a:ext>
            </a:extLst>
          </p:cNvPr>
          <p:cNvSpPr txBox="1"/>
          <p:nvPr/>
        </p:nvSpPr>
        <p:spPr>
          <a:xfrm>
            <a:off x="-628976" y="5745786"/>
            <a:ext cx="223124" cy="400110"/>
          </a:xfrm>
          <a:prstGeom prst="rect">
            <a:avLst/>
          </a:prstGeom>
          <a:noFill/>
        </p:spPr>
        <p:txBody>
          <a:bodyPr wrap="square" rtlCol="0">
            <a:spAutoFit/>
          </a:bodyPr>
          <a:lstStyle/>
          <a:p>
            <a:r>
              <a:rPr lang="en-US" sz="2000" b="1" dirty="0">
                <a:solidFill>
                  <a:schemeClr val="bg1"/>
                </a:solidFill>
                <a:latin typeface="Ubuntu" panose="020B0504030602030204" pitchFamily="34" charset="0"/>
              </a:rPr>
              <a:t>1</a:t>
            </a:r>
          </a:p>
        </p:txBody>
      </p:sp>
      <p:sp>
        <p:nvSpPr>
          <p:cNvPr id="56" name="TextBox 55">
            <a:extLst>
              <a:ext uri="{FF2B5EF4-FFF2-40B4-BE49-F238E27FC236}">
                <a16:creationId xmlns:a16="http://schemas.microsoft.com/office/drawing/2014/main" id="{DCABF864-6F4C-4F4D-AF02-07F02E64CF7A}"/>
              </a:ext>
            </a:extLst>
          </p:cNvPr>
          <p:cNvSpPr txBox="1"/>
          <p:nvPr/>
        </p:nvSpPr>
        <p:spPr>
          <a:xfrm>
            <a:off x="5152864" y="2581162"/>
            <a:ext cx="2283872" cy="430887"/>
          </a:xfrm>
          <a:prstGeom prst="rect">
            <a:avLst/>
          </a:prstGeom>
          <a:noFill/>
        </p:spPr>
        <p:txBody>
          <a:bodyPr wrap="square" rtlCol="0">
            <a:spAutoFit/>
          </a:bodyPr>
          <a:lstStyle/>
          <a:p>
            <a:pPr algn="ctr"/>
            <a:r>
              <a:rPr lang="en-US" sz="1100" dirty="0">
                <a:solidFill>
                  <a:schemeClr val="bg1"/>
                </a:solidFill>
                <a:latin typeface="Ubuntu" panose="020B0504030602030204" pitchFamily="34" charset="0"/>
              </a:rPr>
              <a:t>Modernize &amp; Migrate your existing applications</a:t>
            </a:r>
          </a:p>
        </p:txBody>
      </p:sp>
      <p:sp>
        <p:nvSpPr>
          <p:cNvPr id="57" name="TextBox 56">
            <a:extLst>
              <a:ext uri="{FF2B5EF4-FFF2-40B4-BE49-F238E27FC236}">
                <a16:creationId xmlns:a16="http://schemas.microsoft.com/office/drawing/2014/main" id="{E76F6350-0A85-0B48-A536-29066636D2CF}"/>
              </a:ext>
            </a:extLst>
          </p:cNvPr>
          <p:cNvSpPr txBox="1"/>
          <p:nvPr/>
        </p:nvSpPr>
        <p:spPr>
          <a:xfrm>
            <a:off x="5299364" y="5020582"/>
            <a:ext cx="2283872" cy="600164"/>
          </a:xfrm>
          <a:prstGeom prst="rect">
            <a:avLst/>
          </a:prstGeom>
          <a:noFill/>
        </p:spPr>
        <p:txBody>
          <a:bodyPr wrap="square" rtlCol="0">
            <a:spAutoFit/>
          </a:bodyPr>
          <a:lstStyle/>
          <a:p>
            <a:pPr algn="ctr"/>
            <a:r>
              <a:rPr lang="en-US" sz="1100" dirty="0">
                <a:solidFill>
                  <a:schemeClr val="bg1"/>
                </a:solidFill>
                <a:latin typeface="Ubuntu" panose="020B0504030602030204" pitchFamily="34" charset="0"/>
              </a:rPr>
              <a:t>Innovate, build new applications and get agility in your business by building Cloud Native apps </a:t>
            </a:r>
          </a:p>
        </p:txBody>
      </p:sp>
      <p:sp>
        <p:nvSpPr>
          <p:cNvPr id="58" name="TextBox 57">
            <a:extLst>
              <a:ext uri="{FF2B5EF4-FFF2-40B4-BE49-F238E27FC236}">
                <a16:creationId xmlns:a16="http://schemas.microsoft.com/office/drawing/2014/main" id="{163505F1-A504-214F-ADA0-96D37EA99C17}"/>
              </a:ext>
            </a:extLst>
          </p:cNvPr>
          <p:cNvSpPr txBox="1"/>
          <p:nvPr/>
        </p:nvSpPr>
        <p:spPr>
          <a:xfrm>
            <a:off x="9535063" y="3693184"/>
            <a:ext cx="2283872" cy="938719"/>
          </a:xfrm>
          <a:prstGeom prst="rect">
            <a:avLst/>
          </a:prstGeom>
          <a:noFill/>
        </p:spPr>
        <p:txBody>
          <a:bodyPr wrap="square" rtlCol="0">
            <a:spAutoFit/>
          </a:bodyPr>
          <a:lstStyle/>
          <a:p>
            <a:r>
              <a:rPr lang="en-US" sz="1100" dirty="0">
                <a:solidFill>
                  <a:srgbClr val="5D696B"/>
                </a:solidFill>
                <a:latin typeface="Ubuntu" panose="020B0504030602030204" pitchFamily="34" charset="0"/>
              </a:rPr>
              <a:t>Through Managed Services and Cloud Solution Provider agreements with Microsoft we can provide Pay as you go billing + we handle it all</a:t>
            </a:r>
          </a:p>
        </p:txBody>
      </p:sp>
      <p:sp>
        <p:nvSpPr>
          <p:cNvPr id="59" name="TextBox 58">
            <a:extLst>
              <a:ext uri="{FF2B5EF4-FFF2-40B4-BE49-F238E27FC236}">
                <a16:creationId xmlns:a16="http://schemas.microsoft.com/office/drawing/2014/main" id="{3992EAFB-B7C5-BB4F-9903-CBC4D206AAF3}"/>
              </a:ext>
            </a:extLst>
          </p:cNvPr>
          <p:cNvSpPr txBox="1"/>
          <p:nvPr/>
        </p:nvSpPr>
        <p:spPr>
          <a:xfrm>
            <a:off x="9549768" y="4889777"/>
            <a:ext cx="2283872" cy="430887"/>
          </a:xfrm>
          <a:prstGeom prst="rect">
            <a:avLst/>
          </a:prstGeom>
          <a:noFill/>
        </p:spPr>
        <p:txBody>
          <a:bodyPr wrap="square" rtlCol="0">
            <a:spAutoFit/>
          </a:bodyPr>
          <a:lstStyle/>
          <a:p>
            <a:r>
              <a:rPr lang="en-US" sz="1100" dirty="0">
                <a:solidFill>
                  <a:srgbClr val="5D696B"/>
                </a:solidFill>
                <a:latin typeface="Ubuntu" panose="020B0504030602030204" pitchFamily="34" charset="0"/>
              </a:rPr>
              <a:t>The ready to go transformation platform we put you on </a:t>
            </a:r>
          </a:p>
        </p:txBody>
      </p:sp>
      <p:sp>
        <p:nvSpPr>
          <p:cNvPr id="62" name="TextBox 61">
            <a:extLst>
              <a:ext uri="{FF2B5EF4-FFF2-40B4-BE49-F238E27FC236}">
                <a16:creationId xmlns:a16="http://schemas.microsoft.com/office/drawing/2014/main" id="{3A6F3EAE-B06A-C54C-B8E6-D9C83C3F84F7}"/>
              </a:ext>
            </a:extLst>
          </p:cNvPr>
          <p:cNvSpPr txBox="1"/>
          <p:nvPr/>
        </p:nvSpPr>
        <p:spPr>
          <a:xfrm>
            <a:off x="549907" y="400462"/>
            <a:ext cx="5020550" cy="1077218"/>
          </a:xfrm>
          <a:prstGeom prst="rect">
            <a:avLst/>
          </a:prstGeom>
          <a:noFill/>
        </p:spPr>
        <p:txBody>
          <a:bodyPr wrap="square" rtlCol="0">
            <a:spAutoFit/>
          </a:bodyPr>
          <a:lstStyle/>
          <a:p>
            <a:r>
              <a:rPr lang="en-US" sz="3200" b="1" dirty="0">
                <a:solidFill>
                  <a:schemeClr val="bg1"/>
                </a:solidFill>
                <a:latin typeface="Ubuntu" panose="020B0504030602030204" pitchFamily="34" charset="0"/>
              </a:rPr>
              <a:t>How it works for the whole Cloud  Journey…</a:t>
            </a:r>
          </a:p>
        </p:txBody>
      </p:sp>
      <p:grpSp>
        <p:nvGrpSpPr>
          <p:cNvPr id="38" name="Group 37">
            <a:extLst>
              <a:ext uri="{FF2B5EF4-FFF2-40B4-BE49-F238E27FC236}">
                <a16:creationId xmlns:a16="http://schemas.microsoft.com/office/drawing/2014/main" id="{0BAE45EC-E0BF-194D-8277-34F257386B40}"/>
              </a:ext>
            </a:extLst>
          </p:cNvPr>
          <p:cNvGrpSpPr/>
          <p:nvPr/>
        </p:nvGrpSpPr>
        <p:grpSpPr>
          <a:xfrm>
            <a:off x="9861039" y="1860882"/>
            <a:ext cx="1249187" cy="1373552"/>
            <a:chOff x="8843873" y="1221735"/>
            <a:chExt cx="2533217" cy="2785416"/>
          </a:xfrm>
        </p:grpSpPr>
        <p:sp>
          <p:nvSpPr>
            <p:cNvPr id="40" name="object 9">
              <a:extLst>
                <a:ext uri="{FF2B5EF4-FFF2-40B4-BE49-F238E27FC236}">
                  <a16:creationId xmlns:a16="http://schemas.microsoft.com/office/drawing/2014/main" id="{9C110426-554C-8140-B508-2856A7480A13}"/>
                </a:ext>
              </a:extLst>
            </p:cNvPr>
            <p:cNvSpPr/>
            <p:nvPr/>
          </p:nvSpPr>
          <p:spPr>
            <a:xfrm>
              <a:off x="9251774" y="1873495"/>
              <a:ext cx="1773987" cy="2133656"/>
            </a:xfrm>
            <a:prstGeom prst="rect">
              <a:avLst/>
            </a:prstGeom>
            <a:blipFill>
              <a:blip r:embed="rId11" cstate="print">
                <a:extLst>
                  <a:ext uri="{28A0092B-C50C-407E-A947-70E740481C1C}">
                    <a14:useLocalDpi xmlns:a14="http://schemas.microsoft.com/office/drawing/2010/main"/>
                  </a:ext>
                </a:extLst>
              </a:blip>
              <a:stretch>
                <a:fillRect/>
              </a:stretch>
            </a:blipFill>
          </p:spPr>
          <p:txBody>
            <a:bodyPr wrap="square" lIns="0" tIns="0" rIns="0" bIns="0" rtlCol="0"/>
            <a:lstStyle/>
            <a:p>
              <a:endParaRPr lang="en-GB" dirty="0">
                <a:latin typeface="Ubuntu Light" panose="020B0604020202020204" charset="0"/>
              </a:endParaRPr>
            </a:p>
          </p:txBody>
        </p:sp>
        <p:sp>
          <p:nvSpPr>
            <p:cNvPr id="45" name="object 15">
              <a:extLst>
                <a:ext uri="{FF2B5EF4-FFF2-40B4-BE49-F238E27FC236}">
                  <a16:creationId xmlns:a16="http://schemas.microsoft.com/office/drawing/2014/main" id="{CAAC1078-2790-0649-97D8-AC0410B5DE58}"/>
                </a:ext>
              </a:extLst>
            </p:cNvPr>
            <p:cNvSpPr/>
            <p:nvPr/>
          </p:nvSpPr>
          <p:spPr>
            <a:xfrm>
              <a:off x="8843873" y="1645234"/>
              <a:ext cx="1200601" cy="1713739"/>
            </a:xfrm>
            <a:prstGeom prst="rect">
              <a:avLst/>
            </a:prstGeom>
            <a:blipFill>
              <a:blip r:embed="rId12" cstate="print">
                <a:extLst>
                  <a:ext uri="{28A0092B-C50C-407E-A947-70E740481C1C}">
                    <a14:useLocalDpi xmlns:a14="http://schemas.microsoft.com/office/drawing/2010/main"/>
                  </a:ext>
                </a:extLst>
              </a:blip>
              <a:stretch>
                <a:fillRect/>
              </a:stretch>
            </a:blipFill>
          </p:spPr>
          <p:txBody>
            <a:bodyPr wrap="square" lIns="0" tIns="0" rIns="0" bIns="0" rtlCol="0"/>
            <a:lstStyle/>
            <a:p>
              <a:endParaRPr lang="en-GB" dirty="0">
                <a:latin typeface="Ubuntu Light" panose="020B0604020202020204" charset="0"/>
              </a:endParaRPr>
            </a:p>
          </p:txBody>
        </p:sp>
        <p:pic>
          <p:nvPicPr>
            <p:cNvPr id="47" name="Picture 46">
              <a:extLst>
                <a:ext uri="{FF2B5EF4-FFF2-40B4-BE49-F238E27FC236}">
                  <a16:creationId xmlns:a16="http://schemas.microsoft.com/office/drawing/2014/main" id="{F8A0C47E-BB3A-8644-9219-8EC1AFCFE68B}"/>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10138762" y="1221735"/>
              <a:ext cx="1238328" cy="1651104"/>
            </a:xfrm>
            <a:prstGeom prst="rect">
              <a:avLst/>
            </a:prstGeom>
          </p:spPr>
        </p:pic>
      </p:grpSp>
      <p:sp>
        <p:nvSpPr>
          <p:cNvPr id="48" name="object 819">
            <a:extLst>
              <a:ext uri="{FF2B5EF4-FFF2-40B4-BE49-F238E27FC236}">
                <a16:creationId xmlns:a16="http://schemas.microsoft.com/office/drawing/2014/main" id="{F4D8D399-59C5-FC44-BC90-C9DC55563F3F}"/>
              </a:ext>
            </a:extLst>
          </p:cNvPr>
          <p:cNvSpPr/>
          <p:nvPr/>
        </p:nvSpPr>
        <p:spPr>
          <a:xfrm flipH="1">
            <a:off x="9846641" y="1976762"/>
            <a:ext cx="375927" cy="306202"/>
          </a:xfrm>
          <a:prstGeom prst="rect">
            <a:avLst/>
          </a:prstGeom>
          <a:blipFill>
            <a:blip r:embed="rId4" cstate="print">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p>
        </p:txBody>
      </p:sp>
      <p:pic>
        <p:nvPicPr>
          <p:cNvPr id="61" name="Picture 60">
            <a:extLst>
              <a:ext uri="{FF2B5EF4-FFF2-40B4-BE49-F238E27FC236}">
                <a16:creationId xmlns:a16="http://schemas.microsoft.com/office/drawing/2014/main" id="{668D8C9C-BFA4-C349-BFD3-79F700B51B1C}"/>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812504" y="969342"/>
            <a:ext cx="1040872" cy="797915"/>
          </a:xfrm>
          <a:prstGeom prst="rect">
            <a:avLst/>
          </a:prstGeom>
        </p:spPr>
      </p:pic>
      <p:sp>
        <p:nvSpPr>
          <p:cNvPr id="104" name="TextBox 103">
            <a:extLst>
              <a:ext uri="{FF2B5EF4-FFF2-40B4-BE49-F238E27FC236}">
                <a16:creationId xmlns:a16="http://schemas.microsoft.com/office/drawing/2014/main" id="{C7629B46-9B9F-0747-86A8-A961A9AA65ED}"/>
              </a:ext>
            </a:extLst>
          </p:cNvPr>
          <p:cNvSpPr txBox="1"/>
          <p:nvPr/>
        </p:nvSpPr>
        <p:spPr>
          <a:xfrm>
            <a:off x="2437676" y="2065049"/>
            <a:ext cx="2617789" cy="569387"/>
          </a:xfrm>
          <a:prstGeom prst="rect">
            <a:avLst/>
          </a:prstGeom>
          <a:noFill/>
        </p:spPr>
        <p:txBody>
          <a:bodyPr wrap="square" rtlCol="0">
            <a:spAutoFit/>
          </a:bodyPr>
          <a:lstStyle/>
          <a:p>
            <a:pPr algn="ctr"/>
            <a:r>
              <a:rPr lang="en-US" sz="1100" dirty="0">
                <a:solidFill>
                  <a:schemeClr val="bg1"/>
                </a:solidFill>
                <a:latin typeface="Ubuntu" panose="020B0504030602030204" pitchFamily="34" charset="0"/>
              </a:rPr>
              <a:t>HELP ME </a:t>
            </a:r>
            <a:r>
              <a:rPr lang="en-US" sz="2000" b="1" dirty="0">
                <a:solidFill>
                  <a:srgbClr val="FF5135"/>
                </a:solidFill>
                <a:latin typeface="Ubuntu" panose="020B0504030602030204" pitchFamily="34" charset="0"/>
              </a:rPr>
              <a:t>MOVE </a:t>
            </a:r>
            <a:endParaRPr lang="en-US" sz="1100" b="1" dirty="0">
              <a:solidFill>
                <a:schemeClr val="accent2"/>
              </a:solidFill>
              <a:latin typeface="Ubuntu" panose="020B0504030602030204" pitchFamily="34" charset="0"/>
            </a:endParaRPr>
          </a:p>
          <a:p>
            <a:pPr algn="ctr"/>
            <a:r>
              <a:rPr lang="en-US" sz="1100" dirty="0">
                <a:solidFill>
                  <a:schemeClr val="bg1"/>
                </a:solidFill>
                <a:latin typeface="Ubuntu" panose="020B0504030602030204" pitchFamily="34" charset="0"/>
              </a:rPr>
              <a:t>TO THE CLOUD</a:t>
            </a:r>
          </a:p>
        </p:txBody>
      </p:sp>
      <p:sp>
        <p:nvSpPr>
          <p:cNvPr id="106" name="TextBox 105">
            <a:extLst>
              <a:ext uri="{FF2B5EF4-FFF2-40B4-BE49-F238E27FC236}">
                <a16:creationId xmlns:a16="http://schemas.microsoft.com/office/drawing/2014/main" id="{AC71D6C4-7843-4B47-BA89-A403E43D2971}"/>
              </a:ext>
            </a:extLst>
          </p:cNvPr>
          <p:cNvSpPr txBox="1"/>
          <p:nvPr/>
        </p:nvSpPr>
        <p:spPr>
          <a:xfrm>
            <a:off x="3390987" y="3300140"/>
            <a:ext cx="2283872" cy="569387"/>
          </a:xfrm>
          <a:prstGeom prst="rect">
            <a:avLst/>
          </a:prstGeom>
          <a:noFill/>
        </p:spPr>
        <p:txBody>
          <a:bodyPr wrap="square" rtlCol="0">
            <a:spAutoFit/>
          </a:bodyPr>
          <a:lstStyle/>
          <a:p>
            <a:pPr algn="ctr"/>
            <a:r>
              <a:rPr lang="en-US" sz="1100" dirty="0">
                <a:solidFill>
                  <a:schemeClr val="bg1"/>
                </a:solidFill>
                <a:latin typeface="Ubuntu" panose="020B0504030602030204" pitchFamily="34" charset="0"/>
              </a:rPr>
              <a:t>HELP ME </a:t>
            </a:r>
            <a:r>
              <a:rPr lang="en-US" sz="2000" b="1" dirty="0">
                <a:solidFill>
                  <a:srgbClr val="FF5135"/>
                </a:solidFill>
                <a:latin typeface="Ubuntu" panose="020B0504030602030204" pitchFamily="34" charset="0"/>
              </a:rPr>
              <a:t>BUILD</a:t>
            </a:r>
            <a:r>
              <a:rPr lang="en-US" sz="2000" b="1" dirty="0">
                <a:solidFill>
                  <a:schemeClr val="accent2"/>
                </a:solidFill>
                <a:latin typeface="Ubuntu" panose="020B0504030602030204" pitchFamily="34" charset="0"/>
              </a:rPr>
              <a:t> </a:t>
            </a:r>
            <a:endParaRPr lang="en-US" sz="1100" b="1" dirty="0">
              <a:solidFill>
                <a:schemeClr val="accent2"/>
              </a:solidFill>
              <a:latin typeface="Ubuntu" panose="020B0504030602030204" pitchFamily="34" charset="0"/>
            </a:endParaRPr>
          </a:p>
          <a:p>
            <a:pPr algn="ctr"/>
            <a:r>
              <a:rPr lang="en-US" sz="1100" dirty="0">
                <a:solidFill>
                  <a:schemeClr val="bg1"/>
                </a:solidFill>
                <a:latin typeface="Ubuntu" panose="020B0504030602030204" pitchFamily="34" charset="0"/>
              </a:rPr>
              <a:t>ON THE CLOUD</a:t>
            </a:r>
          </a:p>
        </p:txBody>
      </p:sp>
      <p:sp>
        <p:nvSpPr>
          <p:cNvPr id="107" name="TextBox 106">
            <a:extLst>
              <a:ext uri="{FF2B5EF4-FFF2-40B4-BE49-F238E27FC236}">
                <a16:creationId xmlns:a16="http://schemas.microsoft.com/office/drawing/2014/main" id="{B932D823-1D0E-CC4F-86CE-05DE1CC8B6BF}"/>
              </a:ext>
            </a:extLst>
          </p:cNvPr>
          <p:cNvSpPr txBox="1"/>
          <p:nvPr/>
        </p:nvSpPr>
        <p:spPr>
          <a:xfrm>
            <a:off x="9418931" y="1083717"/>
            <a:ext cx="2283872" cy="569387"/>
          </a:xfrm>
          <a:prstGeom prst="rect">
            <a:avLst/>
          </a:prstGeom>
          <a:noFill/>
        </p:spPr>
        <p:txBody>
          <a:bodyPr wrap="square" rtlCol="0">
            <a:spAutoFit/>
          </a:bodyPr>
          <a:lstStyle/>
          <a:p>
            <a:pPr algn="ctr"/>
            <a:r>
              <a:rPr lang="en-US" sz="1100" dirty="0">
                <a:solidFill>
                  <a:schemeClr val="tx2"/>
                </a:solidFill>
                <a:latin typeface="Ubuntu" panose="020B0504030602030204" pitchFamily="34" charset="0"/>
              </a:rPr>
              <a:t>HELP ME  </a:t>
            </a:r>
            <a:r>
              <a:rPr lang="en-US" sz="2000" b="1" dirty="0">
                <a:solidFill>
                  <a:srgbClr val="FF5135"/>
                </a:solidFill>
                <a:latin typeface="Ubuntu" panose="020B0504030602030204" pitchFamily="34" charset="0"/>
              </a:rPr>
              <a:t>PERFORM</a:t>
            </a:r>
            <a:endParaRPr lang="en-US" sz="1100" b="1" dirty="0">
              <a:solidFill>
                <a:srgbClr val="FF5135"/>
              </a:solidFill>
              <a:latin typeface="Ubuntu" panose="020B0504030602030204" pitchFamily="34" charset="0"/>
            </a:endParaRPr>
          </a:p>
          <a:p>
            <a:pPr algn="ctr"/>
            <a:r>
              <a:rPr lang="en-US" sz="1100" dirty="0">
                <a:solidFill>
                  <a:schemeClr val="tx2"/>
                </a:solidFill>
                <a:latin typeface="Ubuntu" panose="020B0504030602030204" pitchFamily="34" charset="0"/>
              </a:rPr>
              <a:t>ON THE CLOUD</a:t>
            </a:r>
          </a:p>
        </p:txBody>
      </p:sp>
      <p:cxnSp>
        <p:nvCxnSpPr>
          <p:cNvPr id="5" name="Straight Connector 4">
            <a:extLst>
              <a:ext uri="{FF2B5EF4-FFF2-40B4-BE49-F238E27FC236}">
                <a16:creationId xmlns:a16="http://schemas.microsoft.com/office/drawing/2014/main" id="{A0368D28-9EFD-924B-88F9-6DB216A1CBEF}"/>
              </a:ext>
            </a:extLst>
          </p:cNvPr>
          <p:cNvCxnSpPr>
            <a:cxnSpLocks/>
          </p:cNvCxnSpPr>
          <p:nvPr/>
        </p:nvCxnSpPr>
        <p:spPr>
          <a:xfrm flipV="1">
            <a:off x="1575133" y="4456076"/>
            <a:ext cx="0" cy="677066"/>
          </a:xfrm>
          <a:prstGeom prst="line">
            <a:avLst/>
          </a:prstGeom>
          <a:ln w="38100" cap="rnd">
            <a:gradFill>
              <a:gsLst>
                <a:gs pos="0">
                  <a:schemeClr val="accent1">
                    <a:lumMod val="5000"/>
                    <a:lumOff val="95000"/>
                  </a:schemeClr>
                </a:gs>
                <a:gs pos="44000">
                  <a:schemeClr val="bg1"/>
                </a:gs>
                <a:gs pos="83000">
                  <a:schemeClr val="accent2"/>
                </a:gs>
                <a:gs pos="100000">
                  <a:schemeClr val="accent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6F000D5-4E8D-DF40-A2D3-F8031C7F2593}"/>
              </a:ext>
            </a:extLst>
          </p:cNvPr>
          <p:cNvCxnSpPr>
            <a:cxnSpLocks/>
          </p:cNvCxnSpPr>
          <p:nvPr/>
        </p:nvCxnSpPr>
        <p:spPr>
          <a:xfrm>
            <a:off x="1678720" y="5311527"/>
            <a:ext cx="0" cy="454294"/>
          </a:xfrm>
          <a:prstGeom prst="line">
            <a:avLst/>
          </a:prstGeom>
          <a:ln w="38100" cap="rnd">
            <a:gradFill>
              <a:gsLst>
                <a:gs pos="0">
                  <a:schemeClr val="accent1">
                    <a:lumMod val="5000"/>
                    <a:lumOff val="95000"/>
                  </a:schemeClr>
                </a:gs>
                <a:gs pos="44000">
                  <a:schemeClr val="bg1"/>
                </a:gs>
                <a:gs pos="83000">
                  <a:schemeClr val="accent2"/>
                </a:gs>
                <a:gs pos="100000">
                  <a:schemeClr val="accent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CA082AAC-ADA7-5A47-9701-D4CC3B7408E1}"/>
              </a:ext>
            </a:extLst>
          </p:cNvPr>
          <p:cNvCxnSpPr>
            <a:cxnSpLocks/>
          </p:cNvCxnSpPr>
          <p:nvPr/>
        </p:nvCxnSpPr>
        <p:spPr>
          <a:xfrm flipV="1">
            <a:off x="2775520" y="4089633"/>
            <a:ext cx="0" cy="405532"/>
          </a:xfrm>
          <a:prstGeom prst="line">
            <a:avLst/>
          </a:prstGeom>
          <a:ln w="38100" cap="rnd">
            <a:gradFill>
              <a:gsLst>
                <a:gs pos="0">
                  <a:schemeClr val="accent1">
                    <a:lumMod val="5000"/>
                    <a:lumOff val="95000"/>
                  </a:schemeClr>
                </a:gs>
                <a:gs pos="44000">
                  <a:schemeClr val="bg1"/>
                </a:gs>
                <a:gs pos="83000">
                  <a:schemeClr val="accent2"/>
                </a:gs>
                <a:gs pos="100000">
                  <a:schemeClr val="accent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6C68EACF-D786-A743-B15F-D8EDA278DB3F}"/>
              </a:ext>
            </a:extLst>
          </p:cNvPr>
          <p:cNvCxnSpPr>
            <a:cxnSpLocks/>
          </p:cNvCxnSpPr>
          <p:nvPr/>
        </p:nvCxnSpPr>
        <p:spPr>
          <a:xfrm flipV="1">
            <a:off x="2927648" y="5474611"/>
            <a:ext cx="0" cy="405532"/>
          </a:xfrm>
          <a:prstGeom prst="line">
            <a:avLst/>
          </a:prstGeom>
          <a:ln w="38100" cap="rnd">
            <a:gradFill>
              <a:gsLst>
                <a:gs pos="0">
                  <a:schemeClr val="accent1">
                    <a:lumMod val="5000"/>
                    <a:lumOff val="95000"/>
                  </a:schemeClr>
                </a:gs>
                <a:gs pos="44000">
                  <a:schemeClr val="bg1"/>
                </a:gs>
                <a:gs pos="83000">
                  <a:schemeClr val="accent2"/>
                </a:gs>
                <a:gs pos="100000">
                  <a:schemeClr val="accent2"/>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03A1A16F-575C-B74C-97E1-CBB689BD543D}"/>
              </a:ext>
            </a:extLst>
          </p:cNvPr>
          <p:cNvCxnSpPr>
            <a:cxnSpLocks/>
          </p:cNvCxnSpPr>
          <p:nvPr/>
        </p:nvCxnSpPr>
        <p:spPr>
          <a:xfrm>
            <a:off x="1750728" y="4702269"/>
            <a:ext cx="0" cy="227310"/>
          </a:xfrm>
          <a:prstGeom prst="line">
            <a:avLst/>
          </a:prstGeom>
          <a:ln w="38100" cap="rnd">
            <a:gradFill>
              <a:gsLst>
                <a:gs pos="0">
                  <a:schemeClr val="accent1">
                    <a:lumMod val="5000"/>
                    <a:lumOff val="95000"/>
                  </a:schemeClr>
                </a:gs>
                <a:gs pos="44000">
                  <a:schemeClr val="bg1"/>
                </a:gs>
                <a:gs pos="83000">
                  <a:schemeClr val="accent2"/>
                </a:gs>
                <a:gs pos="100000">
                  <a:schemeClr val="accent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9" name="Left Brace 128">
            <a:extLst>
              <a:ext uri="{FF2B5EF4-FFF2-40B4-BE49-F238E27FC236}">
                <a16:creationId xmlns:a16="http://schemas.microsoft.com/office/drawing/2014/main" id="{A1710F61-396E-AB41-800A-191CAAD345DF}"/>
              </a:ext>
            </a:extLst>
          </p:cNvPr>
          <p:cNvSpPr/>
          <p:nvPr/>
        </p:nvSpPr>
        <p:spPr>
          <a:xfrm rot="10800000">
            <a:off x="7474084" y="1522071"/>
            <a:ext cx="1066758" cy="2665162"/>
          </a:xfrm>
          <a:prstGeom prst="leftBrace">
            <a:avLst/>
          </a:prstGeom>
          <a:ln w="571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1"/>
              </a:solidFill>
            </a:endParaRPr>
          </a:p>
        </p:txBody>
      </p:sp>
      <p:sp>
        <p:nvSpPr>
          <p:cNvPr id="131" name="TextBox 130">
            <a:extLst>
              <a:ext uri="{FF2B5EF4-FFF2-40B4-BE49-F238E27FC236}">
                <a16:creationId xmlns:a16="http://schemas.microsoft.com/office/drawing/2014/main" id="{7BD25DBA-CCDF-FE48-A4D5-1F9FDBBE2F7D}"/>
              </a:ext>
            </a:extLst>
          </p:cNvPr>
          <p:cNvSpPr txBox="1"/>
          <p:nvPr/>
        </p:nvSpPr>
        <p:spPr>
          <a:xfrm>
            <a:off x="307911" y="3593865"/>
            <a:ext cx="2283872" cy="738664"/>
          </a:xfrm>
          <a:prstGeom prst="rect">
            <a:avLst/>
          </a:prstGeom>
          <a:noFill/>
        </p:spPr>
        <p:txBody>
          <a:bodyPr wrap="square" rtlCol="0">
            <a:spAutoFit/>
          </a:bodyPr>
          <a:lstStyle/>
          <a:p>
            <a:r>
              <a:rPr lang="en-US" sz="1100" dirty="0">
                <a:solidFill>
                  <a:schemeClr val="bg1"/>
                </a:solidFill>
                <a:latin typeface="Ubuntu" panose="020B0504030602030204" pitchFamily="34" charset="0"/>
              </a:rPr>
              <a:t>HELP ME </a:t>
            </a:r>
          </a:p>
          <a:p>
            <a:r>
              <a:rPr lang="en-US" sz="2000" b="1" dirty="0">
                <a:solidFill>
                  <a:srgbClr val="FF5135"/>
                </a:solidFill>
                <a:latin typeface="Ubuntu" panose="020B0504030602030204" pitchFamily="34" charset="0"/>
              </a:rPr>
              <a:t>START </a:t>
            </a:r>
          </a:p>
          <a:p>
            <a:r>
              <a:rPr lang="en-US" sz="1100" dirty="0">
                <a:solidFill>
                  <a:schemeClr val="bg1"/>
                </a:solidFill>
                <a:latin typeface="Ubuntu" panose="020B0504030602030204" pitchFamily="34" charset="0"/>
              </a:rPr>
              <a:t>FOR THE CLOUD</a:t>
            </a:r>
          </a:p>
        </p:txBody>
      </p:sp>
      <p:sp>
        <p:nvSpPr>
          <p:cNvPr id="60" name="TextBox 59">
            <a:extLst>
              <a:ext uri="{FF2B5EF4-FFF2-40B4-BE49-F238E27FC236}">
                <a16:creationId xmlns:a16="http://schemas.microsoft.com/office/drawing/2014/main" id="{AC5AD08B-4372-4D4C-BD8E-EB784F1C6C55}"/>
              </a:ext>
            </a:extLst>
          </p:cNvPr>
          <p:cNvSpPr txBox="1"/>
          <p:nvPr/>
        </p:nvSpPr>
        <p:spPr>
          <a:xfrm>
            <a:off x="9538458" y="5345676"/>
            <a:ext cx="2358519" cy="400110"/>
          </a:xfrm>
          <a:prstGeom prst="rect">
            <a:avLst/>
          </a:prstGeom>
          <a:noFill/>
        </p:spPr>
        <p:txBody>
          <a:bodyPr wrap="square" rtlCol="0">
            <a:spAutoFit/>
          </a:bodyPr>
          <a:lstStyle/>
          <a:p>
            <a:r>
              <a:rPr lang="en-US" sz="2000" b="1" dirty="0">
                <a:solidFill>
                  <a:schemeClr val="accent2"/>
                </a:solidFill>
                <a:latin typeface="Ubuntu" panose="020B0504030602030204" pitchFamily="34" charset="0"/>
              </a:rPr>
              <a:t>Delivery Centers</a:t>
            </a:r>
          </a:p>
        </p:txBody>
      </p:sp>
      <p:sp>
        <p:nvSpPr>
          <p:cNvPr id="63" name="TextBox 62">
            <a:extLst>
              <a:ext uri="{FF2B5EF4-FFF2-40B4-BE49-F238E27FC236}">
                <a16:creationId xmlns:a16="http://schemas.microsoft.com/office/drawing/2014/main" id="{82832CD8-F2E9-4812-826A-1A827CFA8F94}"/>
              </a:ext>
            </a:extLst>
          </p:cNvPr>
          <p:cNvSpPr txBox="1"/>
          <p:nvPr/>
        </p:nvSpPr>
        <p:spPr>
          <a:xfrm>
            <a:off x="9548688" y="5674666"/>
            <a:ext cx="2283872" cy="769441"/>
          </a:xfrm>
          <a:prstGeom prst="rect">
            <a:avLst/>
          </a:prstGeom>
          <a:noFill/>
        </p:spPr>
        <p:txBody>
          <a:bodyPr wrap="square" rtlCol="0">
            <a:spAutoFit/>
          </a:bodyPr>
          <a:lstStyle/>
          <a:p>
            <a:r>
              <a:rPr lang="en-US" sz="1100" dirty="0">
                <a:solidFill>
                  <a:srgbClr val="5D696B"/>
                </a:solidFill>
                <a:latin typeface="Ubuntu" panose="020B0504030602030204" pitchFamily="34" charset="0"/>
              </a:rPr>
              <a:t>Right shore Model  with Local Teams supported by global Microsoft Azure Expert accredited delivery centers </a:t>
            </a:r>
          </a:p>
        </p:txBody>
      </p:sp>
      <p:pic>
        <p:nvPicPr>
          <p:cNvPr id="51" name="Graphic 50">
            <a:extLst>
              <a:ext uri="{FF2B5EF4-FFF2-40B4-BE49-F238E27FC236}">
                <a16:creationId xmlns:a16="http://schemas.microsoft.com/office/drawing/2014/main" id="{942322C8-6E3D-44AC-89DC-5C34E2358192}"/>
              </a:ext>
            </a:extLst>
          </p:cNvPr>
          <p:cNvPicPr>
            <a:picLocks noChangeAspect="1"/>
          </p:cNvPicPr>
          <p:nvPr/>
        </p:nvPicPr>
        <p:blipFill rotWithShape="1">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rcRect l="8837" t="17602" r="13232" b="25699"/>
          <a:stretch/>
        </p:blipFill>
        <p:spPr>
          <a:xfrm>
            <a:off x="8934773" y="2579970"/>
            <a:ext cx="775730" cy="539349"/>
          </a:xfrm>
          <a:prstGeom prst="rect">
            <a:avLst/>
          </a:prstGeom>
        </p:spPr>
      </p:pic>
      <p:sp>
        <p:nvSpPr>
          <p:cNvPr id="52" name="TextBox 51">
            <a:extLst>
              <a:ext uri="{FF2B5EF4-FFF2-40B4-BE49-F238E27FC236}">
                <a16:creationId xmlns:a16="http://schemas.microsoft.com/office/drawing/2014/main" id="{89930560-5296-4F9D-8354-1E85708103D2}"/>
              </a:ext>
            </a:extLst>
          </p:cNvPr>
          <p:cNvSpPr txBox="1"/>
          <p:nvPr/>
        </p:nvSpPr>
        <p:spPr>
          <a:xfrm>
            <a:off x="9166070" y="2634436"/>
            <a:ext cx="223124" cy="400110"/>
          </a:xfrm>
          <a:prstGeom prst="rect">
            <a:avLst/>
          </a:prstGeom>
          <a:noFill/>
        </p:spPr>
        <p:txBody>
          <a:bodyPr wrap="square" rtlCol="0">
            <a:spAutoFit/>
          </a:bodyPr>
          <a:lstStyle/>
          <a:p>
            <a:r>
              <a:rPr lang="en-US" sz="2000" b="1" dirty="0">
                <a:solidFill>
                  <a:schemeClr val="bg1"/>
                </a:solidFill>
                <a:latin typeface="Ubuntu" panose="020B0504030602030204" pitchFamily="34" charset="0"/>
              </a:rPr>
              <a:t>4</a:t>
            </a:r>
          </a:p>
        </p:txBody>
      </p:sp>
      <p:sp>
        <p:nvSpPr>
          <p:cNvPr id="53" name="TextBox 52">
            <a:extLst>
              <a:ext uri="{FF2B5EF4-FFF2-40B4-BE49-F238E27FC236}">
                <a16:creationId xmlns:a16="http://schemas.microsoft.com/office/drawing/2014/main" id="{56B4AA05-24D0-4FD0-86AF-AC400E324A45}"/>
              </a:ext>
            </a:extLst>
          </p:cNvPr>
          <p:cNvSpPr txBox="1"/>
          <p:nvPr/>
        </p:nvSpPr>
        <p:spPr>
          <a:xfrm>
            <a:off x="2991094" y="5133667"/>
            <a:ext cx="1840791" cy="769441"/>
          </a:xfrm>
          <a:prstGeom prst="rect">
            <a:avLst/>
          </a:prstGeom>
          <a:noFill/>
        </p:spPr>
        <p:txBody>
          <a:bodyPr wrap="square" rtlCol="0">
            <a:spAutoFit/>
          </a:bodyPr>
          <a:lstStyle/>
          <a:p>
            <a:r>
              <a:rPr lang="en-US" sz="1100" dirty="0">
                <a:solidFill>
                  <a:schemeClr val="bg1"/>
                </a:solidFill>
                <a:latin typeface="Ubuntu" panose="020B0504030602030204" pitchFamily="34" charset="0"/>
              </a:rPr>
              <a:t>Maintained &amp; Re-usable Enterprise grade Cloud Knowledge, Assets &amp; Best Practice</a:t>
            </a:r>
          </a:p>
        </p:txBody>
      </p:sp>
    </p:spTree>
    <p:extLst>
      <p:ext uri="{BB962C8B-B14F-4D97-AF65-F5344CB8AC3E}">
        <p14:creationId xmlns:p14="http://schemas.microsoft.com/office/powerpoint/2010/main" val="12289177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7AFAA07D-C2E9-2647-9CD4-D4254521EB06}"/>
              </a:ext>
            </a:extLst>
          </p:cNvPr>
          <p:cNvSpPr>
            <a:spLocks noChangeAspect="1"/>
          </p:cNvSpPr>
          <p:nvPr/>
        </p:nvSpPr>
        <p:spPr bwMode="gray">
          <a:xfrm rot="10800000" flipH="1">
            <a:off x="-912009" y="-502083"/>
            <a:ext cx="7753303" cy="7371826"/>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dirty="0">
              <a:solidFill>
                <a:schemeClr val="accent5"/>
              </a:solidFill>
            </a:endParaRPr>
          </a:p>
        </p:txBody>
      </p:sp>
      <p:pic>
        <p:nvPicPr>
          <p:cNvPr id="74" name="Graphic 73">
            <a:extLst>
              <a:ext uri="{FF2B5EF4-FFF2-40B4-BE49-F238E27FC236}">
                <a16:creationId xmlns:a16="http://schemas.microsoft.com/office/drawing/2014/main" id="{CC20B6A9-DF77-4341-AAE5-0E8EC40F42F9}"/>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8837" t="17602" r="13232" b="25699"/>
          <a:stretch/>
        </p:blipFill>
        <p:spPr>
          <a:xfrm>
            <a:off x="4112042" y="1963001"/>
            <a:ext cx="1669266" cy="1160607"/>
          </a:xfrm>
          <a:prstGeom prst="rect">
            <a:avLst/>
          </a:prstGeom>
        </p:spPr>
      </p:pic>
      <p:sp>
        <p:nvSpPr>
          <p:cNvPr id="2" name="Title 1">
            <a:extLst>
              <a:ext uri="{FF2B5EF4-FFF2-40B4-BE49-F238E27FC236}">
                <a16:creationId xmlns:a16="http://schemas.microsoft.com/office/drawing/2014/main" id="{59AE5EEA-4750-9B4D-B675-3BC89F63F1A1}"/>
              </a:ext>
            </a:extLst>
          </p:cNvPr>
          <p:cNvSpPr>
            <a:spLocks noGrp="1"/>
          </p:cNvSpPr>
          <p:nvPr>
            <p:ph type="title"/>
          </p:nvPr>
        </p:nvSpPr>
        <p:spPr>
          <a:xfrm>
            <a:off x="795098" y="764704"/>
            <a:ext cx="5532273" cy="368252"/>
          </a:xfrm>
        </p:spPr>
        <p:txBody>
          <a:bodyPr/>
          <a:lstStyle/>
          <a:p>
            <a:br>
              <a:rPr lang="en-GB" sz="3000" dirty="0">
                <a:solidFill>
                  <a:schemeClr val="bg1"/>
                </a:solidFill>
              </a:rPr>
            </a:br>
            <a:r>
              <a:rPr lang="en-GB" sz="1100" dirty="0">
                <a:solidFill>
                  <a:schemeClr val="bg1"/>
                </a:solidFill>
              </a:rPr>
              <a:t> </a:t>
            </a:r>
            <a:br>
              <a:rPr lang="en-GB" dirty="0">
                <a:solidFill>
                  <a:schemeClr val="bg1"/>
                </a:solidFill>
              </a:rPr>
            </a:br>
            <a:br>
              <a:rPr lang="en-GB" dirty="0">
                <a:solidFill>
                  <a:schemeClr val="bg1"/>
                </a:solidFill>
              </a:rPr>
            </a:br>
            <a:br>
              <a:rPr lang="en-GB" dirty="0">
                <a:solidFill>
                  <a:schemeClr val="bg1"/>
                </a:solidFill>
              </a:rPr>
            </a:br>
            <a:br>
              <a:rPr lang="en-GB" dirty="0">
                <a:solidFill>
                  <a:schemeClr val="bg1"/>
                </a:solidFill>
              </a:rPr>
            </a:br>
            <a:br>
              <a:rPr lang="en-GB" dirty="0"/>
            </a:br>
            <a:br>
              <a:rPr lang="en-GB" dirty="0"/>
            </a:br>
            <a:br>
              <a:rPr lang="en-GB" dirty="0"/>
            </a:br>
            <a:br>
              <a:rPr lang="en-GB" dirty="0"/>
            </a:br>
            <a:br>
              <a:rPr lang="en-GB" dirty="0"/>
            </a:br>
            <a:br>
              <a:rPr lang="en-GB" sz="1400" dirty="0">
                <a:solidFill>
                  <a:schemeClr val="bg1"/>
                </a:solidFill>
                <a:highlight>
                  <a:srgbClr val="FFFF00"/>
                </a:highlight>
              </a:rPr>
            </a:br>
            <a:r>
              <a:rPr lang="en-GB" sz="1800" dirty="0">
                <a:solidFill>
                  <a:schemeClr val="bg1"/>
                </a:solidFill>
              </a:rPr>
              <a:t>We use our CloudBoost Library to create the perfect </a:t>
            </a:r>
            <a:br>
              <a:rPr lang="en-GB" sz="1800" dirty="0">
                <a:solidFill>
                  <a:schemeClr val="bg1"/>
                </a:solidFill>
              </a:rPr>
            </a:br>
            <a:r>
              <a:rPr lang="en-GB" sz="1800" dirty="0">
                <a:solidFill>
                  <a:schemeClr val="bg1"/>
                </a:solidFill>
              </a:rPr>
              <a:t>Landing Zone for your applications and processes.</a:t>
            </a:r>
            <a:br>
              <a:rPr lang="en-GB" sz="4000" dirty="0"/>
            </a:br>
            <a:br>
              <a:rPr lang="en-GB" sz="4000" dirty="0"/>
            </a:br>
            <a:br>
              <a:rPr lang="en-GB" dirty="0"/>
            </a:br>
            <a:br>
              <a:rPr lang="en-GB" dirty="0"/>
            </a:br>
            <a:br>
              <a:rPr lang="en-GB" dirty="0"/>
            </a:br>
            <a:br>
              <a:rPr lang="en-GB" dirty="0"/>
            </a:br>
            <a:br>
              <a:rPr lang="en-GB" dirty="0"/>
            </a:br>
            <a:endParaRPr lang="en-GB" dirty="0"/>
          </a:p>
        </p:txBody>
      </p:sp>
      <p:pic>
        <p:nvPicPr>
          <p:cNvPr id="72" name="Graphic 71">
            <a:extLst>
              <a:ext uri="{FF2B5EF4-FFF2-40B4-BE49-F238E27FC236}">
                <a16:creationId xmlns:a16="http://schemas.microsoft.com/office/drawing/2014/main" id="{C6283B51-9F61-DA4A-B204-152D23D4553D}"/>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8837" t="17602" r="13232" b="25699"/>
          <a:stretch/>
        </p:blipFill>
        <p:spPr>
          <a:xfrm>
            <a:off x="4102934" y="3085811"/>
            <a:ext cx="1669266" cy="1160607"/>
          </a:xfrm>
          <a:prstGeom prst="rect">
            <a:avLst/>
          </a:prstGeom>
        </p:spPr>
      </p:pic>
      <p:sp>
        <p:nvSpPr>
          <p:cNvPr id="3" name="Text Box 25">
            <a:extLst>
              <a:ext uri="{FF2B5EF4-FFF2-40B4-BE49-F238E27FC236}">
                <a16:creationId xmlns:a16="http://schemas.microsoft.com/office/drawing/2014/main" id="{E898CAB9-0283-FA41-9BE0-051ADDBBAC73}"/>
              </a:ext>
            </a:extLst>
          </p:cNvPr>
          <p:cNvSpPr txBox="1">
            <a:spLocks noChangeArrowheads="1"/>
          </p:cNvSpPr>
          <p:nvPr/>
        </p:nvSpPr>
        <p:spPr bwMode="auto">
          <a:xfrm>
            <a:off x="7816966" y="3757162"/>
            <a:ext cx="4045470" cy="3939540"/>
          </a:xfrm>
          <a:prstGeom prst="rect">
            <a:avLst/>
          </a:prstGeom>
          <a:noFill/>
          <a:ln w="19050">
            <a:noFill/>
            <a:miter lim="800000"/>
            <a:headEnd/>
            <a:tailEnd/>
          </a:ln>
        </p:spPr>
        <p:txBody>
          <a:bodyPr wrap="square" rIns="0">
            <a:spAutoFit/>
          </a:bodyPr>
          <a:lstStyle/>
          <a:p>
            <a:pPr marL="342900" marR="0" lvl="0" indent="-342900" algn="l" defTabSz="914400" rtl="0" eaLnBrk="0" fontAlgn="auto" latinLnBrk="0" hangingPunct="0">
              <a:lnSpc>
                <a:spcPct val="100000"/>
              </a:lnSpc>
              <a:spcBef>
                <a:spcPts val="600"/>
              </a:spcBef>
              <a:spcAft>
                <a:spcPts val="600"/>
              </a:spcAft>
              <a:buClr>
                <a:schemeClr val="accent3"/>
              </a:buClr>
              <a:buSzTx/>
              <a:buFont typeface="Wingdings" pitchFamily="2" charset="2"/>
              <a:buChar char="§"/>
              <a:tabLst/>
              <a:defRPr/>
            </a:pPr>
            <a:r>
              <a:rPr kumimoji="0" lang="en-US" u="none" strike="noStrike" kern="0" cap="none" spc="0" normalizeH="0" baseline="0" noProof="0" dirty="0">
                <a:ln>
                  <a:noFill/>
                </a:ln>
                <a:solidFill>
                  <a:srgbClr val="5D696B"/>
                </a:solidFill>
                <a:effectLst/>
                <a:uLnTx/>
                <a:uFillTx/>
                <a:latin typeface="Ubuntu" panose="020B0504030602030204" pitchFamily="34" charset="0"/>
                <a:cs typeface="Arial" panose="020B0604020202020204" pitchFamily="34" charset="0"/>
              </a:rPr>
              <a:t>MSP Certified – Microsoft.</a:t>
            </a:r>
          </a:p>
          <a:p>
            <a:pPr marL="342900" indent="-342900" eaLnBrk="0" hangingPunct="0">
              <a:spcBef>
                <a:spcPts val="600"/>
              </a:spcBef>
              <a:spcAft>
                <a:spcPts val="600"/>
              </a:spcAft>
              <a:buClr>
                <a:schemeClr val="accent3"/>
              </a:buClr>
              <a:buFont typeface="Wingdings" pitchFamily="2" charset="2"/>
              <a:buChar char="§"/>
              <a:defRPr/>
            </a:pPr>
            <a:r>
              <a:rPr lang="en-US" kern="0" dirty="0">
                <a:solidFill>
                  <a:srgbClr val="5D696B"/>
                </a:solidFill>
                <a:latin typeface="Ubuntu" panose="020B0504030602030204" pitchFamily="34" charset="0"/>
                <a:cs typeface="Arial" panose="020B0604020202020204" pitchFamily="34" charset="0"/>
              </a:rPr>
              <a:t>RightShore delivery model with local, near and off-shore delivery centers.</a:t>
            </a:r>
          </a:p>
          <a:p>
            <a:pPr marL="342900" indent="-342900" eaLnBrk="0" hangingPunct="0">
              <a:spcBef>
                <a:spcPts val="600"/>
              </a:spcBef>
              <a:spcAft>
                <a:spcPts val="600"/>
              </a:spcAft>
              <a:buClr>
                <a:schemeClr val="accent3"/>
              </a:buClr>
              <a:buFont typeface="Wingdings" pitchFamily="2" charset="2"/>
              <a:buChar char="§"/>
              <a:defRPr/>
            </a:pPr>
            <a:r>
              <a:rPr lang="en-US" kern="0" dirty="0">
                <a:solidFill>
                  <a:srgbClr val="5D696B"/>
                </a:solidFill>
                <a:latin typeface="Ubuntu" panose="020B0504030602030204" pitchFamily="34" charset="0"/>
                <a:cs typeface="Arial" panose="020B0604020202020204" pitchFamily="34" charset="0"/>
              </a:rPr>
              <a:t>Adaptable delivery models at the pace of the customer </a:t>
            </a:r>
          </a:p>
          <a:p>
            <a:pPr marL="342900" indent="-342900" eaLnBrk="0" hangingPunct="0">
              <a:spcBef>
                <a:spcPts val="600"/>
              </a:spcBef>
              <a:spcAft>
                <a:spcPts val="600"/>
              </a:spcAft>
              <a:buClr>
                <a:schemeClr val="accent3"/>
              </a:buClr>
              <a:buFont typeface="Wingdings" pitchFamily="2" charset="2"/>
              <a:buChar char="§"/>
              <a:defRPr/>
            </a:pPr>
            <a:r>
              <a:rPr lang="en-US" kern="0" dirty="0">
                <a:solidFill>
                  <a:srgbClr val="5D696B"/>
                </a:solidFill>
                <a:latin typeface="Ubuntu" panose="020B0504030602030204" pitchFamily="34" charset="0"/>
                <a:cs typeface="Arial" panose="020B0604020202020204" pitchFamily="34" charset="0"/>
              </a:rPr>
              <a:t>Migrate  (Move) and Development (Build) teams are together</a:t>
            </a:r>
          </a:p>
          <a:p>
            <a:pPr eaLnBrk="0" hangingPunct="0">
              <a:spcBef>
                <a:spcPts val="600"/>
              </a:spcBef>
              <a:spcAft>
                <a:spcPts val="600"/>
              </a:spcAft>
              <a:buClr>
                <a:schemeClr val="accent3"/>
              </a:buClr>
              <a:defRPr/>
            </a:pPr>
            <a:endParaRPr lang="en-US" kern="0" dirty="0">
              <a:solidFill>
                <a:srgbClr val="5D696B"/>
              </a:solidFill>
              <a:latin typeface="Ubuntu" panose="020B0504030602030204" pitchFamily="34" charset="0"/>
              <a:cs typeface="Arial" panose="020B0604020202020204" pitchFamily="34" charset="0"/>
            </a:endParaRPr>
          </a:p>
          <a:p>
            <a:pPr lvl="0" eaLnBrk="0" hangingPunct="0">
              <a:spcBef>
                <a:spcPts val="600"/>
              </a:spcBef>
              <a:spcAft>
                <a:spcPts val="600"/>
              </a:spcAft>
              <a:buClr>
                <a:srgbClr val="FF304C"/>
              </a:buClr>
              <a:defRPr/>
            </a:pPr>
            <a:endParaRPr kumimoji="0" lang="en-US" sz="1400" b="0" i="1" u="none" strike="noStrike" kern="0" cap="none" spc="0" normalizeH="0" baseline="0" noProof="0" dirty="0">
              <a:ln>
                <a:noFill/>
              </a:ln>
              <a:effectLst/>
              <a:uLnTx/>
              <a:uFillTx/>
              <a:latin typeface="Arial" panose="020B0604020202020204" pitchFamily="34" charset="0"/>
              <a:cs typeface="Arial" panose="020B0604020202020204" pitchFamily="34" charset="0"/>
            </a:endParaRPr>
          </a:p>
          <a:p>
            <a:pPr marL="342900" marR="0" lvl="0" indent="-342900" algn="l" defTabSz="914400" rtl="0" eaLnBrk="0" fontAlgn="auto" latinLnBrk="0" hangingPunct="0">
              <a:lnSpc>
                <a:spcPct val="100000"/>
              </a:lnSpc>
              <a:spcBef>
                <a:spcPts val="600"/>
              </a:spcBef>
              <a:spcAft>
                <a:spcPts val="600"/>
              </a:spcAft>
              <a:buClr>
                <a:srgbClr val="FF304C"/>
              </a:buClr>
              <a:buSzTx/>
              <a:buFont typeface="Wingdings" panose="05000000000000000000" pitchFamily="2" charset="2"/>
              <a:buChar char="Ø"/>
              <a:tabLst/>
              <a:defRPr/>
            </a:pPr>
            <a:endParaRPr kumimoji="0" lang="en-US" sz="1400" b="0" i="1"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4" name="Text Box 25">
            <a:extLst>
              <a:ext uri="{FF2B5EF4-FFF2-40B4-BE49-F238E27FC236}">
                <a16:creationId xmlns:a16="http://schemas.microsoft.com/office/drawing/2014/main" id="{E09FFF92-A782-D74F-9CC6-88CCEFCC1117}"/>
              </a:ext>
            </a:extLst>
          </p:cNvPr>
          <p:cNvSpPr txBox="1">
            <a:spLocks noChangeArrowheads="1"/>
          </p:cNvSpPr>
          <p:nvPr/>
        </p:nvSpPr>
        <p:spPr bwMode="auto">
          <a:xfrm>
            <a:off x="7816966" y="412694"/>
            <a:ext cx="3637015" cy="2708434"/>
          </a:xfrm>
          <a:prstGeom prst="rect">
            <a:avLst/>
          </a:prstGeom>
          <a:noFill/>
          <a:ln w="19050">
            <a:noFill/>
            <a:miter lim="800000"/>
            <a:headEnd/>
            <a:tailEnd/>
          </a:ln>
        </p:spPr>
        <p:txBody>
          <a:bodyPr wrap="square" rIns="0">
            <a:spAutoFit/>
          </a:bodyPr>
          <a:lstStyle/>
          <a:p>
            <a:pPr marR="0" lvl="0" algn="l" defTabSz="914400" rtl="0" eaLnBrk="0" fontAlgn="auto" latinLnBrk="0" hangingPunct="0">
              <a:lnSpc>
                <a:spcPct val="100000"/>
              </a:lnSpc>
              <a:spcBef>
                <a:spcPts val="600"/>
              </a:spcBef>
              <a:spcAft>
                <a:spcPts val="600"/>
              </a:spcAft>
              <a:buClr>
                <a:srgbClr val="FF304C"/>
              </a:buClr>
              <a:buSzTx/>
              <a:tabLst/>
              <a:defRPr/>
            </a:pPr>
            <a:r>
              <a:rPr lang="en-US" sz="2400" b="1" kern="0" dirty="0">
                <a:solidFill>
                  <a:schemeClr val="tx2"/>
                </a:solidFill>
                <a:latin typeface="Ubuntu" panose="020B0504030602030204" pitchFamily="34" charset="0"/>
              </a:rPr>
              <a:t>Benefits</a:t>
            </a:r>
          </a:p>
          <a:p>
            <a:pPr marL="342900" indent="-342900" eaLnBrk="0" hangingPunct="0">
              <a:spcBef>
                <a:spcPts val="600"/>
              </a:spcBef>
              <a:spcAft>
                <a:spcPts val="600"/>
              </a:spcAft>
              <a:buClr>
                <a:schemeClr val="tx2"/>
              </a:buClr>
              <a:buFont typeface="Wingdings" pitchFamily="2" charset="2"/>
              <a:buChar char="§"/>
              <a:defRPr/>
            </a:pPr>
            <a:r>
              <a:rPr lang="en-US" kern="0" noProof="0" dirty="0">
                <a:solidFill>
                  <a:srgbClr val="5D696B"/>
                </a:solidFill>
                <a:latin typeface="Ubuntu" panose="020B0504030602030204" pitchFamily="34" charset="0"/>
              </a:rPr>
              <a:t>Save &gt;30% time and money with our c</a:t>
            </a:r>
            <a:r>
              <a:rPr lang="en-US" kern="0" dirty="0">
                <a:solidFill>
                  <a:srgbClr val="5D696B"/>
                </a:solidFill>
                <a:latin typeface="Ubuntu" panose="020B0504030602030204" pitchFamily="34" charset="0"/>
              </a:rPr>
              <a:t>lear and proven migration paths.</a:t>
            </a:r>
            <a:endParaRPr lang="en-US" kern="0" noProof="0" dirty="0">
              <a:solidFill>
                <a:srgbClr val="5D696B"/>
              </a:solidFill>
              <a:latin typeface="Ubuntu" panose="020B0504030602030204" pitchFamily="34" charset="0"/>
            </a:endParaRPr>
          </a:p>
          <a:p>
            <a:pPr marL="342900" marR="0" lvl="0" indent="-342900" algn="l" defTabSz="914400" rtl="0" eaLnBrk="0" fontAlgn="auto" latinLnBrk="0" hangingPunct="0">
              <a:lnSpc>
                <a:spcPct val="100000"/>
              </a:lnSpc>
              <a:spcBef>
                <a:spcPts val="600"/>
              </a:spcBef>
              <a:spcAft>
                <a:spcPts val="600"/>
              </a:spcAft>
              <a:buClr>
                <a:schemeClr val="tx2"/>
              </a:buClr>
              <a:buSzTx/>
              <a:buFont typeface="Wingdings" pitchFamily="2" charset="2"/>
              <a:buChar char="§"/>
              <a:tabLst/>
              <a:defRPr/>
            </a:pPr>
            <a:r>
              <a:rPr lang="en-US" kern="0" dirty="0">
                <a:solidFill>
                  <a:srgbClr val="5D696B"/>
                </a:solidFill>
                <a:latin typeface="Ubuntu" panose="020B0504030602030204" pitchFamily="34" charset="0"/>
              </a:rPr>
              <a:t>Assets in our CloudBoost library serve both Migrations and Cloud Native development . </a:t>
            </a:r>
          </a:p>
        </p:txBody>
      </p:sp>
      <p:sp>
        <p:nvSpPr>
          <p:cNvPr id="5" name="ZoneTexte 7">
            <a:extLst>
              <a:ext uri="{FF2B5EF4-FFF2-40B4-BE49-F238E27FC236}">
                <a16:creationId xmlns:a16="http://schemas.microsoft.com/office/drawing/2014/main" id="{487FCFC4-2963-8848-B036-520654E4A5F8}"/>
              </a:ext>
            </a:extLst>
          </p:cNvPr>
          <p:cNvSpPr txBox="1"/>
          <p:nvPr/>
        </p:nvSpPr>
        <p:spPr>
          <a:xfrm>
            <a:off x="7846982" y="3240407"/>
            <a:ext cx="333937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a:ln>
                  <a:noFill/>
                </a:ln>
                <a:solidFill>
                  <a:schemeClr val="tx2"/>
                </a:solidFill>
                <a:effectLst/>
                <a:uLnTx/>
                <a:uFillTx/>
                <a:latin typeface="Ubuntu Medium" panose="020B0504030602030204" pitchFamily="34" charset="0"/>
              </a:rPr>
              <a:t>The Sogeti Advantage</a:t>
            </a:r>
          </a:p>
        </p:txBody>
      </p:sp>
      <p:sp>
        <p:nvSpPr>
          <p:cNvPr id="8" name="Rectangle 7">
            <a:extLst>
              <a:ext uri="{FF2B5EF4-FFF2-40B4-BE49-F238E27FC236}">
                <a16:creationId xmlns:a16="http://schemas.microsoft.com/office/drawing/2014/main" id="{5C0032B1-979B-7946-94D1-EFA71B67818D}"/>
              </a:ext>
            </a:extLst>
          </p:cNvPr>
          <p:cNvSpPr/>
          <p:nvPr/>
        </p:nvSpPr>
        <p:spPr>
          <a:xfrm>
            <a:off x="137141" y="2137389"/>
            <a:ext cx="3936461" cy="2092881"/>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nl-NL" sz="1600" u="none" strike="noStrike" kern="1200" cap="none" spc="0" normalizeH="0" baseline="0" noProof="0" dirty="0">
                <a:ln>
                  <a:noFill/>
                </a:ln>
                <a:solidFill>
                  <a:schemeClr val="bg1"/>
                </a:solidFill>
                <a:effectLst/>
                <a:uLnTx/>
                <a:uFillTx/>
                <a:latin typeface="Ubuntu" panose="020B0504030602030204" pitchFamily="34" charset="0"/>
              </a:rPr>
              <a:t>Rehost (lift&amp;Shift)</a:t>
            </a:r>
          </a:p>
          <a:p>
            <a:pPr marL="0" marR="0" lvl="0" indent="0" defTabSz="914400" rtl="0" eaLnBrk="1" fontAlgn="auto" latinLnBrk="0" hangingPunct="1">
              <a:lnSpc>
                <a:spcPct val="100000"/>
              </a:lnSpc>
              <a:spcBef>
                <a:spcPts val="0"/>
              </a:spcBef>
              <a:spcAft>
                <a:spcPts val="0"/>
              </a:spcAft>
              <a:buClrTx/>
              <a:buSzTx/>
              <a:buFontTx/>
              <a:buNone/>
              <a:tabLst/>
              <a:defRPr/>
            </a:pPr>
            <a:r>
              <a:rPr lang="nl-NL" sz="1600" dirty="0">
                <a:solidFill>
                  <a:schemeClr val="bg1"/>
                </a:solidFill>
                <a:latin typeface="Ubuntu" panose="020B0504030602030204" pitchFamily="34" charset="0"/>
              </a:rPr>
              <a:t>Refactor (VM, container or Paa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nl-NL" sz="1600" u="none" strike="noStrike" kern="1200" cap="none" spc="0" normalizeH="0" baseline="0" noProof="0" dirty="0">
              <a:ln>
                <a:noFill/>
              </a:ln>
              <a:solidFill>
                <a:schemeClr val="bg1"/>
              </a:solidFill>
              <a:effectLst/>
              <a:uLnTx/>
              <a:uFillTx/>
              <a:latin typeface="Ubuntu" panose="020B050403060203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nl-NL" sz="1600" u="none" strike="noStrike" kern="1200" cap="none" spc="0" normalizeH="0" baseline="0" noProof="0" dirty="0">
                <a:ln>
                  <a:noFill/>
                </a:ln>
                <a:solidFill>
                  <a:schemeClr val="bg1"/>
                </a:solidFill>
                <a:effectLst/>
                <a:uLnTx/>
                <a:uFillTx/>
                <a:latin typeface="Ubuntu" panose="020B0504030602030204" pitchFamily="34" charset="0"/>
              </a:rPr>
              <a:t>Revise (code changes)</a:t>
            </a:r>
          </a:p>
          <a:p>
            <a:pPr marL="0" marR="0" lvl="0" indent="0" defTabSz="914400" rtl="0" eaLnBrk="1" fontAlgn="auto" latinLnBrk="0" hangingPunct="1">
              <a:lnSpc>
                <a:spcPct val="100000"/>
              </a:lnSpc>
              <a:spcBef>
                <a:spcPts val="0"/>
              </a:spcBef>
              <a:spcAft>
                <a:spcPts val="0"/>
              </a:spcAft>
              <a:buClrTx/>
              <a:buSzTx/>
              <a:buFontTx/>
              <a:buNone/>
              <a:tabLst/>
              <a:defRPr/>
            </a:pPr>
            <a:endParaRPr lang="nl-NL" sz="1600" dirty="0">
              <a:solidFill>
                <a:schemeClr val="bg1"/>
              </a:solidFill>
              <a:latin typeface="Ubuntu" panose="020B050403060203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lang="nl-NL" sz="1600" dirty="0">
                <a:solidFill>
                  <a:schemeClr val="bg1"/>
                </a:solidFill>
                <a:latin typeface="Ubuntu" panose="020B0504030602030204" pitchFamily="34" charset="0"/>
              </a:rPr>
              <a:t>Rebuild (business Process </a:t>
            </a:r>
            <a:r>
              <a:rPr kumimoji="0" lang="nl-NL" sz="1600" u="none" strike="noStrike" kern="1200" cap="none" spc="0" normalizeH="0" baseline="0" noProof="0" dirty="0">
                <a:ln>
                  <a:noFill/>
                </a:ln>
                <a:solidFill>
                  <a:schemeClr val="bg1"/>
                </a:solidFill>
                <a:effectLst/>
                <a:uLnTx/>
                <a:uFillTx/>
                <a:latin typeface="Ubuntu" panose="020B0504030602030204" pitchFamily="34" charset="0"/>
              </a:rPr>
              <a:t>Change</a:t>
            </a:r>
            <a:r>
              <a:rPr lang="nl-NL" sz="1600" dirty="0">
                <a:solidFill>
                  <a:schemeClr val="bg1"/>
                </a:solidFill>
                <a:latin typeface="Ubuntu" panose="020B0504030602030204" pitchFamily="34" charset="0"/>
              </a:rPr>
              <a:t>)</a:t>
            </a:r>
          </a:p>
          <a:p>
            <a:pPr marL="0" marR="0" lvl="0" indent="0" defTabSz="914400" rtl="0" eaLnBrk="1" fontAlgn="auto" latinLnBrk="0" hangingPunct="1">
              <a:lnSpc>
                <a:spcPct val="100000"/>
              </a:lnSpc>
              <a:spcBef>
                <a:spcPts val="0"/>
              </a:spcBef>
              <a:spcAft>
                <a:spcPts val="0"/>
              </a:spcAft>
              <a:buClrTx/>
              <a:buSzTx/>
              <a:buFontTx/>
              <a:buNone/>
              <a:tabLst/>
              <a:defRPr/>
            </a:pPr>
            <a:r>
              <a:rPr kumimoji="0" lang="nl-NL" sz="1600" u="none" strike="noStrike" kern="1200" cap="none" spc="0" normalizeH="0" baseline="0" noProof="0" dirty="0">
                <a:ln>
                  <a:noFill/>
                </a:ln>
                <a:solidFill>
                  <a:schemeClr val="bg1"/>
                </a:solidFill>
                <a:effectLst/>
                <a:uLnTx/>
                <a:uFillTx/>
                <a:latin typeface="Ubuntu" panose="020B0504030602030204" pitchFamily="34" charset="0"/>
              </a:rPr>
              <a:t>Replace (Saa</a:t>
            </a:r>
            <a:r>
              <a:rPr lang="nl-NL" sz="1600" dirty="0">
                <a:solidFill>
                  <a:schemeClr val="bg1"/>
                </a:solidFill>
                <a:latin typeface="Ubuntu" panose="020B0504030602030204" pitchFamily="34" charset="0"/>
              </a:rPr>
              <a:t>S) / New (Cloud Native)</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nl-NL" u="none" strike="noStrike" kern="1200" cap="none" spc="0" normalizeH="0" baseline="0" noProof="0" dirty="0">
              <a:ln>
                <a:noFill/>
              </a:ln>
              <a:solidFill>
                <a:schemeClr val="bg1"/>
              </a:solidFill>
              <a:effectLst/>
              <a:uLnTx/>
              <a:uFillTx/>
              <a:latin typeface="Ubuntu" panose="020B0504030602030204" pitchFamily="34" charset="0"/>
            </a:endParaRPr>
          </a:p>
        </p:txBody>
      </p:sp>
      <p:sp>
        <p:nvSpPr>
          <p:cNvPr id="17" name="TextBox 16">
            <a:extLst>
              <a:ext uri="{FF2B5EF4-FFF2-40B4-BE49-F238E27FC236}">
                <a16:creationId xmlns:a16="http://schemas.microsoft.com/office/drawing/2014/main" id="{5A615508-37F2-6C4A-903D-C89B6CB96019}"/>
              </a:ext>
            </a:extLst>
          </p:cNvPr>
          <p:cNvSpPr txBox="1"/>
          <p:nvPr/>
        </p:nvSpPr>
        <p:spPr>
          <a:xfrm>
            <a:off x="4434315" y="2293574"/>
            <a:ext cx="1253572" cy="461665"/>
          </a:xfrm>
          <a:prstGeom prst="rect">
            <a:avLst/>
          </a:prstGeom>
          <a:noFill/>
        </p:spPr>
        <p:txBody>
          <a:bodyPr wrap="square" rtlCol="0">
            <a:spAutoFit/>
          </a:bodyPr>
          <a:lstStyle/>
          <a:p>
            <a:r>
              <a:rPr lang="en-GB" sz="1200" b="1" dirty="0">
                <a:solidFill>
                  <a:schemeClr val="bg1"/>
                </a:solidFill>
                <a:latin typeface="Ubuntu" panose="020B0504030602030204" pitchFamily="34" charset="0"/>
              </a:rPr>
              <a:t>OneMigrate</a:t>
            </a:r>
          </a:p>
          <a:p>
            <a:r>
              <a:rPr lang="en-GB" sz="1200" b="1" dirty="0">
                <a:solidFill>
                  <a:schemeClr val="bg1"/>
                </a:solidFill>
                <a:latin typeface="Ubuntu" panose="020B0504030602030204" pitchFamily="34" charset="0"/>
              </a:rPr>
              <a:t>     (Move)</a:t>
            </a:r>
          </a:p>
        </p:txBody>
      </p:sp>
      <p:sp>
        <p:nvSpPr>
          <p:cNvPr id="18" name="TextBox 17">
            <a:extLst>
              <a:ext uri="{FF2B5EF4-FFF2-40B4-BE49-F238E27FC236}">
                <a16:creationId xmlns:a16="http://schemas.microsoft.com/office/drawing/2014/main" id="{754442C5-FA4F-DE4A-9ACA-E6C6B0EB2FEA}"/>
              </a:ext>
            </a:extLst>
          </p:cNvPr>
          <p:cNvSpPr txBox="1"/>
          <p:nvPr/>
        </p:nvSpPr>
        <p:spPr>
          <a:xfrm>
            <a:off x="4463623" y="3460124"/>
            <a:ext cx="978153" cy="461665"/>
          </a:xfrm>
          <a:prstGeom prst="rect">
            <a:avLst/>
          </a:prstGeom>
          <a:noFill/>
        </p:spPr>
        <p:txBody>
          <a:bodyPr wrap="none" rtlCol="0">
            <a:spAutoFit/>
          </a:bodyPr>
          <a:lstStyle/>
          <a:p>
            <a:pPr algn="ctr"/>
            <a:r>
              <a:rPr lang="en-GB" sz="1200" b="1" dirty="0">
                <a:solidFill>
                  <a:schemeClr val="bg1"/>
                </a:solidFill>
                <a:latin typeface="Ubuntu" panose="020B0504030602030204" pitchFamily="34" charset="0"/>
              </a:rPr>
              <a:t>OneNative</a:t>
            </a:r>
          </a:p>
          <a:p>
            <a:pPr algn="ctr"/>
            <a:r>
              <a:rPr lang="en-GB" sz="1200" b="1" dirty="0">
                <a:solidFill>
                  <a:schemeClr val="bg1"/>
                </a:solidFill>
                <a:latin typeface="Ubuntu" panose="020B0504030602030204" pitchFamily="34" charset="0"/>
              </a:rPr>
              <a:t>(Build)</a:t>
            </a:r>
          </a:p>
        </p:txBody>
      </p:sp>
      <p:grpSp>
        <p:nvGrpSpPr>
          <p:cNvPr id="31" name="Group 30">
            <a:extLst>
              <a:ext uri="{FF2B5EF4-FFF2-40B4-BE49-F238E27FC236}">
                <a16:creationId xmlns:a16="http://schemas.microsoft.com/office/drawing/2014/main" id="{2C7B702F-171C-BA4E-AE32-26DFC0B9D1B9}"/>
              </a:ext>
            </a:extLst>
          </p:cNvPr>
          <p:cNvGrpSpPr/>
          <p:nvPr/>
        </p:nvGrpSpPr>
        <p:grpSpPr>
          <a:xfrm>
            <a:off x="5987336" y="344215"/>
            <a:ext cx="1649578" cy="4766364"/>
            <a:chOff x="5441917" y="1323848"/>
            <a:chExt cx="1909516" cy="5353661"/>
          </a:xfrm>
        </p:grpSpPr>
        <p:sp>
          <p:nvSpPr>
            <p:cNvPr id="32" name="object 6">
              <a:extLst>
                <a:ext uri="{FF2B5EF4-FFF2-40B4-BE49-F238E27FC236}">
                  <a16:creationId xmlns:a16="http://schemas.microsoft.com/office/drawing/2014/main" id="{B1C2B643-0EE1-A649-A132-72A81D9800FF}"/>
                </a:ext>
              </a:extLst>
            </p:cNvPr>
            <p:cNvSpPr/>
            <p:nvPr/>
          </p:nvSpPr>
          <p:spPr>
            <a:xfrm>
              <a:off x="5872098" y="1323848"/>
              <a:ext cx="1013155" cy="2707932"/>
            </a:xfrm>
            <a:prstGeom prst="rect">
              <a:avLst/>
            </a:prstGeom>
            <a:blipFill>
              <a:blip r:embed="rId5" cstate="print"/>
              <a:stretch>
                <a:fillRect/>
              </a:stretch>
            </a:blipFill>
          </p:spPr>
          <p:txBody>
            <a:bodyPr wrap="square" lIns="0" tIns="0" rIns="0" bIns="0" rtlCol="0"/>
            <a:lstStyle/>
            <a:p>
              <a:pPr>
                <a:lnSpc>
                  <a:spcPct val="110000"/>
                </a:lnSpc>
                <a:spcBef>
                  <a:spcPts val="200"/>
                </a:spcBef>
                <a:spcAft>
                  <a:spcPts val="200"/>
                </a:spcAft>
              </a:pPr>
              <a:endParaRPr lang="en-GB" dirty="0"/>
            </a:p>
          </p:txBody>
        </p:sp>
        <p:sp>
          <p:nvSpPr>
            <p:cNvPr id="33" name="object 7">
              <a:extLst>
                <a:ext uri="{FF2B5EF4-FFF2-40B4-BE49-F238E27FC236}">
                  <a16:creationId xmlns:a16="http://schemas.microsoft.com/office/drawing/2014/main" id="{94FA21E1-4698-C740-97BC-C785B32D63BB}"/>
                </a:ext>
              </a:extLst>
            </p:cNvPr>
            <p:cNvSpPr/>
            <p:nvPr/>
          </p:nvSpPr>
          <p:spPr>
            <a:xfrm>
              <a:off x="5966345" y="1378645"/>
              <a:ext cx="960119" cy="2658110"/>
            </a:xfrm>
            <a:custGeom>
              <a:avLst/>
              <a:gdLst/>
              <a:ahLst/>
              <a:cxnLst/>
              <a:rect l="l" t="t" r="r" b="b"/>
              <a:pathLst>
                <a:path w="960120" h="2658110">
                  <a:moveTo>
                    <a:pt x="897040" y="0"/>
                  </a:moveTo>
                  <a:lnTo>
                    <a:pt x="855003" y="1941"/>
                  </a:lnTo>
                  <a:lnTo>
                    <a:pt x="806602" y="21134"/>
                  </a:lnTo>
                  <a:lnTo>
                    <a:pt x="153123" y="384049"/>
                  </a:lnTo>
                  <a:lnTo>
                    <a:pt x="112417" y="412041"/>
                  </a:lnTo>
                  <a:lnTo>
                    <a:pt x="75838" y="447553"/>
                  </a:lnTo>
                  <a:lnTo>
                    <a:pt x="44848" y="488338"/>
                  </a:lnTo>
                  <a:lnTo>
                    <a:pt x="20905" y="532148"/>
                  </a:lnTo>
                  <a:lnTo>
                    <a:pt x="5469" y="576735"/>
                  </a:lnTo>
                  <a:lnTo>
                    <a:pt x="0" y="619850"/>
                  </a:lnTo>
                  <a:lnTo>
                    <a:pt x="0" y="2570634"/>
                  </a:lnTo>
                  <a:lnTo>
                    <a:pt x="7806" y="2613943"/>
                  </a:lnTo>
                  <a:lnTo>
                    <a:pt x="29543" y="2643253"/>
                  </a:lnTo>
                  <a:lnTo>
                    <a:pt x="62690" y="2657478"/>
                  </a:lnTo>
                  <a:lnTo>
                    <a:pt x="104724" y="2655536"/>
                  </a:lnTo>
                  <a:lnTo>
                    <a:pt x="153123" y="2636343"/>
                  </a:lnTo>
                  <a:lnTo>
                    <a:pt x="806602" y="2273428"/>
                  </a:lnTo>
                  <a:lnTo>
                    <a:pt x="847310" y="2245432"/>
                  </a:lnTo>
                  <a:lnTo>
                    <a:pt x="883890" y="2209918"/>
                  </a:lnTo>
                  <a:lnTo>
                    <a:pt x="914884" y="2169134"/>
                  </a:lnTo>
                  <a:lnTo>
                    <a:pt x="938830" y="2125326"/>
                  </a:lnTo>
                  <a:lnTo>
                    <a:pt x="954268" y="2080742"/>
                  </a:lnTo>
                  <a:lnTo>
                    <a:pt x="959739" y="2037627"/>
                  </a:lnTo>
                  <a:lnTo>
                    <a:pt x="959739" y="86844"/>
                  </a:lnTo>
                  <a:lnTo>
                    <a:pt x="951931" y="43534"/>
                  </a:lnTo>
                  <a:lnTo>
                    <a:pt x="930190" y="14225"/>
                  </a:lnTo>
                  <a:lnTo>
                    <a:pt x="897040" y="0"/>
                  </a:lnTo>
                  <a:close/>
                </a:path>
              </a:pathLst>
            </a:custGeom>
            <a:solidFill>
              <a:srgbClr val="F5F5F5"/>
            </a:solidFill>
          </p:spPr>
          <p:txBody>
            <a:bodyPr wrap="square" lIns="0" tIns="0" rIns="0" bIns="0" rtlCol="0"/>
            <a:lstStyle/>
            <a:p>
              <a:pPr>
                <a:lnSpc>
                  <a:spcPct val="110000"/>
                </a:lnSpc>
                <a:spcBef>
                  <a:spcPts val="200"/>
                </a:spcBef>
                <a:spcAft>
                  <a:spcPts val="200"/>
                </a:spcAft>
              </a:pPr>
              <a:endParaRPr lang="en-GB" dirty="0"/>
            </a:p>
          </p:txBody>
        </p:sp>
        <p:sp>
          <p:nvSpPr>
            <p:cNvPr id="34" name="object 8">
              <a:extLst>
                <a:ext uri="{FF2B5EF4-FFF2-40B4-BE49-F238E27FC236}">
                  <a16:creationId xmlns:a16="http://schemas.microsoft.com/office/drawing/2014/main" id="{EAAF4E73-D602-5345-82AE-5DE9E0B788AB}"/>
                </a:ext>
              </a:extLst>
            </p:cNvPr>
            <p:cNvSpPr/>
            <p:nvPr/>
          </p:nvSpPr>
          <p:spPr>
            <a:xfrm>
              <a:off x="6007163" y="1610804"/>
              <a:ext cx="878090" cy="2174239"/>
            </a:xfrm>
            <a:prstGeom prst="rect">
              <a:avLst/>
            </a:prstGeom>
            <a:blipFill>
              <a:blip r:embed="rId6" cstate="print"/>
              <a:stretch>
                <a:fillRect/>
              </a:stretch>
            </a:blipFill>
          </p:spPr>
          <p:txBody>
            <a:bodyPr wrap="square" lIns="0" tIns="0" rIns="0" bIns="0" rtlCol="0"/>
            <a:lstStyle/>
            <a:p>
              <a:pPr>
                <a:lnSpc>
                  <a:spcPct val="110000"/>
                </a:lnSpc>
                <a:spcBef>
                  <a:spcPts val="200"/>
                </a:spcBef>
                <a:spcAft>
                  <a:spcPts val="200"/>
                </a:spcAft>
              </a:pPr>
              <a:endParaRPr lang="en-GB" dirty="0"/>
            </a:p>
          </p:txBody>
        </p:sp>
        <p:sp>
          <p:nvSpPr>
            <p:cNvPr id="35" name="object 9">
              <a:extLst>
                <a:ext uri="{FF2B5EF4-FFF2-40B4-BE49-F238E27FC236}">
                  <a16:creationId xmlns:a16="http://schemas.microsoft.com/office/drawing/2014/main" id="{0E09A2D5-1C2C-AE4B-8983-2DCE8FADF033}"/>
                </a:ext>
              </a:extLst>
            </p:cNvPr>
            <p:cNvSpPr/>
            <p:nvPr/>
          </p:nvSpPr>
          <p:spPr>
            <a:xfrm>
              <a:off x="6218195" y="1798646"/>
              <a:ext cx="67868" cy="94431"/>
            </a:xfrm>
            <a:prstGeom prst="rect">
              <a:avLst/>
            </a:prstGeom>
            <a:blipFill>
              <a:blip r:embed="rId7" cstate="print"/>
              <a:stretch>
                <a:fillRect/>
              </a:stretch>
            </a:blipFill>
          </p:spPr>
          <p:txBody>
            <a:bodyPr wrap="square" lIns="0" tIns="0" rIns="0" bIns="0" rtlCol="0"/>
            <a:lstStyle/>
            <a:p>
              <a:pPr>
                <a:lnSpc>
                  <a:spcPct val="110000"/>
                </a:lnSpc>
                <a:spcBef>
                  <a:spcPts val="200"/>
                </a:spcBef>
                <a:spcAft>
                  <a:spcPts val="200"/>
                </a:spcAft>
              </a:pPr>
              <a:endParaRPr lang="en-GB" dirty="0"/>
            </a:p>
          </p:txBody>
        </p:sp>
        <p:sp>
          <p:nvSpPr>
            <p:cNvPr id="36" name="object 10">
              <a:extLst>
                <a:ext uri="{FF2B5EF4-FFF2-40B4-BE49-F238E27FC236}">
                  <a16:creationId xmlns:a16="http://schemas.microsoft.com/office/drawing/2014/main" id="{C177616C-7023-6042-9D44-0B594BBF8281}"/>
                </a:ext>
              </a:extLst>
            </p:cNvPr>
            <p:cNvSpPr/>
            <p:nvPr/>
          </p:nvSpPr>
          <p:spPr>
            <a:xfrm>
              <a:off x="6585546" y="1614161"/>
              <a:ext cx="48260" cy="66675"/>
            </a:xfrm>
            <a:custGeom>
              <a:avLst/>
              <a:gdLst/>
              <a:ahLst/>
              <a:cxnLst/>
              <a:rect l="l" t="t" r="r" b="b"/>
              <a:pathLst>
                <a:path w="48259" h="66675">
                  <a:moveTo>
                    <a:pt x="33210" y="0"/>
                  </a:moveTo>
                  <a:lnTo>
                    <a:pt x="1879" y="33622"/>
                  </a:lnTo>
                  <a:lnTo>
                    <a:pt x="0" y="46532"/>
                  </a:lnTo>
                  <a:lnTo>
                    <a:pt x="1879" y="57356"/>
                  </a:lnTo>
                  <a:lnTo>
                    <a:pt x="7002" y="64200"/>
                  </a:lnTo>
                  <a:lnTo>
                    <a:pt x="14600" y="66512"/>
                  </a:lnTo>
                  <a:lnTo>
                    <a:pt x="23901" y="63741"/>
                  </a:lnTo>
                  <a:lnTo>
                    <a:pt x="33210" y="56180"/>
                  </a:lnTo>
                  <a:lnTo>
                    <a:pt x="40811" y="45428"/>
                  </a:lnTo>
                  <a:lnTo>
                    <a:pt x="45936" y="32894"/>
                  </a:lnTo>
                  <a:lnTo>
                    <a:pt x="47815" y="19989"/>
                  </a:lnTo>
                  <a:lnTo>
                    <a:pt x="45936" y="9164"/>
                  </a:lnTo>
                  <a:lnTo>
                    <a:pt x="40811" y="2316"/>
                  </a:lnTo>
                  <a:lnTo>
                    <a:pt x="33210" y="0"/>
                  </a:lnTo>
                  <a:close/>
                </a:path>
              </a:pathLst>
            </a:custGeom>
            <a:solidFill>
              <a:srgbClr val="098DB7"/>
            </a:solidFill>
          </p:spPr>
          <p:txBody>
            <a:bodyPr wrap="square" lIns="0" tIns="0" rIns="0" bIns="0" rtlCol="0"/>
            <a:lstStyle/>
            <a:p>
              <a:pPr>
                <a:lnSpc>
                  <a:spcPct val="110000"/>
                </a:lnSpc>
                <a:spcBef>
                  <a:spcPts val="200"/>
                </a:spcBef>
                <a:spcAft>
                  <a:spcPts val="200"/>
                </a:spcAft>
              </a:pPr>
              <a:endParaRPr lang="en-GB" dirty="0"/>
            </a:p>
          </p:txBody>
        </p:sp>
        <p:sp>
          <p:nvSpPr>
            <p:cNvPr id="37" name="object 11">
              <a:extLst>
                <a:ext uri="{FF2B5EF4-FFF2-40B4-BE49-F238E27FC236}">
                  <a16:creationId xmlns:a16="http://schemas.microsoft.com/office/drawing/2014/main" id="{B4A29946-802F-5C42-82A8-31F6C5263107}"/>
                </a:ext>
              </a:extLst>
            </p:cNvPr>
            <p:cNvSpPr/>
            <p:nvPr/>
          </p:nvSpPr>
          <p:spPr>
            <a:xfrm>
              <a:off x="6331588" y="1656839"/>
              <a:ext cx="229234" cy="162478"/>
            </a:xfrm>
            <a:prstGeom prst="rect">
              <a:avLst/>
            </a:prstGeom>
            <a:blipFill>
              <a:blip r:embed="rId8" cstate="print"/>
              <a:stretch>
                <a:fillRect/>
              </a:stretch>
            </a:blipFill>
          </p:spPr>
          <p:txBody>
            <a:bodyPr wrap="square" lIns="0" tIns="0" rIns="0" bIns="0" rtlCol="0"/>
            <a:lstStyle/>
            <a:p>
              <a:pPr>
                <a:lnSpc>
                  <a:spcPct val="110000"/>
                </a:lnSpc>
                <a:spcBef>
                  <a:spcPts val="200"/>
                </a:spcBef>
                <a:spcAft>
                  <a:spcPts val="200"/>
                </a:spcAft>
              </a:pPr>
              <a:endParaRPr lang="en-GB" dirty="0"/>
            </a:p>
          </p:txBody>
        </p:sp>
        <p:sp>
          <p:nvSpPr>
            <p:cNvPr id="38" name="object 12">
              <a:extLst>
                <a:ext uri="{FF2B5EF4-FFF2-40B4-BE49-F238E27FC236}">
                  <a16:creationId xmlns:a16="http://schemas.microsoft.com/office/drawing/2014/main" id="{7E5B1B7A-20D7-AD41-B697-BF4EBDE2E970}"/>
                </a:ext>
              </a:extLst>
            </p:cNvPr>
            <p:cNvSpPr/>
            <p:nvPr/>
          </p:nvSpPr>
          <p:spPr>
            <a:xfrm>
              <a:off x="6336897" y="3607787"/>
              <a:ext cx="218617" cy="193208"/>
            </a:xfrm>
            <a:prstGeom prst="rect">
              <a:avLst/>
            </a:prstGeom>
            <a:blipFill>
              <a:blip r:embed="rId9" cstate="print"/>
              <a:stretch>
                <a:fillRect/>
              </a:stretch>
            </a:blipFill>
          </p:spPr>
          <p:txBody>
            <a:bodyPr wrap="square" lIns="0" tIns="0" rIns="0" bIns="0" rtlCol="0"/>
            <a:lstStyle/>
            <a:p>
              <a:pPr>
                <a:lnSpc>
                  <a:spcPct val="110000"/>
                </a:lnSpc>
                <a:spcBef>
                  <a:spcPts val="200"/>
                </a:spcBef>
                <a:spcAft>
                  <a:spcPts val="200"/>
                </a:spcAft>
              </a:pPr>
              <a:endParaRPr lang="en-GB" dirty="0"/>
            </a:p>
          </p:txBody>
        </p:sp>
        <p:sp>
          <p:nvSpPr>
            <p:cNvPr id="39" name="object 13">
              <a:extLst>
                <a:ext uri="{FF2B5EF4-FFF2-40B4-BE49-F238E27FC236}">
                  <a16:creationId xmlns:a16="http://schemas.microsoft.com/office/drawing/2014/main" id="{5E95B97E-086D-B942-8708-D73D8E6481D3}"/>
                </a:ext>
              </a:extLst>
            </p:cNvPr>
            <p:cNvSpPr/>
            <p:nvPr/>
          </p:nvSpPr>
          <p:spPr>
            <a:xfrm>
              <a:off x="5500599" y="5857724"/>
              <a:ext cx="1432560" cy="819785"/>
            </a:xfrm>
            <a:custGeom>
              <a:avLst/>
              <a:gdLst/>
              <a:ahLst/>
              <a:cxnLst/>
              <a:rect l="l" t="t" r="r" b="b"/>
              <a:pathLst>
                <a:path w="1432559" h="819784">
                  <a:moveTo>
                    <a:pt x="705064" y="0"/>
                  </a:moveTo>
                  <a:lnTo>
                    <a:pt x="658763" y="3877"/>
                  </a:lnTo>
                  <a:lnTo>
                    <a:pt x="613537" y="15510"/>
                  </a:lnTo>
                  <a:lnTo>
                    <a:pt x="570461" y="34899"/>
                  </a:lnTo>
                  <a:lnTo>
                    <a:pt x="44872" y="328536"/>
                  </a:lnTo>
                  <a:lnTo>
                    <a:pt x="11218" y="361431"/>
                  </a:lnTo>
                  <a:lnTo>
                    <a:pt x="0" y="403729"/>
                  </a:lnTo>
                  <a:lnTo>
                    <a:pt x="11218" y="446033"/>
                  </a:lnTo>
                  <a:lnTo>
                    <a:pt x="44872" y="478942"/>
                  </a:lnTo>
                  <a:lnTo>
                    <a:pt x="592483" y="784885"/>
                  </a:lnTo>
                  <a:lnTo>
                    <a:pt x="635569" y="804274"/>
                  </a:lnTo>
                  <a:lnTo>
                    <a:pt x="680799" y="815907"/>
                  </a:lnTo>
                  <a:lnTo>
                    <a:pt x="727101" y="819784"/>
                  </a:lnTo>
                  <a:lnTo>
                    <a:pt x="773403" y="815907"/>
                  </a:lnTo>
                  <a:lnTo>
                    <a:pt x="818630" y="804274"/>
                  </a:lnTo>
                  <a:lnTo>
                    <a:pt x="861710" y="784885"/>
                  </a:lnTo>
                  <a:lnTo>
                    <a:pt x="1387287" y="491248"/>
                  </a:lnTo>
                  <a:lnTo>
                    <a:pt x="1420941" y="458346"/>
                  </a:lnTo>
                  <a:lnTo>
                    <a:pt x="1432159" y="416045"/>
                  </a:lnTo>
                  <a:lnTo>
                    <a:pt x="1420941" y="373744"/>
                  </a:lnTo>
                  <a:lnTo>
                    <a:pt x="1387287" y="340842"/>
                  </a:lnTo>
                  <a:lnTo>
                    <a:pt x="839676" y="34899"/>
                  </a:lnTo>
                  <a:lnTo>
                    <a:pt x="796594" y="15510"/>
                  </a:lnTo>
                  <a:lnTo>
                    <a:pt x="751366" y="3877"/>
                  </a:lnTo>
                  <a:lnTo>
                    <a:pt x="705064" y="0"/>
                  </a:lnTo>
                  <a:close/>
                </a:path>
              </a:pathLst>
            </a:custGeom>
            <a:solidFill>
              <a:srgbClr val="005A82">
                <a:alpha val="14999"/>
              </a:srgbClr>
            </a:solidFill>
          </p:spPr>
          <p:txBody>
            <a:bodyPr wrap="square" lIns="0" tIns="0" rIns="0" bIns="0" rtlCol="0"/>
            <a:lstStyle/>
            <a:p>
              <a:pPr>
                <a:lnSpc>
                  <a:spcPct val="110000"/>
                </a:lnSpc>
                <a:spcBef>
                  <a:spcPts val="200"/>
                </a:spcBef>
                <a:spcAft>
                  <a:spcPts val="200"/>
                </a:spcAft>
              </a:pPr>
              <a:endParaRPr lang="en-GB" dirty="0"/>
            </a:p>
          </p:txBody>
        </p:sp>
        <p:sp>
          <p:nvSpPr>
            <p:cNvPr id="40" name="object 14">
              <a:extLst>
                <a:ext uri="{FF2B5EF4-FFF2-40B4-BE49-F238E27FC236}">
                  <a16:creationId xmlns:a16="http://schemas.microsoft.com/office/drawing/2014/main" id="{DBC77E4B-3EF8-6943-86FE-2C4AE7BC8C0F}"/>
                </a:ext>
              </a:extLst>
            </p:cNvPr>
            <p:cNvSpPr/>
            <p:nvPr/>
          </p:nvSpPr>
          <p:spPr>
            <a:xfrm>
              <a:off x="5500293" y="3474008"/>
              <a:ext cx="1432471" cy="2990335"/>
            </a:xfrm>
            <a:prstGeom prst="rect">
              <a:avLst/>
            </a:prstGeom>
            <a:blipFill>
              <a:blip r:embed="rId10" cstate="print"/>
              <a:stretch>
                <a:fillRect/>
              </a:stretch>
            </a:blipFill>
          </p:spPr>
          <p:txBody>
            <a:bodyPr wrap="square" lIns="0" tIns="0" rIns="0" bIns="0" rtlCol="0"/>
            <a:lstStyle/>
            <a:p>
              <a:pPr>
                <a:lnSpc>
                  <a:spcPct val="110000"/>
                </a:lnSpc>
                <a:spcBef>
                  <a:spcPts val="200"/>
                </a:spcBef>
                <a:spcAft>
                  <a:spcPts val="200"/>
                </a:spcAft>
              </a:pPr>
              <a:endParaRPr lang="en-GB" dirty="0"/>
            </a:p>
          </p:txBody>
        </p:sp>
        <p:sp>
          <p:nvSpPr>
            <p:cNvPr id="41" name="object 15">
              <a:extLst>
                <a:ext uri="{FF2B5EF4-FFF2-40B4-BE49-F238E27FC236}">
                  <a16:creationId xmlns:a16="http://schemas.microsoft.com/office/drawing/2014/main" id="{2D10CD28-D9F6-1C4E-833D-507F57AE047E}"/>
                </a:ext>
              </a:extLst>
            </p:cNvPr>
            <p:cNvSpPr/>
            <p:nvPr/>
          </p:nvSpPr>
          <p:spPr>
            <a:xfrm>
              <a:off x="5444669" y="4879233"/>
              <a:ext cx="336550" cy="244475"/>
            </a:xfrm>
            <a:custGeom>
              <a:avLst/>
              <a:gdLst/>
              <a:ahLst/>
              <a:cxnLst/>
              <a:rect l="l" t="t" r="r" b="b"/>
              <a:pathLst>
                <a:path w="336550" h="244475">
                  <a:moveTo>
                    <a:pt x="272708" y="0"/>
                  </a:moveTo>
                  <a:lnTo>
                    <a:pt x="238489" y="4971"/>
                  </a:lnTo>
                  <a:lnTo>
                    <a:pt x="197739" y="20080"/>
                  </a:lnTo>
                  <a:lnTo>
                    <a:pt x="0" y="195899"/>
                  </a:lnTo>
                  <a:lnTo>
                    <a:pt x="4253" y="208784"/>
                  </a:lnTo>
                  <a:lnTo>
                    <a:pt x="16397" y="229200"/>
                  </a:lnTo>
                  <a:lnTo>
                    <a:pt x="44221" y="243846"/>
                  </a:lnTo>
                  <a:lnTo>
                    <a:pt x="95516" y="239421"/>
                  </a:lnTo>
                  <a:lnTo>
                    <a:pt x="255600" y="201982"/>
                  </a:lnTo>
                  <a:lnTo>
                    <a:pt x="318368" y="160188"/>
                  </a:lnTo>
                  <a:lnTo>
                    <a:pt x="335455" y="122655"/>
                  </a:lnTo>
                  <a:lnTo>
                    <a:pt x="336352" y="75900"/>
                  </a:lnTo>
                  <a:lnTo>
                    <a:pt x="316064" y="21324"/>
                  </a:lnTo>
                  <a:lnTo>
                    <a:pt x="299024" y="5380"/>
                  </a:lnTo>
                  <a:lnTo>
                    <a:pt x="272708" y="0"/>
                  </a:lnTo>
                  <a:close/>
                </a:path>
              </a:pathLst>
            </a:custGeom>
            <a:solidFill>
              <a:srgbClr val="005A82"/>
            </a:solidFill>
          </p:spPr>
          <p:txBody>
            <a:bodyPr wrap="square" lIns="0" tIns="0" rIns="0" bIns="0" rtlCol="0"/>
            <a:lstStyle/>
            <a:p>
              <a:pPr>
                <a:lnSpc>
                  <a:spcPct val="110000"/>
                </a:lnSpc>
                <a:spcBef>
                  <a:spcPts val="200"/>
                </a:spcBef>
                <a:spcAft>
                  <a:spcPts val="200"/>
                </a:spcAft>
              </a:pPr>
              <a:endParaRPr lang="en-GB" dirty="0"/>
            </a:p>
          </p:txBody>
        </p:sp>
        <p:sp>
          <p:nvSpPr>
            <p:cNvPr id="42" name="object 16">
              <a:extLst>
                <a:ext uri="{FF2B5EF4-FFF2-40B4-BE49-F238E27FC236}">
                  <a16:creationId xmlns:a16="http://schemas.microsoft.com/office/drawing/2014/main" id="{A563733F-C794-8640-9FCC-855B8DF12689}"/>
                </a:ext>
              </a:extLst>
            </p:cNvPr>
            <p:cNvSpPr/>
            <p:nvPr/>
          </p:nvSpPr>
          <p:spPr>
            <a:xfrm>
              <a:off x="5441917" y="4853927"/>
              <a:ext cx="337185" cy="250825"/>
            </a:xfrm>
            <a:custGeom>
              <a:avLst/>
              <a:gdLst/>
              <a:ahLst/>
              <a:cxnLst/>
              <a:rect l="l" t="t" r="r" b="b"/>
              <a:pathLst>
                <a:path w="337185" h="250825">
                  <a:moveTo>
                    <a:pt x="232116" y="0"/>
                  </a:moveTo>
                  <a:lnTo>
                    <a:pt x="187566" y="9780"/>
                  </a:lnTo>
                  <a:lnTo>
                    <a:pt x="126409" y="51145"/>
                  </a:lnTo>
                  <a:lnTo>
                    <a:pt x="91788" y="75194"/>
                  </a:lnTo>
                  <a:lnTo>
                    <a:pt x="50902" y="108281"/>
                  </a:lnTo>
                  <a:lnTo>
                    <a:pt x="16295" y="147007"/>
                  </a:lnTo>
                  <a:lnTo>
                    <a:pt x="0" y="183958"/>
                  </a:lnTo>
                  <a:lnTo>
                    <a:pt x="908" y="215790"/>
                  </a:lnTo>
                  <a:lnTo>
                    <a:pt x="17912" y="239162"/>
                  </a:lnTo>
                  <a:lnTo>
                    <a:pt x="49902" y="250731"/>
                  </a:lnTo>
                  <a:lnTo>
                    <a:pt x="95771" y="247156"/>
                  </a:lnTo>
                  <a:lnTo>
                    <a:pt x="255854" y="209716"/>
                  </a:lnTo>
                  <a:lnTo>
                    <a:pt x="295715" y="191006"/>
                  </a:lnTo>
                  <a:lnTo>
                    <a:pt x="323672" y="159083"/>
                  </a:lnTo>
                  <a:lnTo>
                    <a:pt x="336989" y="118742"/>
                  </a:lnTo>
                  <a:lnTo>
                    <a:pt x="332930" y="74778"/>
                  </a:lnTo>
                  <a:lnTo>
                    <a:pt x="310391" y="35003"/>
                  </a:lnTo>
                  <a:lnTo>
                    <a:pt x="274922" y="9242"/>
                  </a:lnTo>
                  <a:lnTo>
                    <a:pt x="232116" y="0"/>
                  </a:lnTo>
                  <a:close/>
                </a:path>
              </a:pathLst>
            </a:custGeom>
            <a:solidFill>
              <a:srgbClr val="098DB7"/>
            </a:solidFill>
          </p:spPr>
          <p:txBody>
            <a:bodyPr wrap="square" lIns="0" tIns="0" rIns="0" bIns="0" rtlCol="0"/>
            <a:lstStyle/>
            <a:p>
              <a:pPr>
                <a:lnSpc>
                  <a:spcPct val="110000"/>
                </a:lnSpc>
                <a:spcBef>
                  <a:spcPts val="200"/>
                </a:spcBef>
                <a:spcAft>
                  <a:spcPts val="200"/>
                </a:spcAft>
              </a:pPr>
              <a:endParaRPr lang="en-GB" dirty="0"/>
            </a:p>
          </p:txBody>
        </p:sp>
        <p:sp>
          <p:nvSpPr>
            <p:cNvPr id="43" name="object 17">
              <a:extLst>
                <a:ext uri="{FF2B5EF4-FFF2-40B4-BE49-F238E27FC236}">
                  <a16:creationId xmlns:a16="http://schemas.microsoft.com/office/drawing/2014/main" id="{528E583E-F421-D745-9E23-005E014CE914}"/>
                </a:ext>
              </a:extLst>
            </p:cNvPr>
            <p:cNvSpPr/>
            <p:nvPr/>
          </p:nvSpPr>
          <p:spPr>
            <a:xfrm>
              <a:off x="5614580" y="4688786"/>
              <a:ext cx="112395" cy="284480"/>
            </a:xfrm>
            <a:custGeom>
              <a:avLst/>
              <a:gdLst/>
              <a:ahLst/>
              <a:cxnLst/>
              <a:rect l="l" t="t" r="r" b="b"/>
              <a:pathLst>
                <a:path w="112395" h="284479">
                  <a:moveTo>
                    <a:pt x="56184" y="0"/>
                  </a:moveTo>
                  <a:lnTo>
                    <a:pt x="34311" y="4415"/>
                  </a:lnTo>
                  <a:lnTo>
                    <a:pt x="16452" y="16457"/>
                  </a:lnTo>
                  <a:lnTo>
                    <a:pt x="4414" y="34316"/>
                  </a:lnTo>
                  <a:lnTo>
                    <a:pt x="0" y="56184"/>
                  </a:lnTo>
                  <a:lnTo>
                    <a:pt x="0" y="228003"/>
                  </a:lnTo>
                  <a:lnTo>
                    <a:pt x="4414" y="249871"/>
                  </a:lnTo>
                  <a:lnTo>
                    <a:pt x="16452" y="267730"/>
                  </a:lnTo>
                  <a:lnTo>
                    <a:pt x="34311" y="279772"/>
                  </a:lnTo>
                  <a:lnTo>
                    <a:pt x="56184" y="284187"/>
                  </a:lnTo>
                  <a:lnTo>
                    <a:pt x="78052" y="279772"/>
                  </a:lnTo>
                  <a:lnTo>
                    <a:pt x="95911" y="267730"/>
                  </a:lnTo>
                  <a:lnTo>
                    <a:pt x="107953" y="249871"/>
                  </a:lnTo>
                  <a:lnTo>
                    <a:pt x="112369" y="228003"/>
                  </a:lnTo>
                  <a:lnTo>
                    <a:pt x="112369" y="56184"/>
                  </a:lnTo>
                  <a:lnTo>
                    <a:pt x="107953" y="34316"/>
                  </a:lnTo>
                  <a:lnTo>
                    <a:pt x="95911" y="16457"/>
                  </a:lnTo>
                  <a:lnTo>
                    <a:pt x="78052" y="4415"/>
                  </a:lnTo>
                  <a:lnTo>
                    <a:pt x="56184" y="0"/>
                  </a:lnTo>
                  <a:close/>
                </a:path>
              </a:pathLst>
            </a:custGeom>
            <a:solidFill>
              <a:srgbClr val="005A82"/>
            </a:solidFill>
          </p:spPr>
          <p:txBody>
            <a:bodyPr wrap="square" lIns="0" tIns="0" rIns="0" bIns="0" rtlCol="0"/>
            <a:lstStyle/>
            <a:p>
              <a:pPr>
                <a:lnSpc>
                  <a:spcPct val="110000"/>
                </a:lnSpc>
                <a:spcBef>
                  <a:spcPts val="200"/>
                </a:spcBef>
                <a:spcAft>
                  <a:spcPts val="200"/>
                </a:spcAft>
              </a:pPr>
              <a:endParaRPr lang="en-GB" dirty="0"/>
            </a:p>
          </p:txBody>
        </p:sp>
        <p:sp>
          <p:nvSpPr>
            <p:cNvPr id="44" name="object 18">
              <a:extLst>
                <a:ext uri="{FF2B5EF4-FFF2-40B4-BE49-F238E27FC236}">
                  <a16:creationId xmlns:a16="http://schemas.microsoft.com/office/drawing/2014/main" id="{954FE904-ABC0-FA46-913D-3AFCBE8EC904}"/>
                </a:ext>
              </a:extLst>
            </p:cNvPr>
            <p:cNvSpPr/>
            <p:nvPr/>
          </p:nvSpPr>
          <p:spPr>
            <a:xfrm>
              <a:off x="5575880" y="4285570"/>
              <a:ext cx="227965" cy="638810"/>
            </a:xfrm>
            <a:custGeom>
              <a:avLst/>
              <a:gdLst/>
              <a:ahLst/>
              <a:cxnLst/>
              <a:rect l="l" t="t" r="r" b="b"/>
              <a:pathLst>
                <a:path w="227964" h="638810">
                  <a:moveTo>
                    <a:pt x="100647" y="0"/>
                  </a:moveTo>
                  <a:lnTo>
                    <a:pt x="83232" y="42162"/>
                  </a:lnTo>
                  <a:lnTo>
                    <a:pt x="67460" y="85801"/>
                  </a:lnTo>
                  <a:lnTo>
                    <a:pt x="53335" y="130905"/>
                  </a:lnTo>
                  <a:lnTo>
                    <a:pt x="40860" y="177466"/>
                  </a:lnTo>
                  <a:lnTo>
                    <a:pt x="30039" y="225472"/>
                  </a:lnTo>
                  <a:lnTo>
                    <a:pt x="20873" y="274915"/>
                  </a:lnTo>
                  <a:lnTo>
                    <a:pt x="13367" y="325785"/>
                  </a:lnTo>
                  <a:lnTo>
                    <a:pt x="7523" y="378071"/>
                  </a:lnTo>
                  <a:lnTo>
                    <a:pt x="3346" y="431764"/>
                  </a:lnTo>
                  <a:lnTo>
                    <a:pt x="837" y="486854"/>
                  </a:lnTo>
                  <a:lnTo>
                    <a:pt x="0" y="543331"/>
                  </a:lnTo>
                  <a:lnTo>
                    <a:pt x="7456" y="580263"/>
                  </a:lnTo>
                  <a:lnTo>
                    <a:pt x="27790" y="610422"/>
                  </a:lnTo>
                  <a:lnTo>
                    <a:pt x="57950" y="630756"/>
                  </a:lnTo>
                  <a:lnTo>
                    <a:pt x="94881" y="638213"/>
                  </a:lnTo>
                  <a:lnTo>
                    <a:pt x="131813" y="630756"/>
                  </a:lnTo>
                  <a:lnTo>
                    <a:pt x="161972" y="610422"/>
                  </a:lnTo>
                  <a:lnTo>
                    <a:pt x="182306" y="580263"/>
                  </a:lnTo>
                  <a:lnTo>
                    <a:pt x="189763" y="543331"/>
                  </a:lnTo>
                  <a:lnTo>
                    <a:pt x="190540" y="492326"/>
                  </a:lnTo>
                  <a:lnTo>
                    <a:pt x="192864" y="442743"/>
                  </a:lnTo>
                  <a:lnTo>
                    <a:pt x="196727" y="394590"/>
                  </a:lnTo>
                  <a:lnTo>
                    <a:pt x="202119" y="347879"/>
                  </a:lnTo>
                  <a:lnTo>
                    <a:pt x="209031" y="302617"/>
                  </a:lnTo>
                  <a:lnTo>
                    <a:pt x="217455" y="258816"/>
                  </a:lnTo>
                  <a:lnTo>
                    <a:pt x="227380" y="216484"/>
                  </a:lnTo>
                  <a:lnTo>
                    <a:pt x="184128" y="188317"/>
                  </a:lnTo>
                  <a:lnTo>
                    <a:pt x="151251" y="147913"/>
                  </a:lnTo>
                  <a:lnTo>
                    <a:pt x="127326" y="99943"/>
                  </a:lnTo>
                  <a:lnTo>
                    <a:pt x="110932" y="49081"/>
                  </a:lnTo>
                  <a:lnTo>
                    <a:pt x="100647" y="0"/>
                  </a:lnTo>
                  <a:close/>
                </a:path>
              </a:pathLst>
            </a:custGeom>
            <a:solidFill>
              <a:srgbClr val="A49ACB"/>
            </a:solidFill>
          </p:spPr>
          <p:txBody>
            <a:bodyPr wrap="square" lIns="0" tIns="0" rIns="0" bIns="0" rtlCol="0"/>
            <a:lstStyle/>
            <a:p>
              <a:pPr>
                <a:lnSpc>
                  <a:spcPct val="110000"/>
                </a:lnSpc>
                <a:spcBef>
                  <a:spcPts val="200"/>
                </a:spcBef>
                <a:spcAft>
                  <a:spcPts val="200"/>
                </a:spcAft>
              </a:pPr>
              <a:endParaRPr lang="en-GB" dirty="0"/>
            </a:p>
          </p:txBody>
        </p:sp>
        <p:sp>
          <p:nvSpPr>
            <p:cNvPr id="45" name="object 19">
              <a:extLst>
                <a:ext uri="{FF2B5EF4-FFF2-40B4-BE49-F238E27FC236}">
                  <a16:creationId xmlns:a16="http://schemas.microsoft.com/office/drawing/2014/main" id="{9A7AAF30-9539-EE4C-91B5-36742EB8CDD5}"/>
                </a:ext>
              </a:extLst>
            </p:cNvPr>
            <p:cNvSpPr/>
            <p:nvPr/>
          </p:nvSpPr>
          <p:spPr>
            <a:xfrm>
              <a:off x="5676527" y="4089003"/>
              <a:ext cx="285115" cy="413384"/>
            </a:xfrm>
            <a:custGeom>
              <a:avLst/>
              <a:gdLst/>
              <a:ahLst/>
              <a:cxnLst/>
              <a:rect l="l" t="t" r="r" b="b"/>
              <a:pathLst>
                <a:path w="285114" h="413385">
                  <a:moveTo>
                    <a:pt x="119603" y="0"/>
                  </a:moveTo>
                  <a:lnTo>
                    <a:pt x="81126" y="49949"/>
                  </a:lnTo>
                  <a:lnTo>
                    <a:pt x="51461" y="96405"/>
                  </a:lnTo>
                  <a:lnTo>
                    <a:pt x="24419" y="145286"/>
                  </a:lnTo>
                  <a:lnTo>
                    <a:pt x="0" y="196567"/>
                  </a:lnTo>
                  <a:lnTo>
                    <a:pt x="10284" y="245649"/>
                  </a:lnTo>
                  <a:lnTo>
                    <a:pt x="26678" y="296511"/>
                  </a:lnTo>
                  <a:lnTo>
                    <a:pt x="50603" y="344480"/>
                  </a:lnTo>
                  <a:lnTo>
                    <a:pt x="83481" y="384885"/>
                  </a:lnTo>
                  <a:lnTo>
                    <a:pt x="126733" y="413051"/>
                  </a:lnTo>
                  <a:lnTo>
                    <a:pt x="142274" y="356259"/>
                  </a:lnTo>
                  <a:lnTo>
                    <a:pt x="158734" y="304940"/>
                  </a:lnTo>
                  <a:lnTo>
                    <a:pt x="176961" y="258183"/>
                  </a:lnTo>
                  <a:lnTo>
                    <a:pt x="197803" y="215077"/>
                  </a:lnTo>
                  <a:lnTo>
                    <a:pt x="222109" y="174710"/>
                  </a:lnTo>
                  <a:lnTo>
                    <a:pt x="250727" y="136171"/>
                  </a:lnTo>
                  <a:lnTo>
                    <a:pt x="284505" y="98549"/>
                  </a:lnTo>
                  <a:lnTo>
                    <a:pt x="217712" y="70624"/>
                  </a:lnTo>
                  <a:lnTo>
                    <a:pt x="164547" y="55521"/>
                  </a:lnTo>
                  <a:lnTo>
                    <a:pt x="128775" y="43513"/>
                  </a:lnTo>
                  <a:lnTo>
                    <a:pt x="117110" y="28638"/>
                  </a:lnTo>
                  <a:lnTo>
                    <a:pt x="106024" y="28638"/>
                  </a:lnTo>
                  <a:lnTo>
                    <a:pt x="112490" y="13955"/>
                  </a:lnTo>
                  <a:lnTo>
                    <a:pt x="119603" y="0"/>
                  </a:lnTo>
                  <a:close/>
                </a:path>
                <a:path w="285114" h="413385">
                  <a:moveTo>
                    <a:pt x="114160" y="24876"/>
                  </a:moveTo>
                  <a:lnTo>
                    <a:pt x="106024" y="28638"/>
                  </a:lnTo>
                  <a:lnTo>
                    <a:pt x="117110" y="28638"/>
                  </a:lnTo>
                  <a:lnTo>
                    <a:pt x="114160" y="24876"/>
                  </a:lnTo>
                  <a:close/>
                </a:path>
              </a:pathLst>
            </a:custGeom>
            <a:solidFill>
              <a:srgbClr val="402250"/>
            </a:solidFill>
          </p:spPr>
          <p:txBody>
            <a:bodyPr wrap="square" lIns="0" tIns="0" rIns="0" bIns="0" rtlCol="0"/>
            <a:lstStyle/>
            <a:p>
              <a:pPr>
                <a:lnSpc>
                  <a:spcPct val="110000"/>
                </a:lnSpc>
                <a:spcBef>
                  <a:spcPts val="200"/>
                </a:spcBef>
                <a:spcAft>
                  <a:spcPts val="200"/>
                </a:spcAft>
              </a:pPr>
              <a:endParaRPr lang="en-GB" dirty="0"/>
            </a:p>
          </p:txBody>
        </p:sp>
        <p:sp>
          <p:nvSpPr>
            <p:cNvPr id="46" name="object 20">
              <a:extLst>
                <a:ext uri="{FF2B5EF4-FFF2-40B4-BE49-F238E27FC236}">
                  <a16:creationId xmlns:a16="http://schemas.microsoft.com/office/drawing/2014/main" id="{02554918-F902-D643-8C47-8453A8FA02AC}"/>
                </a:ext>
              </a:extLst>
            </p:cNvPr>
            <p:cNvSpPr/>
            <p:nvPr/>
          </p:nvSpPr>
          <p:spPr>
            <a:xfrm>
              <a:off x="6169674" y="3164551"/>
              <a:ext cx="434975" cy="638175"/>
            </a:xfrm>
            <a:custGeom>
              <a:avLst/>
              <a:gdLst/>
              <a:ahLst/>
              <a:cxnLst/>
              <a:rect l="l" t="t" r="r" b="b"/>
              <a:pathLst>
                <a:path w="434975" h="638175">
                  <a:moveTo>
                    <a:pt x="174198" y="0"/>
                  </a:moveTo>
                  <a:lnTo>
                    <a:pt x="135681" y="3649"/>
                  </a:lnTo>
                  <a:lnTo>
                    <a:pt x="69098" y="25703"/>
                  </a:lnTo>
                  <a:lnTo>
                    <a:pt x="25463" y="66989"/>
                  </a:lnTo>
                  <a:lnTo>
                    <a:pt x="9616" y="139300"/>
                  </a:lnTo>
                  <a:lnTo>
                    <a:pt x="5301" y="191010"/>
                  </a:lnTo>
                  <a:lnTo>
                    <a:pt x="2432" y="247622"/>
                  </a:lnTo>
                  <a:lnTo>
                    <a:pt x="759" y="306945"/>
                  </a:lnTo>
                  <a:lnTo>
                    <a:pt x="32" y="366792"/>
                  </a:lnTo>
                  <a:lnTo>
                    <a:pt x="0" y="424971"/>
                  </a:lnTo>
                  <a:lnTo>
                    <a:pt x="411" y="479295"/>
                  </a:lnTo>
                  <a:lnTo>
                    <a:pt x="1015" y="527572"/>
                  </a:lnTo>
                  <a:lnTo>
                    <a:pt x="1561" y="567614"/>
                  </a:lnTo>
                  <a:lnTo>
                    <a:pt x="1799" y="597232"/>
                  </a:lnTo>
                  <a:lnTo>
                    <a:pt x="30425" y="636919"/>
                  </a:lnTo>
                  <a:lnTo>
                    <a:pt x="196914" y="637619"/>
                  </a:lnTo>
                  <a:lnTo>
                    <a:pt x="294493" y="592371"/>
                  </a:lnTo>
                  <a:lnTo>
                    <a:pt x="361034" y="460240"/>
                  </a:lnTo>
                  <a:lnTo>
                    <a:pt x="434412" y="200293"/>
                  </a:lnTo>
                  <a:lnTo>
                    <a:pt x="429400" y="156525"/>
                  </a:lnTo>
                  <a:lnTo>
                    <a:pt x="415259" y="118289"/>
                  </a:lnTo>
                  <a:lnTo>
                    <a:pt x="393342" y="85519"/>
                  </a:lnTo>
                  <a:lnTo>
                    <a:pt x="364999" y="58149"/>
                  </a:lnTo>
                  <a:lnTo>
                    <a:pt x="331582" y="36113"/>
                  </a:lnTo>
                  <a:lnTo>
                    <a:pt x="294442" y="19346"/>
                  </a:lnTo>
                  <a:lnTo>
                    <a:pt x="254930" y="7782"/>
                  </a:lnTo>
                  <a:lnTo>
                    <a:pt x="214399" y="1355"/>
                  </a:lnTo>
                  <a:lnTo>
                    <a:pt x="174198" y="0"/>
                  </a:lnTo>
                  <a:close/>
                </a:path>
              </a:pathLst>
            </a:custGeom>
            <a:solidFill>
              <a:srgbClr val="098DB7"/>
            </a:solidFill>
          </p:spPr>
          <p:txBody>
            <a:bodyPr wrap="square" lIns="0" tIns="0" rIns="0" bIns="0" rtlCol="0"/>
            <a:lstStyle/>
            <a:p>
              <a:pPr>
                <a:lnSpc>
                  <a:spcPct val="110000"/>
                </a:lnSpc>
                <a:spcBef>
                  <a:spcPts val="200"/>
                </a:spcBef>
                <a:spcAft>
                  <a:spcPts val="200"/>
                </a:spcAft>
              </a:pPr>
              <a:endParaRPr lang="en-GB" dirty="0"/>
            </a:p>
          </p:txBody>
        </p:sp>
        <p:sp>
          <p:nvSpPr>
            <p:cNvPr id="47" name="object 21">
              <a:extLst>
                <a:ext uri="{FF2B5EF4-FFF2-40B4-BE49-F238E27FC236}">
                  <a16:creationId xmlns:a16="http://schemas.microsoft.com/office/drawing/2014/main" id="{17CD6399-CB21-EC40-BA02-12563D16F36B}"/>
                </a:ext>
              </a:extLst>
            </p:cNvPr>
            <p:cNvSpPr/>
            <p:nvPr/>
          </p:nvSpPr>
          <p:spPr>
            <a:xfrm>
              <a:off x="5575880" y="4283145"/>
              <a:ext cx="227965" cy="640715"/>
            </a:xfrm>
            <a:custGeom>
              <a:avLst/>
              <a:gdLst/>
              <a:ahLst/>
              <a:cxnLst/>
              <a:rect l="l" t="t" r="r" b="b"/>
              <a:pathLst>
                <a:path w="227964" h="640714">
                  <a:moveTo>
                    <a:pt x="119202" y="0"/>
                  </a:moveTo>
                  <a:lnTo>
                    <a:pt x="83232" y="44587"/>
                  </a:lnTo>
                  <a:lnTo>
                    <a:pt x="67460" y="88225"/>
                  </a:lnTo>
                  <a:lnTo>
                    <a:pt x="53335" y="133330"/>
                  </a:lnTo>
                  <a:lnTo>
                    <a:pt x="40860" y="179890"/>
                  </a:lnTo>
                  <a:lnTo>
                    <a:pt x="30039" y="227897"/>
                  </a:lnTo>
                  <a:lnTo>
                    <a:pt x="20873" y="277340"/>
                  </a:lnTo>
                  <a:lnTo>
                    <a:pt x="13367" y="328209"/>
                  </a:lnTo>
                  <a:lnTo>
                    <a:pt x="7523" y="380496"/>
                  </a:lnTo>
                  <a:lnTo>
                    <a:pt x="3346" y="434189"/>
                  </a:lnTo>
                  <a:lnTo>
                    <a:pt x="837" y="489278"/>
                  </a:lnTo>
                  <a:lnTo>
                    <a:pt x="0" y="545756"/>
                  </a:lnTo>
                  <a:lnTo>
                    <a:pt x="7456" y="582687"/>
                  </a:lnTo>
                  <a:lnTo>
                    <a:pt x="27790" y="612846"/>
                  </a:lnTo>
                  <a:lnTo>
                    <a:pt x="57950" y="633181"/>
                  </a:lnTo>
                  <a:lnTo>
                    <a:pt x="94881" y="640637"/>
                  </a:lnTo>
                  <a:lnTo>
                    <a:pt x="131813" y="633181"/>
                  </a:lnTo>
                  <a:lnTo>
                    <a:pt x="161972" y="612846"/>
                  </a:lnTo>
                  <a:lnTo>
                    <a:pt x="182306" y="582687"/>
                  </a:lnTo>
                  <a:lnTo>
                    <a:pt x="189763" y="545756"/>
                  </a:lnTo>
                  <a:lnTo>
                    <a:pt x="190540" y="494751"/>
                  </a:lnTo>
                  <a:lnTo>
                    <a:pt x="192864" y="445167"/>
                  </a:lnTo>
                  <a:lnTo>
                    <a:pt x="196727" y="397015"/>
                  </a:lnTo>
                  <a:lnTo>
                    <a:pt x="202119" y="350303"/>
                  </a:lnTo>
                  <a:lnTo>
                    <a:pt x="209031" y="305042"/>
                  </a:lnTo>
                  <a:lnTo>
                    <a:pt x="217455" y="261240"/>
                  </a:lnTo>
                  <a:lnTo>
                    <a:pt x="227380" y="218908"/>
                  </a:lnTo>
                  <a:lnTo>
                    <a:pt x="216299" y="135697"/>
                  </a:lnTo>
                  <a:lnTo>
                    <a:pt x="200686" y="76225"/>
                  </a:lnTo>
                  <a:lnTo>
                    <a:pt x="181855" y="36706"/>
                  </a:lnTo>
                  <a:lnTo>
                    <a:pt x="161120" y="13354"/>
                  </a:lnTo>
                  <a:lnTo>
                    <a:pt x="139798" y="2380"/>
                  </a:lnTo>
                  <a:lnTo>
                    <a:pt x="119202" y="0"/>
                  </a:lnTo>
                  <a:close/>
                </a:path>
              </a:pathLst>
            </a:custGeom>
            <a:solidFill>
              <a:srgbClr val="402250"/>
            </a:solidFill>
          </p:spPr>
          <p:txBody>
            <a:bodyPr wrap="square" lIns="0" tIns="0" rIns="0" bIns="0" rtlCol="0"/>
            <a:lstStyle/>
            <a:p>
              <a:pPr>
                <a:lnSpc>
                  <a:spcPct val="110000"/>
                </a:lnSpc>
                <a:spcBef>
                  <a:spcPts val="200"/>
                </a:spcBef>
                <a:spcAft>
                  <a:spcPts val="200"/>
                </a:spcAft>
              </a:pPr>
              <a:endParaRPr lang="en-GB" dirty="0"/>
            </a:p>
          </p:txBody>
        </p:sp>
        <p:sp>
          <p:nvSpPr>
            <p:cNvPr id="48" name="object 22">
              <a:extLst>
                <a:ext uri="{FF2B5EF4-FFF2-40B4-BE49-F238E27FC236}">
                  <a16:creationId xmlns:a16="http://schemas.microsoft.com/office/drawing/2014/main" id="{C01000CC-8B28-7845-B48D-0D18BC2D906D}"/>
                </a:ext>
              </a:extLst>
            </p:cNvPr>
            <p:cNvSpPr/>
            <p:nvPr/>
          </p:nvSpPr>
          <p:spPr>
            <a:xfrm>
              <a:off x="5804189" y="3612296"/>
              <a:ext cx="681355" cy="598805"/>
            </a:xfrm>
            <a:custGeom>
              <a:avLst/>
              <a:gdLst/>
              <a:ahLst/>
              <a:cxnLst/>
              <a:rect l="l" t="t" r="r" b="b"/>
              <a:pathLst>
                <a:path w="681354" h="598804">
                  <a:moveTo>
                    <a:pt x="578154" y="0"/>
                  </a:moveTo>
                  <a:lnTo>
                    <a:pt x="541748" y="9696"/>
                  </a:lnTo>
                  <a:lnTo>
                    <a:pt x="512884" y="31829"/>
                  </a:lnTo>
                  <a:lnTo>
                    <a:pt x="494424" y="63168"/>
                  </a:lnTo>
                  <a:lnTo>
                    <a:pt x="489229" y="100482"/>
                  </a:lnTo>
                  <a:lnTo>
                    <a:pt x="489458" y="104343"/>
                  </a:lnTo>
                  <a:lnTo>
                    <a:pt x="489927" y="108140"/>
                  </a:lnTo>
                  <a:lnTo>
                    <a:pt x="490613" y="111848"/>
                  </a:lnTo>
                  <a:lnTo>
                    <a:pt x="484972" y="129524"/>
                  </a:lnTo>
                  <a:lnTo>
                    <a:pt x="468450" y="154906"/>
                  </a:lnTo>
                  <a:lnTo>
                    <a:pt x="435190" y="183048"/>
                  </a:lnTo>
                  <a:lnTo>
                    <a:pt x="379336" y="209003"/>
                  </a:lnTo>
                  <a:lnTo>
                    <a:pt x="337780" y="223865"/>
                  </a:lnTo>
                  <a:lnTo>
                    <a:pt x="295583" y="241060"/>
                  </a:lnTo>
                  <a:lnTo>
                    <a:pt x="252956" y="260980"/>
                  </a:lnTo>
                  <a:lnTo>
                    <a:pt x="210111" y="284018"/>
                  </a:lnTo>
                  <a:lnTo>
                    <a:pt x="167258" y="310566"/>
                  </a:lnTo>
                  <a:lnTo>
                    <a:pt x="124610" y="341016"/>
                  </a:lnTo>
                  <a:lnTo>
                    <a:pt x="82376" y="375760"/>
                  </a:lnTo>
                  <a:lnTo>
                    <a:pt x="40769" y="415191"/>
                  </a:lnTo>
                  <a:lnTo>
                    <a:pt x="0" y="459701"/>
                  </a:lnTo>
                  <a:lnTo>
                    <a:pt x="10449" y="488489"/>
                  </a:lnTo>
                  <a:lnTo>
                    <a:pt x="37058" y="522827"/>
                  </a:lnTo>
                  <a:lnTo>
                    <a:pt x="81060" y="560260"/>
                  </a:lnTo>
                  <a:lnTo>
                    <a:pt x="143687" y="598335"/>
                  </a:lnTo>
                  <a:lnTo>
                    <a:pt x="176776" y="565988"/>
                  </a:lnTo>
                  <a:lnTo>
                    <a:pt x="215162" y="531493"/>
                  </a:lnTo>
                  <a:lnTo>
                    <a:pt x="257507" y="496625"/>
                  </a:lnTo>
                  <a:lnTo>
                    <a:pt x="302476" y="463158"/>
                  </a:lnTo>
                  <a:lnTo>
                    <a:pt x="348733" y="432865"/>
                  </a:lnTo>
                  <a:lnTo>
                    <a:pt x="394940" y="407520"/>
                  </a:lnTo>
                  <a:lnTo>
                    <a:pt x="504253" y="361843"/>
                  </a:lnTo>
                  <a:lnTo>
                    <a:pt x="556996" y="329230"/>
                  </a:lnTo>
                  <a:lnTo>
                    <a:pt x="598957" y="292659"/>
                  </a:lnTo>
                  <a:lnTo>
                    <a:pt x="631106" y="253731"/>
                  </a:lnTo>
                  <a:lnTo>
                    <a:pt x="654411" y="214045"/>
                  </a:lnTo>
                  <a:lnTo>
                    <a:pt x="669839" y="175199"/>
                  </a:lnTo>
                  <a:lnTo>
                    <a:pt x="680940" y="106430"/>
                  </a:lnTo>
                  <a:lnTo>
                    <a:pt x="678548" y="79705"/>
                  </a:lnTo>
                  <a:lnTo>
                    <a:pt x="665640" y="46100"/>
                  </a:lnTo>
                  <a:lnTo>
                    <a:pt x="642953" y="20312"/>
                  </a:lnTo>
                  <a:lnTo>
                    <a:pt x="612965" y="4293"/>
                  </a:lnTo>
                  <a:lnTo>
                    <a:pt x="578154" y="0"/>
                  </a:lnTo>
                  <a:close/>
                </a:path>
              </a:pathLst>
            </a:custGeom>
            <a:solidFill>
              <a:srgbClr val="402250"/>
            </a:solidFill>
          </p:spPr>
          <p:txBody>
            <a:bodyPr wrap="square" lIns="0" tIns="0" rIns="0" bIns="0" rtlCol="0"/>
            <a:lstStyle/>
            <a:p>
              <a:pPr>
                <a:lnSpc>
                  <a:spcPct val="110000"/>
                </a:lnSpc>
                <a:spcBef>
                  <a:spcPts val="200"/>
                </a:spcBef>
                <a:spcAft>
                  <a:spcPts val="200"/>
                </a:spcAft>
              </a:pPr>
              <a:endParaRPr lang="en-GB" dirty="0"/>
            </a:p>
          </p:txBody>
        </p:sp>
        <p:sp>
          <p:nvSpPr>
            <p:cNvPr id="49" name="object 23">
              <a:extLst>
                <a:ext uri="{FF2B5EF4-FFF2-40B4-BE49-F238E27FC236}">
                  <a16:creationId xmlns:a16="http://schemas.microsoft.com/office/drawing/2014/main" id="{D72D7708-05E9-4F4E-8699-3465143FCC71}"/>
                </a:ext>
              </a:extLst>
            </p:cNvPr>
            <p:cNvSpPr/>
            <p:nvPr/>
          </p:nvSpPr>
          <p:spPr>
            <a:xfrm>
              <a:off x="5552595" y="3707243"/>
              <a:ext cx="705485" cy="748665"/>
            </a:xfrm>
            <a:custGeom>
              <a:avLst/>
              <a:gdLst/>
              <a:ahLst/>
              <a:cxnLst/>
              <a:rect l="l" t="t" r="r" b="b"/>
              <a:pathLst>
                <a:path w="705485" h="748664">
                  <a:moveTo>
                    <a:pt x="621973" y="0"/>
                  </a:moveTo>
                  <a:lnTo>
                    <a:pt x="584425" y="3046"/>
                  </a:lnTo>
                  <a:lnTo>
                    <a:pt x="536975" y="15519"/>
                  </a:lnTo>
                  <a:lnTo>
                    <a:pt x="487164" y="26755"/>
                  </a:lnTo>
                  <a:lnTo>
                    <a:pt x="436069" y="37113"/>
                  </a:lnTo>
                  <a:lnTo>
                    <a:pt x="325049" y="58446"/>
                  </a:lnTo>
                  <a:lnTo>
                    <a:pt x="267922" y="70351"/>
                  </a:lnTo>
                  <a:lnTo>
                    <a:pt x="214301" y="83392"/>
                  </a:lnTo>
                  <a:lnTo>
                    <a:pt x="165097" y="98296"/>
                  </a:lnTo>
                  <a:lnTo>
                    <a:pt x="97582" y="127733"/>
                  </a:lnTo>
                  <a:lnTo>
                    <a:pt x="57183" y="156337"/>
                  </a:lnTo>
                  <a:lnTo>
                    <a:pt x="22852" y="196771"/>
                  </a:lnTo>
                  <a:lnTo>
                    <a:pt x="2460" y="250963"/>
                  </a:lnTo>
                  <a:lnTo>
                    <a:pt x="0" y="276981"/>
                  </a:lnTo>
                  <a:lnTo>
                    <a:pt x="1818" y="303196"/>
                  </a:lnTo>
                  <a:lnTo>
                    <a:pt x="18936" y="356857"/>
                  </a:lnTo>
                  <a:lnTo>
                    <a:pt x="55108" y="413233"/>
                  </a:lnTo>
                  <a:lnTo>
                    <a:pt x="80742" y="442841"/>
                  </a:lnTo>
                  <a:lnTo>
                    <a:pt x="111623" y="473611"/>
                  </a:lnTo>
                  <a:lnTo>
                    <a:pt x="147914" y="505703"/>
                  </a:lnTo>
                  <a:lnTo>
                    <a:pt x="189775" y="539279"/>
                  </a:lnTo>
                  <a:lnTo>
                    <a:pt x="237368" y="574499"/>
                  </a:lnTo>
                  <a:lnTo>
                    <a:pt x="290854" y="611523"/>
                  </a:lnTo>
                  <a:lnTo>
                    <a:pt x="350395" y="650514"/>
                  </a:lnTo>
                  <a:lnTo>
                    <a:pt x="416152" y="691631"/>
                  </a:lnTo>
                  <a:lnTo>
                    <a:pt x="488286" y="735036"/>
                  </a:lnTo>
                  <a:lnTo>
                    <a:pt x="536508" y="748269"/>
                  </a:lnTo>
                  <a:lnTo>
                    <a:pt x="560472" y="745202"/>
                  </a:lnTo>
                  <a:lnTo>
                    <a:pt x="582896" y="736207"/>
                  </a:lnTo>
                  <a:lnTo>
                    <a:pt x="602561" y="721598"/>
                  </a:lnTo>
                  <a:lnTo>
                    <a:pt x="618245" y="701686"/>
                  </a:lnTo>
                  <a:lnTo>
                    <a:pt x="630640" y="666106"/>
                  </a:lnTo>
                  <a:lnTo>
                    <a:pt x="628499" y="629799"/>
                  </a:lnTo>
                  <a:lnTo>
                    <a:pt x="612896" y="596942"/>
                  </a:lnTo>
                  <a:lnTo>
                    <a:pt x="584908" y="571714"/>
                  </a:lnTo>
                  <a:lnTo>
                    <a:pt x="528131" y="537630"/>
                  </a:lnTo>
                  <a:lnTo>
                    <a:pt x="475454" y="504995"/>
                  </a:lnTo>
                  <a:lnTo>
                    <a:pt x="426927" y="473842"/>
                  </a:lnTo>
                  <a:lnTo>
                    <a:pt x="382601" y="444207"/>
                  </a:lnTo>
                  <a:lnTo>
                    <a:pt x="342527" y="416125"/>
                  </a:lnTo>
                  <a:lnTo>
                    <a:pt x="306754" y="389629"/>
                  </a:lnTo>
                  <a:lnTo>
                    <a:pt x="275333" y="364755"/>
                  </a:lnTo>
                  <a:lnTo>
                    <a:pt x="246050" y="339496"/>
                  </a:lnTo>
                  <a:lnTo>
                    <a:pt x="208835" y="301791"/>
                  </a:lnTo>
                  <a:lnTo>
                    <a:pt x="198726" y="288999"/>
                  </a:lnTo>
                  <a:lnTo>
                    <a:pt x="208161" y="284783"/>
                  </a:lnTo>
                  <a:lnTo>
                    <a:pt x="255038" y="268997"/>
                  </a:lnTo>
                  <a:lnTo>
                    <a:pt x="332070" y="250653"/>
                  </a:lnTo>
                  <a:lnTo>
                    <a:pt x="529528" y="211759"/>
                  </a:lnTo>
                  <a:lnTo>
                    <a:pt x="583808" y="199430"/>
                  </a:lnTo>
                  <a:lnTo>
                    <a:pt x="636876" y="185418"/>
                  </a:lnTo>
                  <a:lnTo>
                    <a:pt x="670311" y="168040"/>
                  </a:lnTo>
                  <a:lnTo>
                    <a:pt x="693674" y="140160"/>
                  </a:lnTo>
                  <a:lnTo>
                    <a:pt x="704878" y="105553"/>
                  </a:lnTo>
                  <a:lnTo>
                    <a:pt x="701837" y="67994"/>
                  </a:lnTo>
                  <a:lnTo>
                    <a:pt x="684463" y="34564"/>
                  </a:lnTo>
                  <a:lnTo>
                    <a:pt x="656580" y="11202"/>
                  </a:lnTo>
                  <a:lnTo>
                    <a:pt x="621973" y="0"/>
                  </a:lnTo>
                  <a:close/>
                </a:path>
              </a:pathLst>
            </a:custGeom>
            <a:solidFill>
              <a:srgbClr val="402250"/>
            </a:solidFill>
          </p:spPr>
          <p:txBody>
            <a:bodyPr wrap="square" lIns="0" tIns="0" rIns="0" bIns="0" rtlCol="0"/>
            <a:lstStyle/>
            <a:p>
              <a:pPr>
                <a:lnSpc>
                  <a:spcPct val="110000"/>
                </a:lnSpc>
                <a:spcBef>
                  <a:spcPts val="200"/>
                </a:spcBef>
                <a:spcAft>
                  <a:spcPts val="200"/>
                </a:spcAft>
              </a:pPr>
              <a:endParaRPr lang="en-GB" dirty="0"/>
            </a:p>
          </p:txBody>
        </p:sp>
        <p:sp>
          <p:nvSpPr>
            <p:cNvPr id="50" name="object 24">
              <a:extLst>
                <a:ext uri="{FF2B5EF4-FFF2-40B4-BE49-F238E27FC236}">
                  <a16:creationId xmlns:a16="http://schemas.microsoft.com/office/drawing/2014/main" id="{4401DE08-88BE-2B4E-B3B3-C906374B2E4D}"/>
                </a:ext>
              </a:extLst>
            </p:cNvPr>
            <p:cNvSpPr/>
            <p:nvPr/>
          </p:nvSpPr>
          <p:spPr>
            <a:xfrm>
              <a:off x="5800229" y="3704113"/>
              <a:ext cx="349250" cy="274320"/>
            </a:xfrm>
            <a:custGeom>
              <a:avLst/>
              <a:gdLst/>
              <a:ahLst/>
              <a:cxnLst/>
              <a:rect l="l" t="t" r="r" b="b"/>
              <a:pathLst>
                <a:path w="349250" h="274320">
                  <a:moveTo>
                    <a:pt x="347083" y="0"/>
                  </a:moveTo>
                  <a:lnTo>
                    <a:pt x="328666" y="4408"/>
                  </a:lnTo>
                  <a:lnTo>
                    <a:pt x="289992" y="14628"/>
                  </a:lnTo>
                  <a:lnTo>
                    <a:pt x="141147" y="49263"/>
                  </a:lnTo>
                  <a:lnTo>
                    <a:pt x="133098" y="157914"/>
                  </a:lnTo>
                  <a:lnTo>
                    <a:pt x="115712" y="217567"/>
                  </a:lnTo>
                  <a:lnTo>
                    <a:pt x="75757" y="249317"/>
                  </a:lnTo>
                  <a:lnTo>
                    <a:pt x="0" y="274257"/>
                  </a:lnTo>
                  <a:lnTo>
                    <a:pt x="138036" y="243637"/>
                  </a:lnTo>
                  <a:lnTo>
                    <a:pt x="268731" y="136398"/>
                  </a:lnTo>
                  <a:lnTo>
                    <a:pt x="266273" y="114994"/>
                  </a:lnTo>
                  <a:lnTo>
                    <a:pt x="267301" y="100992"/>
                  </a:lnTo>
                  <a:lnTo>
                    <a:pt x="314939" y="36638"/>
                  </a:lnTo>
                  <a:lnTo>
                    <a:pt x="348658" y="2902"/>
                  </a:lnTo>
                  <a:lnTo>
                    <a:pt x="347083" y="0"/>
                  </a:lnTo>
                  <a:close/>
                </a:path>
              </a:pathLst>
            </a:custGeom>
            <a:solidFill>
              <a:srgbClr val="402250"/>
            </a:solidFill>
          </p:spPr>
          <p:txBody>
            <a:bodyPr wrap="square" lIns="0" tIns="0" rIns="0" bIns="0" rtlCol="0"/>
            <a:lstStyle/>
            <a:p>
              <a:pPr>
                <a:lnSpc>
                  <a:spcPct val="110000"/>
                </a:lnSpc>
                <a:spcBef>
                  <a:spcPts val="200"/>
                </a:spcBef>
                <a:spcAft>
                  <a:spcPts val="200"/>
                </a:spcAft>
              </a:pPr>
              <a:endParaRPr lang="en-GB" dirty="0"/>
            </a:p>
          </p:txBody>
        </p:sp>
        <p:sp>
          <p:nvSpPr>
            <p:cNvPr id="51" name="object 25">
              <a:extLst>
                <a:ext uri="{FF2B5EF4-FFF2-40B4-BE49-F238E27FC236}">
                  <a16:creationId xmlns:a16="http://schemas.microsoft.com/office/drawing/2014/main" id="{0DE494DC-2E51-AD4A-8A32-D8211FC00761}"/>
                </a:ext>
              </a:extLst>
            </p:cNvPr>
            <p:cNvSpPr/>
            <p:nvPr/>
          </p:nvSpPr>
          <p:spPr>
            <a:xfrm>
              <a:off x="5768223" y="3174947"/>
              <a:ext cx="595630" cy="641985"/>
            </a:xfrm>
            <a:custGeom>
              <a:avLst/>
              <a:gdLst/>
              <a:ahLst/>
              <a:cxnLst/>
              <a:rect l="l" t="t" r="r" b="b"/>
              <a:pathLst>
                <a:path w="595629" h="641985">
                  <a:moveTo>
                    <a:pt x="520549" y="0"/>
                  </a:moveTo>
                  <a:lnTo>
                    <a:pt x="472420" y="23925"/>
                  </a:lnTo>
                  <a:lnTo>
                    <a:pt x="438048" y="63725"/>
                  </a:lnTo>
                  <a:lnTo>
                    <a:pt x="409238" y="97534"/>
                  </a:lnTo>
                  <a:lnTo>
                    <a:pt x="385634" y="128470"/>
                  </a:lnTo>
                  <a:lnTo>
                    <a:pt x="363577" y="162674"/>
                  </a:lnTo>
                  <a:lnTo>
                    <a:pt x="342180" y="199340"/>
                  </a:lnTo>
                  <a:lnTo>
                    <a:pt x="320558" y="237659"/>
                  </a:lnTo>
                  <a:lnTo>
                    <a:pt x="297828" y="276824"/>
                  </a:lnTo>
                  <a:lnTo>
                    <a:pt x="273103" y="316027"/>
                  </a:lnTo>
                  <a:lnTo>
                    <a:pt x="245499" y="354461"/>
                  </a:lnTo>
                  <a:lnTo>
                    <a:pt x="214130" y="391318"/>
                  </a:lnTo>
                  <a:lnTo>
                    <a:pt x="178113" y="425790"/>
                  </a:lnTo>
                  <a:lnTo>
                    <a:pt x="136560" y="457070"/>
                  </a:lnTo>
                  <a:lnTo>
                    <a:pt x="88588" y="484351"/>
                  </a:lnTo>
                  <a:lnTo>
                    <a:pt x="39376" y="508303"/>
                  </a:lnTo>
                  <a:lnTo>
                    <a:pt x="17218" y="525247"/>
                  </a:lnTo>
                  <a:lnTo>
                    <a:pt x="3746" y="548559"/>
                  </a:lnTo>
                  <a:lnTo>
                    <a:pt x="0" y="575218"/>
                  </a:lnTo>
                  <a:lnTo>
                    <a:pt x="7016" y="602207"/>
                  </a:lnTo>
                  <a:lnTo>
                    <a:pt x="18364" y="618902"/>
                  </a:lnTo>
                  <a:lnTo>
                    <a:pt x="33416" y="631301"/>
                  </a:lnTo>
                  <a:lnTo>
                    <a:pt x="51065" y="639020"/>
                  </a:lnTo>
                  <a:lnTo>
                    <a:pt x="70199" y="641678"/>
                  </a:lnTo>
                  <a:lnTo>
                    <a:pt x="77962" y="641245"/>
                  </a:lnTo>
                  <a:lnTo>
                    <a:pt x="149980" y="610703"/>
                  </a:lnTo>
                  <a:lnTo>
                    <a:pt x="199110" y="583430"/>
                  </a:lnTo>
                  <a:lnTo>
                    <a:pt x="242372" y="552827"/>
                  </a:lnTo>
                  <a:lnTo>
                    <a:pt x="280514" y="519461"/>
                  </a:lnTo>
                  <a:lnTo>
                    <a:pt x="314279" y="483901"/>
                  </a:lnTo>
                  <a:lnTo>
                    <a:pt x="344412" y="446714"/>
                  </a:lnTo>
                  <a:lnTo>
                    <a:pt x="371660" y="408466"/>
                  </a:lnTo>
                  <a:lnTo>
                    <a:pt x="396767" y="369727"/>
                  </a:lnTo>
                  <a:lnTo>
                    <a:pt x="420479" y="331062"/>
                  </a:lnTo>
                  <a:lnTo>
                    <a:pt x="443540" y="293040"/>
                  </a:lnTo>
                  <a:lnTo>
                    <a:pt x="466696" y="256228"/>
                  </a:lnTo>
                  <a:lnTo>
                    <a:pt x="490692" y="221193"/>
                  </a:lnTo>
                  <a:lnTo>
                    <a:pt x="516274" y="188504"/>
                  </a:lnTo>
                  <a:lnTo>
                    <a:pt x="544631" y="155222"/>
                  </a:lnTo>
                  <a:lnTo>
                    <a:pt x="578313" y="116216"/>
                  </a:lnTo>
                  <a:lnTo>
                    <a:pt x="592116" y="91975"/>
                  </a:lnTo>
                  <a:lnTo>
                    <a:pt x="595436" y="65252"/>
                  </a:lnTo>
                  <a:lnTo>
                    <a:pt x="588493" y="39236"/>
                  </a:lnTo>
                  <a:lnTo>
                    <a:pt x="571506" y="17118"/>
                  </a:lnTo>
                  <a:lnTo>
                    <a:pt x="547267" y="3317"/>
                  </a:lnTo>
                  <a:lnTo>
                    <a:pt x="520549" y="0"/>
                  </a:lnTo>
                  <a:close/>
                </a:path>
              </a:pathLst>
            </a:custGeom>
            <a:solidFill>
              <a:srgbClr val="098DB7"/>
            </a:solidFill>
          </p:spPr>
          <p:txBody>
            <a:bodyPr wrap="square" lIns="0" tIns="0" rIns="0" bIns="0" rtlCol="0"/>
            <a:lstStyle/>
            <a:p>
              <a:pPr>
                <a:lnSpc>
                  <a:spcPct val="110000"/>
                </a:lnSpc>
                <a:spcBef>
                  <a:spcPts val="200"/>
                </a:spcBef>
                <a:spcAft>
                  <a:spcPts val="200"/>
                </a:spcAft>
              </a:pPr>
              <a:endParaRPr lang="en-GB" dirty="0"/>
            </a:p>
          </p:txBody>
        </p:sp>
        <p:sp>
          <p:nvSpPr>
            <p:cNvPr id="52" name="object 26">
              <a:extLst>
                <a:ext uri="{FF2B5EF4-FFF2-40B4-BE49-F238E27FC236}">
                  <a16:creationId xmlns:a16="http://schemas.microsoft.com/office/drawing/2014/main" id="{B0F7B1E4-9345-9C4A-83C9-AB329D1C5AD8}"/>
                </a:ext>
              </a:extLst>
            </p:cNvPr>
            <p:cNvSpPr/>
            <p:nvPr/>
          </p:nvSpPr>
          <p:spPr>
            <a:xfrm>
              <a:off x="6166506" y="3363352"/>
              <a:ext cx="438150" cy="502284"/>
            </a:xfrm>
            <a:custGeom>
              <a:avLst/>
              <a:gdLst/>
              <a:ahLst/>
              <a:cxnLst/>
              <a:rect l="l" t="t" r="r" b="b"/>
              <a:pathLst>
                <a:path w="438150" h="502285">
                  <a:moveTo>
                    <a:pt x="3606" y="283564"/>
                  </a:moveTo>
                  <a:lnTo>
                    <a:pt x="4851" y="306287"/>
                  </a:lnTo>
                  <a:lnTo>
                    <a:pt x="0" y="350819"/>
                  </a:lnTo>
                  <a:lnTo>
                    <a:pt x="2063" y="400106"/>
                  </a:lnTo>
                  <a:lnTo>
                    <a:pt x="24053" y="437095"/>
                  </a:lnTo>
                  <a:lnTo>
                    <a:pt x="88711" y="463925"/>
                  </a:lnTo>
                  <a:lnTo>
                    <a:pt x="130890" y="479437"/>
                  </a:lnTo>
                  <a:lnTo>
                    <a:pt x="217258" y="499057"/>
                  </a:lnTo>
                  <a:lnTo>
                    <a:pt x="274451" y="502046"/>
                  </a:lnTo>
                  <a:lnTo>
                    <a:pt x="323091" y="495149"/>
                  </a:lnTo>
                  <a:lnTo>
                    <a:pt x="358683" y="476795"/>
                  </a:lnTo>
                  <a:lnTo>
                    <a:pt x="390502" y="373895"/>
                  </a:lnTo>
                  <a:lnTo>
                    <a:pt x="402302" y="305922"/>
                  </a:lnTo>
                  <a:lnTo>
                    <a:pt x="403988" y="295119"/>
                  </a:lnTo>
                  <a:lnTo>
                    <a:pt x="78443" y="295119"/>
                  </a:lnTo>
                  <a:lnTo>
                    <a:pt x="49987" y="293945"/>
                  </a:lnTo>
                  <a:lnTo>
                    <a:pt x="27136" y="289733"/>
                  </a:lnTo>
                  <a:lnTo>
                    <a:pt x="11228" y="285325"/>
                  </a:lnTo>
                  <a:lnTo>
                    <a:pt x="3606" y="283564"/>
                  </a:lnTo>
                  <a:close/>
                </a:path>
                <a:path w="438150" h="502285">
                  <a:moveTo>
                    <a:pt x="419807" y="0"/>
                  </a:moveTo>
                  <a:lnTo>
                    <a:pt x="378040" y="3996"/>
                  </a:lnTo>
                  <a:lnTo>
                    <a:pt x="329597" y="26152"/>
                  </a:lnTo>
                  <a:lnTo>
                    <a:pt x="291795" y="79145"/>
                  </a:lnTo>
                  <a:lnTo>
                    <a:pt x="257865" y="155905"/>
                  </a:lnTo>
                  <a:lnTo>
                    <a:pt x="221497" y="212569"/>
                  </a:lnTo>
                  <a:lnTo>
                    <a:pt x="184030" y="251979"/>
                  </a:lnTo>
                  <a:lnTo>
                    <a:pt x="146805" y="276979"/>
                  </a:lnTo>
                  <a:lnTo>
                    <a:pt x="111163" y="290411"/>
                  </a:lnTo>
                  <a:lnTo>
                    <a:pt x="78443" y="295119"/>
                  </a:lnTo>
                  <a:lnTo>
                    <a:pt x="403988" y="295119"/>
                  </a:lnTo>
                  <a:lnTo>
                    <a:pt x="412223" y="242352"/>
                  </a:lnTo>
                  <a:lnTo>
                    <a:pt x="420361" y="184044"/>
                  </a:lnTo>
                  <a:lnTo>
                    <a:pt x="426809" y="131856"/>
                  </a:lnTo>
                  <a:lnTo>
                    <a:pt x="431661" y="86648"/>
                  </a:lnTo>
                  <a:lnTo>
                    <a:pt x="436952" y="20603"/>
                  </a:lnTo>
                  <a:lnTo>
                    <a:pt x="437578" y="1485"/>
                  </a:lnTo>
                  <a:lnTo>
                    <a:pt x="419807" y="0"/>
                  </a:lnTo>
                  <a:close/>
                </a:path>
              </a:pathLst>
            </a:custGeom>
            <a:solidFill>
              <a:srgbClr val="005A82"/>
            </a:solidFill>
          </p:spPr>
          <p:txBody>
            <a:bodyPr wrap="square" lIns="0" tIns="0" rIns="0" bIns="0" rtlCol="0"/>
            <a:lstStyle/>
            <a:p>
              <a:pPr>
                <a:lnSpc>
                  <a:spcPct val="110000"/>
                </a:lnSpc>
                <a:spcBef>
                  <a:spcPts val="200"/>
                </a:spcBef>
                <a:spcAft>
                  <a:spcPts val="200"/>
                </a:spcAft>
              </a:pPr>
              <a:endParaRPr lang="en-GB" dirty="0"/>
            </a:p>
          </p:txBody>
        </p:sp>
        <p:sp>
          <p:nvSpPr>
            <p:cNvPr id="53" name="object 27">
              <a:extLst>
                <a:ext uri="{FF2B5EF4-FFF2-40B4-BE49-F238E27FC236}">
                  <a16:creationId xmlns:a16="http://schemas.microsoft.com/office/drawing/2014/main" id="{93DB9599-D469-3E45-B2B0-B394FC641514}"/>
                </a:ext>
              </a:extLst>
            </p:cNvPr>
            <p:cNvSpPr/>
            <p:nvPr/>
          </p:nvSpPr>
          <p:spPr>
            <a:xfrm>
              <a:off x="6251544" y="3116956"/>
              <a:ext cx="267970" cy="170815"/>
            </a:xfrm>
            <a:custGeom>
              <a:avLst/>
              <a:gdLst/>
              <a:ahLst/>
              <a:cxnLst/>
              <a:rect l="l" t="t" r="r" b="b"/>
              <a:pathLst>
                <a:path w="267970" h="170814">
                  <a:moveTo>
                    <a:pt x="1217" y="62610"/>
                  </a:moveTo>
                  <a:lnTo>
                    <a:pt x="0" y="88300"/>
                  </a:lnTo>
                  <a:lnTo>
                    <a:pt x="2916" y="121000"/>
                  </a:lnTo>
                  <a:lnTo>
                    <a:pt x="15190" y="151541"/>
                  </a:lnTo>
                  <a:lnTo>
                    <a:pt x="42048" y="170751"/>
                  </a:lnTo>
                  <a:lnTo>
                    <a:pt x="74721" y="170374"/>
                  </a:lnTo>
                  <a:lnTo>
                    <a:pt x="107684" y="154999"/>
                  </a:lnTo>
                  <a:lnTo>
                    <a:pt x="142203" y="132180"/>
                  </a:lnTo>
                  <a:lnTo>
                    <a:pt x="179543" y="109469"/>
                  </a:lnTo>
                  <a:lnTo>
                    <a:pt x="220971" y="94421"/>
                  </a:lnTo>
                  <a:lnTo>
                    <a:pt x="267711" y="94421"/>
                  </a:lnTo>
                  <a:lnTo>
                    <a:pt x="264377" y="80619"/>
                  </a:lnTo>
                  <a:lnTo>
                    <a:pt x="93483" y="80619"/>
                  </a:lnTo>
                  <a:lnTo>
                    <a:pt x="28865" y="78803"/>
                  </a:lnTo>
                  <a:lnTo>
                    <a:pt x="1217" y="62610"/>
                  </a:lnTo>
                  <a:close/>
                </a:path>
                <a:path w="267970" h="170814">
                  <a:moveTo>
                    <a:pt x="267711" y="94421"/>
                  </a:moveTo>
                  <a:lnTo>
                    <a:pt x="220971" y="94421"/>
                  </a:lnTo>
                  <a:lnTo>
                    <a:pt x="267752" y="94589"/>
                  </a:lnTo>
                  <a:lnTo>
                    <a:pt x="267711" y="94421"/>
                  </a:lnTo>
                  <a:close/>
                </a:path>
                <a:path w="267970" h="170814">
                  <a:moveTo>
                    <a:pt x="225474" y="0"/>
                  </a:moveTo>
                  <a:lnTo>
                    <a:pt x="209281" y="34988"/>
                  </a:lnTo>
                  <a:lnTo>
                    <a:pt x="165771" y="63906"/>
                  </a:lnTo>
                  <a:lnTo>
                    <a:pt x="93483" y="80619"/>
                  </a:lnTo>
                  <a:lnTo>
                    <a:pt x="264377" y="80619"/>
                  </a:lnTo>
                  <a:lnTo>
                    <a:pt x="255919" y="45605"/>
                  </a:lnTo>
                  <a:lnTo>
                    <a:pt x="247570" y="19424"/>
                  </a:lnTo>
                  <a:lnTo>
                    <a:pt x="238743" y="7178"/>
                  </a:lnTo>
                  <a:lnTo>
                    <a:pt x="225474" y="0"/>
                  </a:lnTo>
                  <a:close/>
                </a:path>
              </a:pathLst>
            </a:custGeom>
            <a:solidFill>
              <a:srgbClr val="005A82"/>
            </a:solidFill>
          </p:spPr>
          <p:txBody>
            <a:bodyPr wrap="square" lIns="0" tIns="0" rIns="0" bIns="0" rtlCol="0"/>
            <a:lstStyle/>
            <a:p>
              <a:pPr>
                <a:lnSpc>
                  <a:spcPct val="110000"/>
                </a:lnSpc>
                <a:spcBef>
                  <a:spcPts val="200"/>
                </a:spcBef>
                <a:spcAft>
                  <a:spcPts val="200"/>
                </a:spcAft>
              </a:pPr>
              <a:endParaRPr lang="en-GB" dirty="0"/>
            </a:p>
          </p:txBody>
        </p:sp>
        <p:sp>
          <p:nvSpPr>
            <p:cNvPr id="54" name="object 28">
              <a:extLst>
                <a:ext uri="{FF2B5EF4-FFF2-40B4-BE49-F238E27FC236}">
                  <a16:creationId xmlns:a16="http://schemas.microsoft.com/office/drawing/2014/main" id="{DBB52E4A-A3CB-FD46-8924-56B254D3C481}"/>
                </a:ext>
              </a:extLst>
            </p:cNvPr>
            <p:cNvSpPr/>
            <p:nvPr/>
          </p:nvSpPr>
          <p:spPr>
            <a:xfrm>
              <a:off x="5637360" y="3692509"/>
              <a:ext cx="255270" cy="197485"/>
            </a:xfrm>
            <a:custGeom>
              <a:avLst/>
              <a:gdLst/>
              <a:ahLst/>
              <a:cxnLst/>
              <a:rect l="l" t="t" r="r" b="b"/>
              <a:pathLst>
                <a:path w="255270" h="197485">
                  <a:moveTo>
                    <a:pt x="193229" y="0"/>
                  </a:moveTo>
                  <a:lnTo>
                    <a:pt x="25744" y="96094"/>
                  </a:lnTo>
                  <a:lnTo>
                    <a:pt x="1047" y="129610"/>
                  </a:lnTo>
                  <a:lnTo>
                    <a:pt x="0" y="150441"/>
                  </a:lnTo>
                  <a:lnTo>
                    <a:pt x="7278" y="170783"/>
                  </a:lnTo>
                  <a:lnTo>
                    <a:pt x="16279" y="182035"/>
                  </a:lnTo>
                  <a:lnTo>
                    <a:pt x="27509" y="190282"/>
                  </a:lnTo>
                  <a:lnTo>
                    <a:pt x="40282" y="195356"/>
                  </a:lnTo>
                  <a:lnTo>
                    <a:pt x="53912" y="197085"/>
                  </a:lnTo>
                  <a:lnTo>
                    <a:pt x="61100" y="196607"/>
                  </a:lnTo>
                  <a:lnTo>
                    <a:pt x="229122" y="100451"/>
                  </a:lnTo>
                  <a:lnTo>
                    <a:pt x="253829" y="66934"/>
                  </a:lnTo>
                  <a:lnTo>
                    <a:pt x="254882" y="46099"/>
                  </a:lnTo>
                  <a:lnTo>
                    <a:pt x="247600" y="25749"/>
                  </a:lnTo>
                  <a:lnTo>
                    <a:pt x="232985" y="9830"/>
                  </a:lnTo>
                  <a:lnTo>
                    <a:pt x="214059" y="1048"/>
                  </a:lnTo>
                  <a:lnTo>
                    <a:pt x="193229" y="0"/>
                  </a:lnTo>
                  <a:close/>
                </a:path>
              </a:pathLst>
            </a:custGeom>
            <a:solidFill>
              <a:srgbClr val="FFC1A9"/>
            </a:solidFill>
          </p:spPr>
          <p:txBody>
            <a:bodyPr wrap="square" lIns="0" tIns="0" rIns="0" bIns="0" rtlCol="0"/>
            <a:lstStyle/>
            <a:p>
              <a:pPr>
                <a:lnSpc>
                  <a:spcPct val="110000"/>
                </a:lnSpc>
                <a:spcBef>
                  <a:spcPts val="200"/>
                </a:spcBef>
                <a:spcAft>
                  <a:spcPts val="200"/>
                </a:spcAft>
              </a:pPr>
              <a:endParaRPr lang="en-GB" dirty="0"/>
            </a:p>
          </p:txBody>
        </p:sp>
        <p:sp>
          <p:nvSpPr>
            <p:cNvPr id="55" name="object 29">
              <a:extLst>
                <a:ext uri="{FF2B5EF4-FFF2-40B4-BE49-F238E27FC236}">
                  <a16:creationId xmlns:a16="http://schemas.microsoft.com/office/drawing/2014/main" id="{4DE0C21B-CB94-104F-A70D-99EDA581B32F}"/>
                </a:ext>
              </a:extLst>
            </p:cNvPr>
            <p:cNvSpPr/>
            <p:nvPr/>
          </p:nvSpPr>
          <p:spPr>
            <a:xfrm>
              <a:off x="6059792" y="4319729"/>
              <a:ext cx="170041" cy="154022"/>
            </a:xfrm>
            <a:prstGeom prst="rect">
              <a:avLst/>
            </a:prstGeom>
            <a:blipFill>
              <a:blip r:embed="rId11" cstate="print"/>
              <a:stretch>
                <a:fillRect/>
              </a:stretch>
            </a:blipFill>
          </p:spPr>
          <p:txBody>
            <a:bodyPr wrap="square" lIns="0" tIns="0" rIns="0" bIns="0" rtlCol="0"/>
            <a:lstStyle/>
            <a:p>
              <a:pPr>
                <a:lnSpc>
                  <a:spcPct val="110000"/>
                </a:lnSpc>
                <a:spcBef>
                  <a:spcPts val="200"/>
                </a:spcBef>
                <a:spcAft>
                  <a:spcPts val="200"/>
                </a:spcAft>
              </a:pPr>
              <a:endParaRPr lang="en-GB" dirty="0"/>
            </a:p>
          </p:txBody>
        </p:sp>
        <p:sp>
          <p:nvSpPr>
            <p:cNvPr id="56" name="object 30">
              <a:extLst>
                <a:ext uri="{FF2B5EF4-FFF2-40B4-BE49-F238E27FC236}">
                  <a16:creationId xmlns:a16="http://schemas.microsoft.com/office/drawing/2014/main" id="{E9F75BC8-46F7-3F46-A5FE-7DD5C611CF31}"/>
                </a:ext>
              </a:extLst>
            </p:cNvPr>
            <p:cNvSpPr/>
            <p:nvPr/>
          </p:nvSpPr>
          <p:spPr>
            <a:xfrm>
              <a:off x="6253803" y="2964155"/>
              <a:ext cx="231310" cy="239127"/>
            </a:xfrm>
            <a:prstGeom prst="rect">
              <a:avLst/>
            </a:prstGeom>
            <a:blipFill>
              <a:blip r:embed="rId12" cstate="print"/>
              <a:stretch>
                <a:fillRect/>
              </a:stretch>
            </a:blipFill>
          </p:spPr>
          <p:txBody>
            <a:bodyPr wrap="square" lIns="0" tIns="0" rIns="0" bIns="0" rtlCol="0"/>
            <a:lstStyle/>
            <a:p>
              <a:pPr>
                <a:lnSpc>
                  <a:spcPct val="110000"/>
                </a:lnSpc>
                <a:spcBef>
                  <a:spcPts val="200"/>
                </a:spcBef>
                <a:spcAft>
                  <a:spcPts val="200"/>
                </a:spcAft>
              </a:pPr>
              <a:endParaRPr lang="en-GB" dirty="0"/>
            </a:p>
          </p:txBody>
        </p:sp>
        <p:sp>
          <p:nvSpPr>
            <p:cNvPr id="57" name="object 31">
              <a:extLst>
                <a:ext uri="{FF2B5EF4-FFF2-40B4-BE49-F238E27FC236}">
                  <a16:creationId xmlns:a16="http://schemas.microsoft.com/office/drawing/2014/main" id="{CD380250-6B20-864E-B99C-C02FF4EF3405}"/>
                </a:ext>
              </a:extLst>
            </p:cNvPr>
            <p:cNvSpPr/>
            <p:nvPr/>
          </p:nvSpPr>
          <p:spPr>
            <a:xfrm>
              <a:off x="6049026" y="4347147"/>
              <a:ext cx="297815" cy="306705"/>
            </a:xfrm>
            <a:custGeom>
              <a:avLst/>
              <a:gdLst/>
              <a:ahLst/>
              <a:cxnLst/>
              <a:rect l="l" t="t" r="r" b="b"/>
              <a:pathLst>
                <a:path w="297814" h="306704">
                  <a:moveTo>
                    <a:pt x="175606" y="0"/>
                  </a:moveTo>
                  <a:lnTo>
                    <a:pt x="136422" y="16493"/>
                  </a:lnTo>
                  <a:lnTo>
                    <a:pt x="13791" y="154911"/>
                  </a:lnTo>
                  <a:lnTo>
                    <a:pt x="696" y="199860"/>
                  </a:lnTo>
                  <a:lnTo>
                    <a:pt x="0" y="241559"/>
                  </a:lnTo>
                  <a:lnTo>
                    <a:pt x="10832" y="275959"/>
                  </a:lnTo>
                  <a:lnTo>
                    <a:pt x="32323" y="299013"/>
                  </a:lnTo>
                  <a:lnTo>
                    <a:pt x="63605" y="306673"/>
                  </a:lnTo>
                  <a:lnTo>
                    <a:pt x="103808" y="294890"/>
                  </a:lnTo>
                  <a:lnTo>
                    <a:pt x="211441" y="210283"/>
                  </a:lnTo>
                  <a:lnTo>
                    <a:pt x="249328" y="182288"/>
                  </a:lnTo>
                  <a:lnTo>
                    <a:pt x="280859" y="142557"/>
                  </a:lnTo>
                  <a:lnTo>
                    <a:pt x="297284" y="98544"/>
                  </a:lnTo>
                  <a:lnTo>
                    <a:pt x="289851" y="57705"/>
                  </a:lnTo>
                  <a:lnTo>
                    <a:pt x="259361" y="24500"/>
                  </a:lnTo>
                  <a:lnTo>
                    <a:pt x="218932" y="3966"/>
                  </a:lnTo>
                  <a:lnTo>
                    <a:pt x="175606" y="0"/>
                  </a:lnTo>
                  <a:close/>
                </a:path>
              </a:pathLst>
            </a:custGeom>
            <a:solidFill>
              <a:srgbClr val="098DB7"/>
            </a:solidFill>
          </p:spPr>
          <p:txBody>
            <a:bodyPr wrap="square" lIns="0" tIns="0" rIns="0" bIns="0" rtlCol="0"/>
            <a:lstStyle/>
            <a:p>
              <a:pPr>
                <a:lnSpc>
                  <a:spcPct val="110000"/>
                </a:lnSpc>
                <a:spcBef>
                  <a:spcPts val="200"/>
                </a:spcBef>
                <a:spcAft>
                  <a:spcPts val="200"/>
                </a:spcAft>
              </a:pPr>
              <a:endParaRPr lang="en-GB" dirty="0"/>
            </a:p>
          </p:txBody>
        </p:sp>
        <p:sp>
          <p:nvSpPr>
            <p:cNvPr id="58" name="object 32">
              <a:extLst>
                <a:ext uri="{FF2B5EF4-FFF2-40B4-BE49-F238E27FC236}">
                  <a16:creationId xmlns:a16="http://schemas.microsoft.com/office/drawing/2014/main" id="{0170A408-40E3-1D41-8768-E6F8983D526A}"/>
                </a:ext>
              </a:extLst>
            </p:cNvPr>
            <p:cNvSpPr/>
            <p:nvPr/>
          </p:nvSpPr>
          <p:spPr>
            <a:xfrm>
              <a:off x="6072040" y="4387875"/>
              <a:ext cx="292735" cy="269875"/>
            </a:xfrm>
            <a:custGeom>
              <a:avLst/>
              <a:gdLst/>
              <a:ahLst/>
              <a:cxnLst/>
              <a:rect l="l" t="t" r="r" b="b"/>
              <a:pathLst>
                <a:path w="292735" h="269875">
                  <a:moveTo>
                    <a:pt x="216811" y="0"/>
                  </a:moveTo>
                  <a:lnTo>
                    <a:pt x="169231" y="25735"/>
                  </a:lnTo>
                  <a:lnTo>
                    <a:pt x="45444" y="125481"/>
                  </a:lnTo>
                  <a:lnTo>
                    <a:pt x="14491" y="160744"/>
                  </a:lnTo>
                  <a:lnTo>
                    <a:pt x="0" y="198759"/>
                  </a:lnTo>
                  <a:lnTo>
                    <a:pt x="802" y="233553"/>
                  </a:lnTo>
                  <a:lnTo>
                    <a:pt x="15730" y="259154"/>
                  </a:lnTo>
                  <a:lnTo>
                    <a:pt x="43615" y="269587"/>
                  </a:lnTo>
                  <a:lnTo>
                    <a:pt x="83290" y="258882"/>
                  </a:lnTo>
                  <a:lnTo>
                    <a:pt x="224082" y="186365"/>
                  </a:lnTo>
                  <a:lnTo>
                    <a:pt x="256655" y="150942"/>
                  </a:lnTo>
                  <a:lnTo>
                    <a:pt x="277819" y="99014"/>
                  </a:lnTo>
                  <a:lnTo>
                    <a:pt x="289272" y="52087"/>
                  </a:lnTo>
                  <a:lnTo>
                    <a:pt x="292713" y="31666"/>
                  </a:lnTo>
                  <a:lnTo>
                    <a:pt x="280109" y="19332"/>
                  </a:lnTo>
                  <a:lnTo>
                    <a:pt x="254289" y="3321"/>
                  </a:lnTo>
                  <a:lnTo>
                    <a:pt x="216811" y="0"/>
                  </a:lnTo>
                  <a:close/>
                </a:path>
              </a:pathLst>
            </a:custGeom>
            <a:solidFill>
              <a:srgbClr val="005A82"/>
            </a:solidFill>
          </p:spPr>
          <p:txBody>
            <a:bodyPr wrap="square" lIns="0" tIns="0" rIns="0" bIns="0" rtlCol="0"/>
            <a:lstStyle/>
            <a:p>
              <a:pPr>
                <a:lnSpc>
                  <a:spcPct val="110000"/>
                </a:lnSpc>
                <a:spcBef>
                  <a:spcPts val="200"/>
                </a:spcBef>
                <a:spcAft>
                  <a:spcPts val="200"/>
                </a:spcAft>
              </a:pPr>
              <a:endParaRPr lang="en-GB" dirty="0"/>
            </a:p>
          </p:txBody>
        </p:sp>
        <p:sp>
          <p:nvSpPr>
            <p:cNvPr id="59" name="object 33">
              <a:extLst>
                <a:ext uri="{FF2B5EF4-FFF2-40B4-BE49-F238E27FC236}">
                  <a16:creationId xmlns:a16="http://schemas.microsoft.com/office/drawing/2014/main" id="{12EC4416-9E13-9A4C-9AD2-0D106F6D2E40}"/>
                </a:ext>
              </a:extLst>
            </p:cNvPr>
            <p:cNvSpPr/>
            <p:nvPr/>
          </p:nvSpPr>
          <p:spPr>
            <a:xfrm>
              <a:off x="6090244" y="4406588"/>
              <a:ext cx="290830" cy="269240"/>
            </a:xfrm>
            <a:custGeom>
              <a:avLst/>
              <a:gdLst/>
              <a:ahLst/>
              <a:cxnLst/>
              <a:rect l="l" t="t" r="r" b="b"/>
              <a:pathLst>
                <a:path w="290829" h="269239">
                  <a:moveTo>
                    <a:pt x="243056" y="0"/>
                  </a:moveTo>
                  <a:lnTo>
                    <a:pt x="169231" y="24996"/>
                  </a:lnTo>
                  <a:lnTo>
                    <a:pt x="45444" y="124742"/>
                  </a:lnTo>
                  <a:lnTo>
                    <a:pt x="14491" y="160001"/>
                  </a:lnTo>
                  <a:lnTo>
                    <a:pt x="0" y="198014"/>
                  </a:lnTo>
                  <a:lnTo>
                    <a:pt x="802" y="232810"/>
                  </a:lnTo>
                  <a:lnTo>
                    <a:pt x="15730" y="258412"/>
                  </a:lnTo>
                  <a:lnTo>
                    <a:pt x="43615" y="268848"/>
                  </a:lnTo>
                  <a:lnTo>
                    <a:pt x="83290" y="258143"/>
                  </a:lnTo>
                  <a:lnTo>
                    <a:pt x="224082" y="185626"/>
                  </a:lnTo>
                  <a:lnTo>
                    <a:pt x="257697" y="161039"/>
                  </a:lnTo>
                  <a:lnTo>
                    <a:pt x="280187" y="127720"/>
                  </a:lnTo>
                  <a:lnTo>
                    <a:pt x="290548" y="86324"/>
                  </a:lnTo>
                  <a:lnTo>
                    <a:pt x="287773" y="37506"/>
                  </a:lnTo>
                  <a:lnTo>
                    <a:pt x="272347" y="11087"/>
                  </a:lnTo>
                  <a:lnTo>
                    <a:pt x="243056" y="0"/>
                  </a:lnTo>
                  <a:close/>
                </a:path>
              </a:pathLst>
            </a:custGeom>
            <a:solidFill>
              <a:srgbClr val="098DB7"/>
            </a:solidFill>
          </p:spPr>
          <p:txBody>
            <a:bodyPr wrap="square" lIns="0" tIns="0" rIns="0" bIns="0" rtlCol="0"/>
            <a:lstStyle/>
            <a:p>
              <a:pPr>
                <a:lnSpc>
                  <a:spcPct val="110000"/>
                </a:lnSpc>
                <a:spcBef>
                  <a:spcPts val="200"/>
                </a:spcBef>
                <a:spcAft>
                  <a:spcPts val="200"/>
                </a:spcAft>
              </a:pPr>
              <a:endParaRPr lang="en-GB" dirty="0"/>
            </a:p>
          </p:txBody>
        </p:sp>
        <p:sp>
          <p:nvSpPr>
            <p:cNvPr id="60" name="object 34">
              <a:extLst>
                <a:ext uri="{FF2B5EF4-FFF2-40B4-BE49-F238E27FC236}">
                  <a16:creationId xmlns:a16="http://schemas.microsoft.com/office/drawing/2014/main" id="{5B612D5F-8C93-5D49-98E5-99D2409FC7F4}"/>
                </a:ext>
              </a:extLst>
            </p:cNvPr>
            <p:cNvSpPr/>
            <p:nvPr/>
          </p:nvSpPr>
          <p:spPr>
            <a:xfrm>
              <a:off x="5751380" y="3768873"/>
              <a:ext cx="63804" cy="127749"/>
            </a:xfrm>
            <a:prstGeom prst="rect">
              <a:avLst/>
            </a:prstGeom>
            <a:blipFill>
              <a:blip r:embed="rId13" cstate="print"/>
              <a:stretch>
                <a:fillRect/>
              </a:stretch>
            </a:blipFill>
          </p:spPr>
          <p:txBody>
            <a:bodyPr wrap="square" lIns="0" tIns="0" rIns="0" bIns="0" rtlCol="0"/>
            <a:lstStyle/>
            <a:p>
              <a:pPr>
                <a:lnSpc>
                  <a:spcPct val="110000"/>
                </a:lnSpc>
                <a:spcBef>
                  <a:spcPts val="200"/>
                </a:spcBef>
                <a:spcAft>
                  <a:spcPts val="200"/>
                </a:spcAft>
              </a:pPr>
              <a:endParaRPr lang="en-GB" dirty="0"/>
            </a:p>
          </p:txBody>
        </p:sp>
        <p:sp>
          <p:nvSpPr>
            <p:cNvPr id="61" name="object 35">
              <a:extLst>
                <a:ext uri="{FF2B5EF4-FFF2-40B4-BE49-F238E27FC236}">
                  <a16:creationId xmlns:a16="http://schemas.microsoft.com/office/drawing/2014/main" id="{7ADA1B3B-1F9C-3E48-8BF3-77EA78D30A41}"/>
                </a:ext>
              </a:extLst>
            </p:cNvPr>
            <p:cNvSpPr/>
            <p:nvPr/>
          </p:nvSpPr>
          <p:spPr>
            <a:xfrm>
              <a:off x="6136683" y="2785685"/>
              <a:ext cx="346075" cy="347345"/>
            </a:xfrm>
            <a:custGeom>
              <a:avLst/>
              <a:gdLst/>
              <a:ahLst/>
              <a:cxnLst/>
              <a:rect l="l" t="t" r="r" b="b"/>
              <a:pathLst>
                <a:path w="346075" h="347344">
                  <a:moveTo>
                    <a:pt x="185432" y="0"/>
                  </a:moveTo>
                  <a:lnTo>
                    <a:pt x="140576" y="2609"/>
                  </a:lnTo>
                  <a:lnTo>
                    <a:pt x="98454" y="16446"/>
                  </a:lnTo>
                  <a:lnTo>
                    <a:pt x="61177" y="40504"/>
                  </a:lnTo>
                  <a:lnTo>
                    <a:pt x="30853" y="73774"/>
                  </a:lnTo>
                  <a:lnTo>
                    <a:pt x="9591" y="115251"/>
                  </a:lnTo>
                  <a:lnTo>
                    <a:pt x="0" y="160892"/>
                  </a:lnTo>
                  <a:lnTo>
                    <a:pt x="2599" y="205905"/>
                  </a:lnTo>
                  <a:lnTo>
                    <a:pt x="16387" y="248172"/>
                  </a:lnTo>
                  <a:lnTo>
                    <a:pt x="40362" y="285577"/>
                  </a:lnTo>
                  <a:lnTo>
                    <a:pt x="73521" y="316004"/>
                  </a:lnTo>
                  <a:lnTo>
                    <a:pt x="114861" y="337335"/>
                  </a:lnTo>
                  <a:lnTo>
                    <a:pt x="160348" y="346961"/>
                  </a:lnTo>
                  <a:lnTo>
                    <a:pt x="205208" y="344354"/>
                  </a:lnTo>
                  <a:lnTo>
                    <a:pt x="247330" y="330519"/>
                  </a:lnTo>
                  <a:lnTo>
                    <a:pt x="284607" y="306462"/>
                  </a:lnTo>
                  <a:lnTo>
                    <a:pt x="314928" y="273190"/>
                  </a:lnTo>
                  <a:lnTo>
                    <a:pt x="336184" y="231710"/>
                  </a:lnTo>
                  <a:lnTo>
                    <a:pt x="345775" y="186068"/>
                  </a:lnTo>
                  <a:lnTo>
                    <a:pt x="343173" y="141056"/>
                  </a:lnTo>
                  <a:lnTo>
                    <a:pt x="329383" y="98788"/>
                  </a:lnTo>
                  <a:lnTo>
                    <a:pt x="305408" y="61383"/>
                  </a:lnTo>
                  <a:lnTo>
                    <a:pt x="272250" y="30956"/>
                  </a:lnTo>
                  <a:lnTo>
                    <a:pt x="230914" y="9625"/>
                  </a:lnTo>
                  <a:lnTo>
                    <a:pt x="185432" y="0"/>
                  </a:lnTo>
                  <a:close/>
                </a:path>
              </a:pathLst>
            </a:custGeom>
            <a:solidFill>
              <a:srgbClr val="FFC1A9"/>
            </a:solidFill>
          </p:spPr>
          <p:txBody>
            <a:bodyPr wrap="square" lIns="0" tIns="0" rIns="0" bIns="0" rtlCol="0"/>
            <a:lstStyle/>
            <a:p>
              <a:pPr>
                <a:lnSpc>
                  <a:spcPct val="110000"/>
                </a:lnSpc>
                <a:spcBef>
                  <a:spcPts val="200"/>
                </a:spcBef>
                <a:spcAft>
                  <a:spcPts val="200"/>
                </a:spcAft>
              </a:pPr>
              <a:endParaRPr lang="en-GB" dirty="0"/>
            </a:p>
          </p:txBody>
        </p:sp>
        <p:sp>
          <p:nvSpPr>
            <p:cNvPr id="62" name="object 36">
              <a:extLst>
                <a:ext uri="{FF2B5EF4-FFF2-40B4-BE49-F238E27FC236}">
                  <a16:creationId xmlns:a16="http://schemas.microsoft.com/office/drawing/2014/main" id="{A675109D-94C8-964A-BE24-0011A9401008}"/>
                </a:ext>
              </a:extLst>
            </p:cNvPr>
            <p:cNvSpPr/>
            <p:nvPr/>
          </p:nvSpPr>
          <p:spPr>
            <a:xfrm>
              <a:off x="6080241" y="2736031"/>
              <a:ext cx="417195" cy="340995"/>
            </a:xfrm>
            <a:custGeom>
              <a:avLst/>
              <a:gdLst/>
              <a:ahLst/>
              <a:cxnLst/>
              <a:rect l="l" t="t" r="r" b="b"/>
              <a:pathLst>
                <a:path w="417195" h="340994">
                  <a:moveTo>
                    <a:pt x="416165" y="220958"/>
                  </a:moveTo>
                  <a:lnTo>
                    <a:pt x="257979" y="220958"/>
                  </a:lnTo>
                  <a:lnTo>
                    <a:pt x="262838" y="226898"/>
                  </a:lnTo>
                  <a:lnTo>
                    <a:pt x="276400" y="240022"/>
                  </a:lnTo>
                  <a:lnTo>
                    <a:pt x="297145" y="253282"/>
                  </a:lnTo>
                  <a:lnTo>
                    <a:pt x="323549" y="259629"/>
                  </a:lnTo>
                  <a:lnTo>
                    <a:pt x="361064" y="261595"/>
                  </a:lnTo>
                  <a:lnTo>
                    <a:pt x="377067" y="270689"/>
                  </a:lnTo>
                  <a:lnTo>
                    <a:pt x="374706" y="294507"/>
                  </a:lnTo>
                  <a:lnTo>
                    <a:pt x="357128" y="340643"/>
                  </a:lnTo>
                  <a:lnTo>
                    <a:pt x="397766" y="288285"/>
                  </a:lnTo>
                  <a:lnTo>
                    <a:pt x="415916" y="237314"/>
                  </a:lnTo>
                  <a:lnTo>
                    <a:pt x="416165" y="220958"/>
                  </a:lnTo>
                  <a:close/>
                </a:path>
                <a:path w="417195" h="340994">
                  <a:moveTo>
                    <a:pt x="227990" y="20081"/>
                  </a:moveTo>
                  <a:lnTo>
                    <a:pt x="177392" y="21184"/>
                  </a:lnTo>
                  <a:lnTo>
                    <a:pt x="135681" y="31100"/>
                  </a:lnTo>
                  <a:lnTo>
                    <a:pt x="101418" y="48370"/>
                  </a:lnTo>
                  <a:lnTo>
                    <a:pt x="49474" y="99137"/>
                  </a:lnTo>
                  <a:lnTo>
                    <a:pt x="10037" y="161814"/>
                  </a:lnTo>
                  <a:lnTo>
                    <a:pt x="0" y="189837"/>
                  </a:lnTo>
                  <a:lnTo>
                    <a:pt x="550" y="217732"/>
                  </a:lnTo>
                  <a:lnTo>
                    <a:pt x="27984" y="267269"/>
                  </a:lnTo>
                  <a:lnTo>
                    <a:pt x="81480" y="298690"/>
                  </a:lnTo>
                  <a:lnTo>
                    <a:pt x="114608" y="303938"/>
                  </a:lnTo>
                  <a:lnTo>
                    <a:pt x="150179" y="300256"/>
                  </a:lnTo>
                  <a:lnTo>
                    <a:pt x="186837" y="286177"/>
                  </a:lnTo>
                  <a:lnTo>
                    <a:pt x="223222" y="260233"/>
                  </a:lnTo>
                  <a:lnTo>
                    <a:pt x="257979" y="220958"/>
                  </a:lnTo>
                  <a:lnTo>
                    <a:pt x="416165" y="220958"/>
                  </a:lnTo>
                  <a:lnTo>
                    <a:pt x="405034" y="145998"/>
                  </a:lnTo>
                  <a:lnTo>
                    <a:pt x="386146" y="108887"/>
                  </a:lnTo>
                  <a:lnTo>
                    <a:pt x="346834" y="59844"/>
                  </a:lnTo>
                  <a:lnTo>
                    <a:pt x="328214" y="45779"/>
                  </a:lnTo>
                  <a:lnTo>
                    <a:pt x="324079" y="38829"/>
                  </a:lnTo>
                  <a:lnTo>
                    <a:pt x="323245" y="29251"/>
                  </a:lnTo>
                  <a:lnTo>
                    <a:pt x="288916" y="29251"/>
                  </a:lnTo>
                  <a:lnTo>
                    <a:pt x="227990" y="20081"/>
                  </a:lnTo>
                  <a:close/>
                </a:path>
                <a:path w="417195" h="340994">
                  <a:moveTo>
                    <a:pt x="312985" y="0"/>
                  </a:moveTo>
                  <a:lnTo>
                    <a:pt x="305856" y="2345"/>
                  </a:lnTo>
                  <a:lnTo>
                    <a:pt x="298916" y="11231"/>
                  </a:lnTo>
                  <a:lnTo>
                    <a:pt x="288916" y="29251"/>
                  </a:lnTo>
                  <a:lnTo>
                    <a:pt x="323245" y="29251"/>
                  </a:lnTo>
                  <a:lnTo>
                    <a:pt x="322931" y="25652"/>
                  </a:lnTo>
                  <a:lnTo>
                    <a:pt x="323549" y="1603"/>
                  </a:lnTo>
                  <a:lnTo>
                    <a:pt x="312985" y="0"/>
                  </a:lnTo>
                  <a:close/>
                </a:path>
              </a:pathLst>
            </a:custGeom>
            <a:solidFill>
              <a:srgbClr val="402250"/>
            </a:solidFill>
          </p:spPr>
          <p:txBody>
            <a:bodyPr wrap="square" lIns="0" tIns="0" rIns="0" bIns="0" rtlCol="0"/>
            <a:lstStyle/>
            <a:p>
              <a:pPr>
                <a:lnSpc>
                  <a:spcPct val="110000"/>
                </a:lnSpc>
                <a:spcBef>
                  <a:spcPts val="200"/>
                </a:spcBef>
                <a:spcAft>
                  <a:spcPts val="200"/>
                </a:spcAft>
              </a:pPr>
              <a:endParaRPr lang="en-GB" dirty="0"/>
            </a:p>
          </p:txBody>
        </p:sp>
        <p:sp>
          <p:nvSpPr>
            <p:cNvPr id="63" name="object 37">
              <a:extLst>
                <a:ext uri="{FF2B5EF4-FFF2-40B4-BE49-F238E27FC236}">
                  <a16:creationId xmlns:a16="http://schemas.microsoft.com/office/drawing/2014/main" id="{01F8C91D-89C5-A246-9E3D-0399A3DBF44D}"/>
                </a:ext>
              </a:extLst>
            </p:cNvPr>
            <p:cNvSpPr/>
            <p:nvPr/>
          </p:nvSpPr>
          <p:spPr>
            <a:xfrm>
              <a:off x="6394119" y="2969580"/>
              <a:ext cx="74104" cy="82191"/>
            </a:xfrm>
            <a:prstGeom prst="rect">
              <a:avLst/>
            </a:prstGeom>
            <a:blipFill>
              <a:blip r:embed="rId14" cstate="print"/>
              <a:stretch>
                <a:fillRect/>
              </a:stretch>
            </a:blipFill>
          </p:spPr>
          <p:txBody>
            <a:bodyPr wrap="square" lIns="0" tIns="0" rIns="0" bIns="0" rtlCol="0"/>
            <a:lstStyle/>
            <a:p>
              <a:pPr>
                <a:lnSpc>
                  <a:spcPct val="110000"/>
                </a:lnSpc>
                <a:spcBef>
                  <a:spcPts val="200"/>
                </a:spcBef>
                <a:spcAft>
                  <a:spcPts val="200"/>
                </a:spcAft>
              </a:pPr>
              <a:endParaRPr lang="en-GB" dirty="0"/>
            </a:p>
          </p:txBody>
        </p:sp>
        <p:sp>
          <p:nvSpPr>
            <p:cNvPr id="64" name="object 38">
              <a:extLst>
                <a:ext uri="{FF2B5EF4-FFF2-40B4-BE49-F238E27FC236}">
                  <a16:creationId xmlns:a16="http://schemas.microsoft.com/office/drawing/2014/main" id="{3DD8E3F0-B5A6-654F-83F7-60D19FBD74DA}"/>
                </a:ext>
              </a:extLst>
            </p:cNvPr>
            <p:cNvSpPr/>
            <p:nvPr/>
          </p:nvSpPr>
          <p:spPr>
            <a:xfrm>
              <a:off x="7061112" y="4366060"/>
              <a:ext cx="260350" cy="269240"/>
            </a:xfrm>
            <a:custGeom>
              <a:avLst/>
              <a:gdLst/>
              <a:ahLst/>
              <a:cxnLst/>
              <a:rect l="l" t="t" r="r" b="b"/>
              <a:pathLst>
                <a:path w="260350" h="269239">
                  <a:moveTo>
                    <a:pt x="148299" y="0"/>
                  </a:moveTo>
                  <a:lnTo>
                    <a:pt x="106032" y="14052"/>
                  </a:lnTo>
                  <a:lnTo>
                    <a:pt x="64759" y="46979"/>
                  </a:lnTo>
                  <a:lnTo>
                    <a:pt x="31056" y="91970"/>
                  </a:lnTo>
                  <a:lnTo>
                    <a:pt x="8332" y="143204"/>
                  </a:lnTo>
                  <a:lnTo>
                    <a:pt x="0" y="194862"/>
                  </a:lnTo>
                  <a:lnTo>
                    <a:pt x="8332" y="237046"/>
                  </a:lnTo>
                  <a:lnTo>
                    <a:pt x="31056" y="262445"/>
                  </a:lnTo>
                  <a:lnTo>
                    <a:pt x="64759" y="269118"/>
                  </a:lnTo>
                  <a:lnTo>
                    <a:pt x="106032" y="255123"/>
                  </a:lnTo>
                  <a:lnTo>
                    <a:pt x="147304" y="222193"/>
                  </a:lnTo>
                  <a:lnTo>
                    <a:pt x="181008" y="177207"/>
                  </a:lnTo>
                  <a:lnTo>
                    <a:pt x="203732" y="125981"/>
                  </a:lnTo>
                  <a:lnTo>
                    <a:pt x="212064" y="74326"/>
                  </a:lnTo>
                  <a:lnTo>
                    <a:pt x="211950" y="69259"/>
                  </a:lnTo>
                  <a:lnTo>
                    <a:pt x="260159" y="51746"/>
                  </a:lnTo>
                  <a:lnTo>
                    <a:pt x="183296" y="7664"/>
                  </a:lnTo>
                  <a:lnTo>
                    <a:pt x="182499" y="7664"/>
                  </a:lnTo>
                  <a:lnTo>
                    <a:pt x="166634" y="1250"/>
                  </a:lnTo>
                  <a:lnTo>
                    <a:pt x="148299" y="0"/>
                  </a:lnTo>
                  <a:close/>
                </a:path>
                <a:path w="260350" h="269239">
                  <a:moveTo>
                    <a:pt x="182676" y="7308"/>
                  </a:moveTo>
                  <a:lnTo>
                    <a:pt x="182499" y="7664"/>
                  </a:lnTo>
                  <a:lnTo>
                    <a:pt x="183296" y="7664"/>
                  </a:lnTo>
                  <a:lnTo>
                    <a:pt x="182676" y="7308"/>
                  </a:lnTo>
                  <a:close/>
                </a:path>
              </a:pathLst>
            </a:custGeom>
            <a:solidFill>
              <a:srgbClr val="005A82"/>
            </a:solidFill>
          </p:spPr>
          <p:txBody>
            <a:bodyPr wrap="square" lIns="0" tIns="0" rIns="0" bIns="0" rtlCol="0"/>
            <a:lstStyle/>
            <a:p>
              <a:pPr>
                <a:lnSpc>
                  <a:spcPct val="110000"/>
                </a:lnSpc>
                <a:spcBef>
                  <a:spcPts val="200"/>
                </a:spcBef>
                <a:spcAft>
                  <a:spcPts val="200"/>
                </a:spcAft>
              </a:pPr>
              <a:endParaRPr lang="en-GB" dirty="0"/>
            </a:p>
          </p:txBody>
        </p:sp>
        <p:sp>
          <p:nvSpPr>
            <p:cNvPr id="65" name="object 39">
              <a:extLst>
                <a:ext uri="{FF2B5EF4-FFF2-40B4-BE49-F238E27FC236}">
                  <a16:creationId xmlns:a16="http://schemas.microsoft.com/office/drawing/2014/main" id="{B7C863C5-8942-8D40-BD31-B202C2266D4A}"/>
                </a:ext>
              </a:extLst>
            </p:cNvPr>
            <p:cNvSpPr/>
            <p:nvPr/>
          </p:nvSpPr>
          <p:spPr>
            <a:xfrm>
              <a:off x="6796533" y="4368677"/>
              <a:ext cx="367030" cy="456565"/>
            </a:xfrm>
            <a:custGeom>
              <a:avLst/>
              <a:gdLst/>
              <a:ahLst/>
              <a:cxnLst/>
              <a:rect l="l" t="t" r="r" b="b"/>
              <a:pathLst>
                <a:path w="367029" h="456564">
                  <a:moveTo>
                    <a:pt x="237310" y="0"/>
                  </a:moveTo>
                  <a:lnTo>
                    <a:pt x="170802" y="23720"/>
                  </a:lnTo>
                  <a:lnTo>
                    <a:pt x="131637" y="52550"/>
                  </a:lnTo>
                  <a:lnTo>
                    <a:pt x="95685" y="89438"/>
                  </a:lnTo>
                  <a:lnTo>
                    <a:pt x="63972" y="132543"/>
                  </a:lnTo>
                  <a:lnTo>
                    <a:pt x="37522" y="180023"/>
                  </a:lnTo>
                  <a:lnTo>
                    <a:pt x="17359" y="230038"/>
                  </a:lnTo>
                  <a:lnTo>
                    <a:pt x="4510" y="280748"/>
                  </a:lnTo>
                  <a:lnTo>
                    <a:pt x="0" y="330311"/>
                  </a:lnTo>
                  <a:lnTo>
                    <a:pt x="6100" y="380999"/>
                  </a:lnTo>
                  <a:lnTo>
                    <a:pt x="23318" y="419524"/>
                  </a:lnTo>
                  <a:lnTo>
                    <a:pt x="50025" y="444912"/>
                  </a:lnTo>
                  <a:lnTo>
                    <a:pt x="84593" y="456188"/>
                  </a:lnTo>
                  <a:lnTo>
                    <a:pt x="125394" y="452378"/>
                  </a:lnTo>
                  <a:lnTo>
                    <a:pt x="170802" y="432508"/>
                  </a:lnTo>
                  <a:lnTo>
                    <a:pt x="209966" y="403678"/>
                  </a:lnTo>
                  <a:lnTo>
                    <a:pt x="245918" y="366792"/>
                  </a:lnTo>
                  <a:lnTo>
                    <a:pt x="277632" y="323689"/>
                  </a:lnTo>
                  <a:lnTo>
                    <a:pt x="304082" y="276210"/>
                  </a:lnTo>
                  <a:lnTo>
                    <a:pt x="324244" y="226195"/>
                  </a:lnTo>
                  <a:lnTo>
                    <a:pt x="337093" y="175484"/>
                  </a:lnTo>
                  <a:lnTo>
                    <a:pt x="341604" y="125917"/>
                  </a:lnTo>
                  <a:lnTo>
                    <a:pt x="340893" y="107601"/>
                  </a:lnTo>
                  <a:lnTo>
                    <a:pt x="338805" y="90587"/>
                  </a:lnTo>
                  <a:lnTo>
                    <a:pt x="335405" y="74909"/>
                  </a:lnTo>
                  <a:lnTo>
                    <a:pt x="330758" y="60601"/>
                  </a:lnTo>
                  <a:lnTo>
                    <a:pt x="366941" y="54175"/>
                  </a:lnTo>
                  <a:lnTo>
                    <a:pt x="292298" y="11350"/>
                  </a:lnTo>
                  <a:lnTo>
                    <a:pt x="291617" y="11350"/>
                  </a:lnTo>
                  <a:lnTo>
                    <a:pt x="266333" y="1496"/>
                  </a:lnTo>
                  <a:lnTo>
                    <a:pt x="237310" y="0"/>
                  </a:lnTo>
                  <a:close/>
                </a:path>
                <a:path w="367029" h="456564">
                  <a:moveTo>
                    <a:pt x="292011" y="11185"/>
                  </a:moveTo>
                  <a:lnTo>
                    <a:pt x="291617" y="11350"/>
                  </a:lnTo>
                  <a:lnTo>
                    <a:pt x="292298" y="11350"/>
                  </a:lnTo>
                  <a:lnTo>
                    <a:pt x="292011" y="11185"/>
                  </a:lnTo>
                  <a:close/>
                </a:path>
              </a:pathLst>
            </a:custGeom>
            <a:solidFill>
              <a:srgbClr val="005A82"/>
            </a:solidFill>
          </p:spPr>
          <p:txBody>
            <a:bodyPr wrap="square" lIns="0" tIns="0" rIns="0" bIns="0" rtlCol="0"/>
            <a:lstStyle/>
            <a:p>
              <a:pPr>
                <a:lnSpc>
                  <a:spcPct val="110000"/>
                </a:lnSpc>
                <a:spcBef>
                  <a:spcPts val="200"/>
                </a:spcBef>
                <a:spcAft>
                  <a:spcPts val="200"/>
                </a:spcAft>
              </a:pPr>
              <a:endParaRPr lang="en-GB" dirty="0"/>
            </a:p>
          </p:txBody>
        </p:sp>
        <p:sp>
          <p:nvSpPr>
            <p:cNvPr id="66" name="object 40">
              <a:extLst>
                <a:ext uri="{FF2B5EF4-FFF2-40B4-BE49-F238E27FC236}">
                  <a16:creationId xmlns:a16="http://schemas.microsoft.com/office/drawing/2014/main" id="{0E5AAED1-EDD5-B143-87BA-C159F1207E24}"/>
                </a:ext>
              </a:extLst>
            </p:cNvPr>
            <p:cNvSpPr/>
            <p:nvPr/>
          </p:nvSpPr>
          <p:spPr>
            <a:xfrm>
              <a:off x="6704724" y="4368228"/>
              <a:ext cx="646709" cy="560437"/>
            </a:xfrm>
            <a:prstGeom prst="rect">
              <a:avLst/>
            </a:prstGeom>
            <a:blipFill>
              <a:blip r:embed="rId15" cstate="print"/>
              <a:stretch>
                <a:fillRect/>
              </a:stretch>
            </a:blipFill>
          </p:spPr>
          <p:txBody>
            <a:bodyPr wrap="square" lIns="0" tIns="0" rIns="0" bIns="0" rtlCol="0"/>
            <a:lstStyle/>
            <a:p>
              <a:pPr>
                <a:lnSpc>
                  <a:spcPct val="110000"/>
                </a:lnSpc>
                <a:spcBef>
                  <a:spcPts val="200"/>
                </a:spcBef>
                <a:spcAft>
                  <a:spcPts val="200"/>
                </a:spcAft>
              </a:pPr>
              <a:endParaRPr lang="en-GB" dirty="0"/>
            </a:p>
          </p:txBody>
        </p:sp>
        <p:sp>
          <p:nvSpPr>
            <p:cNvPr id="67" name="object 41">
              <a:extLst>
                <a:ext uri="{FF2B5EF4-FFF2-40B4-BE49-F238E27FC236}">
                  <a16:creationId xmlns:a16="http://schemas.microsoft.com/office/drawing/2014/main" id="{7BD54FDE-6CB5-DB47-9F07-8565AC7D22A0}"/>
                </a:ext>
              </a:extLst>
            </p:cNvPr>
            <p:cNvSpPr/>
            <p:nvPr/>
          </p:nvSpPr>
          <p:spPr>
            <a:xfrm>
              <a:off x="5622402" y="3293618"/>
              <a:ext cx="466725" cy="404495"/>
            </a:xfrm>
            <a:custGeom>
              <a:avLst/>
              <a:gdLst/>
              <a:ahLst/>
              <a:cxnLst/>
              <a:rect l="l" t="t" r="r" b="b"/>
              <a:pathLst>
                <a:path w="466725" h="404495">
                  <a:moveTo>
                    <a:pt x="0" y="0"/>
                  </a:moveTo>
                  <a:lnTo>
                    <a:pt x="220459" y="262178"/>
                  </a:lnTo>
                  <a:lnTo>
                    <a:pt x="466382" y="404164"/>
                  </a:lnTo>
                  <a:lnTo>
                    <a:pt x="245935" y="141985"/>
                  </a:lnTo>
                  <a:lnTo>
                    <a:pt x="0" y="0"/>
                  </a:lnTo>
                  <a:close/>
                </a:path>
              </a:pathLst>
            </a:custGeom>
            <a:solidFill>
              <a:srgbClr val="402250"/>
            </a:solidFill>
          </p:spPr>
          <p:txBody>
            <a:bodyPr wrap="square" lIns="0" tIns="0" rIns="0" bIns="0" rtlCol="0"/>
            <a:lstStyle/>
            <a:p>
              <a:pPr>
                <a:lnSpc>
                  <a:spcPct val="110000"/>
                </a:lnSpc>
                <a:spcBef>
                  <a:spcPts val="200"/>
                </a:spcBef>
                <a:spcAft>
                  <a:spcPts val="200"/>
                </a:spcAft>
              </a:pPr>
              <a:endParaRPr lang="en-GB" dirty="0"/>
            </a:p>
          </p:txBody>
        </p:sp>
        <p:sp>
          <p:nvSpPr>
            <p:cNvPr id="68" name="object 42">
              <a:extLst>
                <a:ext uri="{FF2B5EF4-FFF2-40B4-BE49-F238E27FC236}">
                  <a16:creationId xmlns:a16="http://schemas.microsoft.com/office/drawing/2014/main" id="{7018BE23-A497-A54A-A2BC-EFBD2B190848}"/>
                </a:ext>
              </a:extLst>
            </p:cNvPr>
            <p:cNvSpPr/>
            <p:nvPr/>
          </p:nvSpPr>
          <p:spPr>
            <a:xfrm>
              <a:off x="5973435" y="3596885"/>
              <a:ext cx="297815" cy="188595"/>
            </a:xfrm>
            <a:custGeom>
              <a:avLst/>
              <a:gdLst/>
              <a:ahLst/>
              <a:cxnLst/>
              <a:rect l="l" t="t" r="r" b="b"/>
              <a:pathLst>
                <a:path w="297814" h="188595">
                  <a:moveTo>
                    <a:pt x="54313" y="0"/>
                  </a:moveTo>
                  <a:lnTo>
                    <a:pt x="33848" y="4053"/>
                  </a:lnTo>
                  <a:lnTo>
                    <a:pt x="16403" y="15479"/>
                  </a:lnTo>
                  <a:lnTo>
                    <a:pt x="4264" y="33339"/>
                  </a:lnTo>
                  <a:lnTo>
                    <a:pt x="0" y="54525"/>
                  </a:lnTo>
                  <a:lnTo>
                    <a:pt x="4051" y="74987"/>
                  </a:lnTo>
                  <a:lnTo>
                    <a:pt x="15479" y="92438"/>
                  </a:lnTo>
                  <a:lnTo>
                    <a:pt x="33347" y="104586"/>
                  </a:lnTo>
                  <a:lnTo>
                    <a:pt x="228761" y="186679"/>
                  </a:lnTo>
                  <a:lnTo>
                    <a:pt x="235899" y="188051"/>
                  </a:lnTo>
                  <a:lnTo>
                    <a:pt x="242922" y="188051"/>
                  </a:lnTo>
                  <a:lnTo>
                    <a:pt x="284568" y="168693"/>
                  </a:lnTo>
                  <a:lnTo>
                    <a:pt x="297371" y="133523"/>
                  </a:lnTo>
                  <a:lnTo>
                    <a:pt x="293319" y="113064"/>
                  </a:lnTo>
                  <a:lnTo>
                    <a:pt x="281889" y="95615"/>
                  </a:lnTo>
                  <a:lnTo>
                    <a:pt x="264017" y="83466"/>
                  </a:lnTo>
                  <a:lnTo>
                    <a:pt x="75511" y="4256"/>
                  </a:lnTo>
                  <a:lnTo>
                    <a:pt x="54313" y="0"/>
                  </a:lnTo>
                  <a:close/>
                </a:path>
              </a:pathLst>
            </a:custGeom>
            <a:solidFill>
              <a:srgbClr val="FFC1A9"/>
            </a:solidFill>
          </p:spPr>
          <p:txBody>
            <a:bodyPr wrap="square" lIns="0" tIns="0" rIns="0" bIns="0" rtlCol="0"/>
            <a:lstStyle/>
            <a:p>
              <a:pPr>
                <a:lnSpc>
                  <a:spcPct val="110000"/>
                </a:lnSpc>
                <a:spcBef>
                  <a:spcPts val="200"/>
                </a:spcBef>
                <a:spcAft>
                  <a:spcPts val="200"/>
                </a:spcAft>
              </a:pPr>
              <a:endParaRPr lang="en-GB" dirty="0"/>
            </a:p>
          </p:txBody>
        </p:sp>
        <p:sp>
          <p:nvSpPr>
            <p:cNvPr id="69" name="object 43">
              <a:extLst>
                <a:ext uri="{FF2B5EF4-FFF2-40B4-BE49-F238E27FC236}">
                  <a16:creationId xmlns:a16="http://schemas.microsoft.com/office/drawing/2014/main" id="{7823B86A-EBCB-9448-A87A-50EF32417C0E}"/>
                </a:ext>
              </a:extLst>
            </p:cNvPr>
            <p:cNvSpPr/>
            <p:nvPr/>
          </p:nvSpPr>
          <p:spPr>
            <a:xfrm>
              <a:off x="6077635" y="3288241"/>
              <a:ext cx="523240" cy="525780"/>
            </a:xfrm>
            <a:custGeom>
              <a:avLst/>
              <a:gdLst/>
              <a:ahLst/>
              <a:cxnLst/>
              <a:rect l="l" t="t" r="r" b="b"/>
              <a:pathLst>
                <a:path w="523240" h="525779">
                  <a:moveTo>
                    <a:pt x="69287" y="355117"/>
                  </a:moveTo>
                  <a:lnTo>
                    <a:pt x="42936" y="360653"/>
                  </a:lnTo>
                  <a:lnTo>
                    <a:pt x="20586" y="375663"/>
                  </a:lnTo>
                  <a:lnTo>
                    <a:pt x="5179" y="398906"/>
                  </a:lnTo>
                  <a:lnTo>
                    <a:pt x="0" y="426315"/>
                  </a:lnTo>
                  <a:lnTo>
                    <a:pt x="5539" y="452666"/>
                  </a:lnTo>
                  <a:lnTo>
                    <a:pt x="43800" y="490423"/>
                  </a:lnTo>
                  <a:lnTo>
                    <a:pt x="86425" y="505860"/>
                  </a:lnTo>
                  <a:lnTo>
                    <a:pt x="127466" y="516889"/>
                  </a:lnTo>
                  <a:lnTo>
                    <a:pt x="166885" y="523509"/>
                  </a:lnTo>
                  <a:lnTo>
                    <a:pt x="204645" y="525716"/>
                  </a:lnTo>
                  <a:lnTo>
                    <a:pt x="241528" y="523409"/>
                  </a:lnTo>
                  <a:lnTo>
                    <a:pt x="309856" y="504949"/>
                  </a:lnTo>
                  <a:lnTo>
                    <a:pt x="378956" y="460977"/>
                  </a:lnTo>
                  <a:lnTo>
                    <a:pt x="411004" y="427538"/>
                  </a:lnTo>
                  <a:lnTo>
                    <a:pt x="437886" y="389472"/>
                  </a:lnTo>
                  <a:lnTo>
                    <a:pt x="440335" y="384873"/>
                  </a:lnTo>
                  <a:lnTo>
                    <a:pt x="195104" y="384873"/>
                  </a:lnTo>
                  <a:lnTo>
                    <a:pt x="148960" y="377674"/>
                  </a:lnTo>
                  <a:lnTo>
                    <a:pt x="96695" y="360298"/>
                  </a:lnTo>
                  <a:lnTo>
                    <a:pt x="69287" y="355117"/>
                  </a:lnTo>
                  <a:close/>
                </a:path>
                <a:path w="523240" h="525779">
                  <a:moveTo>
                    <a:pt x="459775" y="0"/>
                  </a:moveTo>
                  <a:lnTo>
                    <a:pt x="408358" y="15776"/>
                  </a:lnTo>
                  <a:lnTo>
                    <a:pt x="383220" y="63271"/>
                  </a:lnTo>
                  <a:lnTo>
                    <a:pt x="375068" y="130543"/>
                  </a:lnTo>
                  <a:lnTo>
                    <a:pt x="364135" y="190018"/>
                  </a:lnTo>
                  <a:lnTo>
                    <a:pt x="350440" y="241646"/>
                  </a:lnTo>
                  <a:lnTo>
                    <a:pt x="334002" y="285375"/>
                  </a:lnTo>
                  <a:lnTo>
                    <a:pt x="314840" y="321158"/>
                  </a:lnTo>
                  <a:lnTo>
                    <a:pt x="268425" y="368680"/>
                  </a:lnTo>
                  <a:lnTo>
                    <a:pt x="195104" y="384873"/>
                  </a:lnTo>
                  <a:lnTo>
                    <a:pt x="440335" y="384873"/>
                  </a:lnTo>
                  <a:lnTo>
                    <a:pt x="460098" y="347766"/>
                  </a:lnTo>
                  <a:lnTo>
                    <a:pt x="478135" y="303412"/>
                  </a:lnTo>
                  <a:lnTo>
                    <a:pt x="492494" y="257399"/>
                  </a:lnTo>
                  <a:lnTo>
                    <a:pt x="503670" y="210717"/>
                  </a:lnTo>
                  <a:lnTo>
                    <a:pt x="512159" y="164356"/>
                  </a:lnTo>
                  <a:lnTo>
                    <a:pt x="518457" y="119305"/>
                  </a:lnTo>
                  <a:lnTo>
                    <a:pt x="523060" y="76555"/>
                  </a:lnTo>
                  <a:lnTo>
                    <a:pt x="520149" y="48815"/>
                  </a:lnTo>
                  <a:lnTo>
                    <a:pt x="507272" y="25166"/>
                  </a:lnTo>
                  <a:lnTo>
                    <a:pt x="486467" y="8073"/>
                  </a:lnTo>
                  <a:lnTo>
                    <a:pt x="459775" y="0"/>
                  </a:lnTo>
                  <a:close/>
                </a:path>
              </a:pathLst>
            </a:custGeom>
            <a:solidFill>
              <a:srgbClr val="098DB7"/>
            </a:solidFill>
          </p:spPr>
          <p:txBody>
            <a:bodyPr wrap="square" lIns="0" tIns="0" rIns="0" bIns="0" rtlCol="0"/>
            <a:lstStyle/>
            <a:p>
              <a:pPr>
                <a:lnSpc>
                  <a:spcPct val="110000"/>
                </a:lnSpc>
                <a:spcBef>
                  <a:spcPts val="200"/>
                </a:spcBef>
                <a:spcAft>
                  <a:spcPts val="200"/>
                </a:spcAft>
              </a:pPr>
              <a:endParaRPr lang="en-GB" dirty="0"/>
            </a:p>
          </p:txBody>
        </p:sp>
      </p:grpSp>
      <p:sp>
        <p:nvSpPr>
          <p:cNvPr id="76" name="Title 9">
            <a:extLst>
              <a:ext uri="{FF2B5EF4-FFF2-40B4-BE49-F238E27FC236}">
                <a16:creationId xmlns:a16="http://schemas.microsoft.com/office/drawing/2014/main" id="{AC41943F-2F2A-2D42-8DC9-D14D92EDC4B2}"/>
              </a:ext>
            </a:extLst>
          </p:cNvPr>
          <p:cNvSpPr txBox="1">
            <a:spLocks/>
          </p:cNvSpPr>
          <p:nvPr/>
        </p:nvSpPr>
        <p:spPr>
          <a:xfrm>
            <a:off x="11070450" y="297951"/>
            <a:ext cx="802093" cy="360040"/>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endParaRPr lang="en-GB" sz="3600" b="1" dirty="0">
              <a:solidFill>
                <a:schemeClr val="bg1"/>
              </a:solidFill>
            </a:endParaRPr>
          </a:p>
          <a:p>
            <a:endParaRPr lang="en-GB" sz="3600" b="1" dirty="0"/>
          </a:p>
          <a:p>
            <a:endParaRPr lang="en-GB" sz="3600" b="1" dirty="0"/>
          </a:p>
          <a:p>
            <a:endParaRPr lang="en-GB" sz="3600" b="1" dirty="0"/>
          </a:p>
          <a:p>
            <a:endParaRPr lang="en-GB" sz="3600" b="1" dirty="0"/>
          </a:p>
          <a:p>
            <a:endParaRPr lang="en-GB" sz="3600" b="1" dirty="0"/>
          </a:p>
        </p:txBody>
      </p:sp>
      <p:sp>
        <p:nvSpPr>
          <p:cNvPr id="78" name="TextBox 77">
            <a:extLst>
              <a:ext uri="{FF2B5EF4-FFF2-40B4-BE49-F238E27FC236}">
                <a16:creationId xmlns:a16="http://schemas.microsoft.com/office/drawing/2014/main" id="{1D8D9D17-588A-8A45-9BB2-919A18429D3A}"/>
              </a:ext>
            </a:extLst>
          </p:cNvPr>
          <p:cNvSpPr txBox="1"/>
          <p:nvPr/>
        </p:nvSpPr>
        <p:spPr>
          <a:xfrm>
            <a:off x="11138468" y="131555"/>
            <a:ext cx="223124" cy="707886"/>
          </a:xfrm>
          <a:prstGeom prst="rect">
            <a:avLst/>
          </a:prstGeom>
          <a:noFill/>
        </p:spPr>
        <p:txBody>
          <a:bodyPr wrap="square" rtlCol="0">
            <a:spAutoFit/>
          </a:bodyPr>
          <a:lstStyle/>
          <a:p>
            <a:r>
              <a:rPr lang="en-US" sz="4000" b="1" dirty="0">
                <a:solidFill>
                  <a:schemeClr val="bg1"/>
                </a:solidFill>
                <a:latin typeface="Ubuntu" panose="020B0504030602030204" pitchFamily="34" charset="0"/>
              </a:rPr>
              <a:t>1</a:t>
            </a:r>
          </a:p>
        </p:txBody>
      </p:sp>
      <p:grpSp>
        <p:nvGrpSpPr>
          <p:cNvPr id="70" name="Group 69">
            <a:extLst>
              <a:ext uri="{FF2B5EF4-FFF2-40B4-BE49-F238E27FC236}">
                <a16:creationId xmlns:a16="http://schemas.microsoft.com/office/drawing/2014/main" id="{388F4236-9420-4DBC-9B30-00E4E495C73F}"/>
              </a:ext>
            </a:extLst>
          </p:cNvPr>
          <p:cNvGrpSpPr/>
          <p:nvPr/>
        </p:nvGrpSpPr>
        <p:grpSpPr>
          <a:xfrm>
            <a:off x="362079" y="5315513"/>
            <a:ext cx="7140609" cy="1282137"/>
            <a:chOff x="833905" y="4259676"/>
            <a:chExt cx="7140609" cy="1282137"/>
          </a:xfrm>
        </p:grpSpPr>
        <p:cxnSp>
          <p:nvCxnSpPr>
            <p:cNvPr id="71" name="Straight Connector 70">
              <a:extLst>
                <a:ext uri="{FF2B5EF4-FFF2-40B4-BE49-F238E27FC236}">
                  <a16:creationId xmlns:a16="http://schemas.microsoft.com/office/drawing/2014/main" id="{12234AAB-FD1E-4244-B4EC-8DA9716D956B}"/>
                </a:ext>
              </a:extLst>
            </p:cNvPr>
            <p:cNvCxnSpPr>
              <a:cxnSpLocks/>
            </p:cNvCxnSpPr>
            <p:nvPr/>
          </p:nvCxnSpPr>
          <p:spPr>
            <a:xfrm>
              <a:off x="928079" y="5402280"/>
              <a:ext cx="7046435" cy="13764"/>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F7207C23-A79B-48D3-85AF-E9D093B6F026}"/>
                </a:ext>
              </a:extLst>
            </p:cNvPr>
            <p:cNvSpPr/>
            <p:nvPr/>
          </p:nvSpPr>
          <p:spPr>
            <a:xfrm>
              <a:off x="1671282" y="4830490"/>
              <a:ext cx="2098462"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chemeClr val="bg1"/>
                  </a:solidFill>
                  <a:effectLst/>
                  <a:uLnTx/>
                  <a:uFillTx/>
                  <a:latin typeface="+mj-lt"/>
                  <a:ea typeface="+mn-ea"/>
                  <a:cs typeface="+mn-cs"/>
                </a:rPr>
                <a:t>Landing Zone</a:t>
              </a:r>
              <a:endParaRPr kumimoji="0" lang="en-NL" sz="1400" b="0" i="0" u="none" strike="noStrike" kern="1200" cap="none" spc="0" normalizeH="0" baseline="0" noProof="0" dirty="0">
                <a:ln>
                  <a:noFill/>
                </a:ln>
                <a:solidFill>
                  <a:schemeClr val="bg1"/>
                </a:solidFill>
                <a:effectLst/>
                <a:uLnTx/>
                <a:uFillTx/>
                <a:latin typeface="+mj-lt"/>
                <a:ea typeface="+mn-ea"/>
                <a:cs typeface="+mn-cs"/>
              </a:endParaRPr>
            </a:p>
          </p:txBody>
        </p:sp>
        <p:pic>
          <p:nvPicPr>
            <p:cNvPr id="75" name="Picture 74">
              <a:extLst>
                <a:ext uri="{FF2B5EF4-FFF2-40B4-BE49-F238E27FC236}">
                  <a16:creationId xmlns:a16="http://schemas.microsoft.com/office/drawing/2014/main" id="{35A388BE-F303-4665-8BDD-AAD717B0C53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33905" y="4259676"/>
              <a:ext cx="1306952" cy="1282137"/>
            </a:xfrm>
            <a:prstGeom prst="rect">
              <a:avLst/>
            </a:prstGeom>
          </p:spPr>
        </p:pic>
      </p:grpSp>
      <p:sp>
        <p:nvSpPr>
          <p:cNvPr id="77" name="TextBox 76">
            <a:extLst>
              <a:ext uri="{FF2B5EF4-FFF2-40B4-BE49-F238E27FC236}">
                <a16:creationId xmlns:a16="http://schemas.microsoft.com/office/drawing/2014/main" id="{236E36B1-6148-8F4B-8D96-928915E05D8D}"/>
              </a:ext>
            </a:extLst>
          </p:cNvPr>
          <p:cNvSpPr txBox="1"/>
          <p:nvPr/>
        </p:nvSpPr>
        <p:spPr>
          <a:xfrm>
            <a:off x="549907" y="623590"/>
            <a:ext cx="4566129" cy="584775"/>
          </a:xfrm>
          <a:prstGeom prst="rect">
            <a:avLst/>
          </a:prstGeom>
          <a:noFill/>
        </p:spPr>
        <p:txBody>
          <a:bodyPr wrap="square" rtlCol="0">
            <a:spAutoFit/>
          </a:bodyPr>
          <a:lstStyle/>
          <a:p>
            <a:r>
              <a:rPr lang="en-US" sz="3200" b="1" dirty="0">
                <a:solidFill>
                  <a:schemeClr val="bg1"/>
                </a:solidFill>
                <a:latin typeface="Ubuntu" panose="020B0504030602030204" pitchFamily="34" charset="0"/>
              </a:rPr>
              <a:t>Gartner’s ‘five R’s’…</a:t>
            </a:r>
          </a:p>
        </p:txBody>
      </p:sp>
    </p:spTree>
    <p:extLst>
      <p:ext uri="{BB962C8B-B14F-4D97-AF65-F5344CB8AC3E}">
        <p14:creationId xmlns:p14="http://schemas.microsoft.com/office/powerpoint/2010/main" val="2848037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anim calcmode="lin" valueType="num">
                                      <p:cBhvr additive="base">
                                        <p:cTn id="7" dur="500" fill="hold"/>
                                        <p:tgtEl>
                                          <p:spTgt spid="70"/>
                                        </p:tgtEl>
                                        <p:attrNameLst>
                                          <p:attrName>ppt_x</p:attrName>
                                        </p:attrNameLst>
                                      </p:cBhvr>
                                      <p:tavLst>
                                        <p:tav tm="0">
                                          <p:val>
                                            <p:strVal val="#ppt_x"/>
                                          </p:val>
                                        </p:tav>
                                        <p:tav tm="100000">
                                          <p:val>
                                            <p:strVal val="#ppt_x"/>
                                          </p:val>
                                        </p:tav>
                                      </p:tavLst>
                                    </p:anim>
                                    <p:anim calcmode="lin" valueType="num">
                                      <p:cBhvr additive="base">
                                        <p:cTn id="8" dur="500" fill="hold"/>
                                        <p:tgtEl>
                                          <p:spTgt spid="7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7BAAC-DF71-464C-9D59-99FD311EE414}"/>
              </a:ext>
            </a:extLst>
          </p:cNvPr>
          <p:cNvSpPr>
            <a:spLocks noGrp="1"/>
          </p:cNvSpPr>
          <p:nvPr>
            <p:ph type="title"/>
          </p:nvPr>
        </p:nvSpPr>
        <p:spPr>
          <a:xfrm>
            <a:off x="407988" y="404813"/>
            <a:ext cx="3706812" cy="863601"/>
          </a:xfrm>
        </p:spPr>
        <p:txBody>
          <a:bodyPr>
            <a:noAutofit/>
          </a:bodyPr>
          <a:lstStyle/>
          <a:p>
            <a:r>
              <a:rPr lang="en-GB" sz="5400"/>
              <a:t>Sogeti Cloudboost Library</a:t>
            </a:r>
          </a:p>
        </p:txBody>
      </p:sp>
      <p:pic>
        <p:nvPicPr>
          <p:cNvPr id="13" name="Picture 12">
            <a:extLst>
              <a:ext uri="{FF2B5EF4-FFF2-40B4-BE49-F238E27FC236}">
                <a16:creationId xmlns:a16="http://schemas.microsoft.com/office/drawing/2014/main" id="{08666F07-7115-4B41-AA00-E28429B279DF}"/>
              </a:ext>
            </a:extLst>
          </p:cNvPr>
          <p:cNvPicPr>
            <a:picLocks noChangeAspect="1"/>
          </p:cNvPicPr>
          <p:nvPr/>
        </p:nvPicPr>
        <p:blipFill>
          <a:blip r:embed="rId2"/>
          <a:stretch>
            <a:fillRect/>
          </a:stretch>
        </p:blipFill>
        <p:spPr>
          <a:xfrm>
            <a:off x="10040224" y="2687434"/>
            <a:ext cx="2201719" cy="5902732"/>
          </a:xfrm>
          <a:prstGeom prst="rect">
            <a:avLst/>
          </a:prstGeom>
        </p:spPr>
      </p:pic>
      <p:pic>
        <p:nvPicPr>
          <p:cNvPr id="12" name="Picture 11">
            <a:extLst>
              <a:ext uri="{FF2B5EF4-FFF2-40B4-BE49-F238E27FC236}">
                <a16:creationId xmlns:a16="http://schemas.microsoft.com/office/drawing/2014/main" id="{47D2FF67-F591-4637-B564-27AD48DCD3A7}"/>
              </a:ext>
            </a:extLst>
          </p:cNvPr>
          <p:cNvPicPr>
            <a:picLocks noChangeAspect="1"/>
          </p:cNvPicPr>
          <p:nvPr/>
        </p:nvPicPr>
        <p:blipFill>
          <a:blip r:embed="rId2"/>
          <a:stretch>
            <a:fillRect/>
          </a:stretch>
        </p:blipFill>
        <p:spPr>
          <a:xfrm rot="10800000">
            <a:off x="488747" y="-1219200"/>
            <a:ext cx="2330653" cy="6248400"/>
          </a:xfrm>
          <a:prstGeom prst="rect">
            <a:avLst/>
          </a:prstGeom>
        </p:spPr>
      </p:pic>
      <p:pic>
        <p:nvPicPr>
          <p:cNvPr id="11" name="Picture 10">
            <a:extLst>
              <a:ext uri="{FF2B5EF4-FFF2-40B4-BE49-F238E27FC236}">
                <a16:creationId xmlns:a16="http://schemas.microsoft.com/office/drawing/2014/main" id="{D0CBDC0A-0EE4-4183-B2B4-7D51CE8EBD41}"/>
              </a:ext>
            </a:extLst>
          </p:cNvPr>
          <p:cNvPicPr>
            <a:picLocks noChangeAspect="1"/>
          </p:cNvPicPr>
          <p:nvPr/>
        </p:nvPicPr>
        <p:blipFill>
          <a:blip r:embed="rId3"/>
          <a:stretch>
            <a:fillRect/>
          </a:stretch>
        </p:blipFill>
        <p:spPr>
          <a:xfrm>
            <a:off x="4536008" y="228600"/>
            <a:ext cx="7388454" cy="6629400"/>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82380D87-4440-48F5-B28A-AACEDB0FBBDA}"/>
              </a:ext>
            </a:extLst>
          </p:cNvPr>
          <p:cNvPicPr>
            <a:picLocks noChangeAspect="1"/>
          </p:cNvPicPr>
          <p:nvPr/>
        </p:nvPicPr>
        <p:blipFill>
          <a:blip r:embed="rId4"/>
          <a:stretch>
            <a:fillRect/>
          </a:stretch>
        </p:blipFill>
        <p:spPr>
          <a:xfrm>
            <a:off x="624291" y="4472702"/>
            <a:ext cx="10542192" cy="114300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77572946"/>
      </p:ext>
    </p:extLst>
  </p:cSld>
  <p:clrMapOvr>
    <a:masterClrMapping/>
  </p:clrMapOvr>
  <mc:AlternateContent xmlns:mc="http://schemas.openxmlformats.org/markup-compatibility/2006" xmlns:p14="http://schemas.microsoft.com/office/powerpoint/2010/main">
    <mc:Choice Requires="p14">
      <p:transition spd="slow" p14:dur="2000">
        <p:pull dir="d"/>
      </p:transition>
    </mc:Choice>
    <mc:Fallback xmlns="">
      <p:transition spd="slow">
        <p:pull dir="d"/>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Theme">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pgemini Theme" id="{143443EE-9194-7041-A8C2-FCB117FD1420}" vid="{A830FF2E-FB38-9B4D-84C8-CA538E8F0BCE}"/>
    </a:ext>
  </a:extLst>
</a:theme>
</file>

<file path=ppt/theme/theme2.xml><?xml version="1.0" encoding="utf-8"?>
<a:theme xmlns:a="http://schemas.openxmlformats.org/drawingml/2006/main" name="1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 Template_2018_v3" id="{7278A2AE-4223-442C-A0C5-E45FABBA1215}" vid="{F7E055ED-6AB1-43F9-BF77-7175F72F91E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5C6DC27965430498A97216F3E468235" ma:contentTypeVersion="7" ma:contentTypeDescription="Create a new document." ma:contentTypeScope="" ma:versionID="327482bfedd4bc3b9ac0234a00d4e252">
  <xsd:schema xmlns:xsd="http://www.w3.org/2001/XMLSchema" xmlns:xs="http://www.w3.org/2001/XMLSchema" xmlns:p="http://schemas.microsoft.com/office/2006/metadata/properties" xmlns:ns2="4269294d-5a2f-44c5-83fd-fa2cc2840b9a" xmlns:ns3="30895200-da44-459a-b1a4-0b8d6caea00e" targetNamespace="http://schemas.microsoft.com/office/2006/metadata/properties" ma:root="true" ma:fieldsID="c5b971dfa918b6f46263e3d6aa6a0eb9" ns2:_="" ns3:_="">
    <xsd:import namespace="4269294d-5a2f-44c5-83fd-fa2cc2840b9a"/>
    <xsd:import namespace="30895200-da44-459a-b1a4-0b8d6caea00e"/>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69294d-5a2f-44c5-83fd-fa2cc2840b9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0895200-da44-459a-b1a4-0b8d6caea00e"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A101BAF-D0C3-4E3A-9189-241DC32E3DC7}">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1B863D5-5329-4A2D-AA6B-F7B9809B28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269294d-5a2f-44c5-83fd-fa2cc2840b9a"/>
    <ds:schemaRef ds:uri="30895200-da44-459a-b1a4-0b8d6caea00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ED238EB-1BEB-4403-B4E0-257504CE8D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821</TotalTime>
  <Words>1042</Words>
  <Application>Microsoft Office PowerPoint</Application>
  <PresentationFormat>Widescreen</PresentationFormat>
  <Paragraphs>179</Paragraphs>
  <Slides>11</Slides>
  <Notes>4</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5" baseType="lpstr">
      <vt:lpstr>Arial</vt:lpstr>
      <vt:lpstr>Calibri</vt:lpstr>
      <vt:lpstr>Segoe UI</vt:lpstr>
      <vt:lpstr>Segoe UI Light</vt:lpstr>
      <vt:lpstr>Segoe UI Semibold</vt:lpstr>
      <vt:lpstr>Segoe UI Semilight</vt:lpstr>
      <vt:lpstr>Ubuntu</vt:lpstr>
      <vt:lpstr>Ubuntu Light</vt:lpstr>
      <vt:lpstr>Ubuntu Medium</vt:lpstr>
      <vt:lpstr>Verdana</vt:lpstr>
      <vt:lpstr>Wingdings</vt:lpstr>
      <vt:lpstr>Capgemini Theme</vt:lpstr>
      <vt:lpstr>1_Content Layouts</vt:lpstr>
      <vt:lpstr>think-cell Slide</vt:lpstr>
      <vt:lpstr>PowerPoint Presentation</vt:lpstr>
      <vt:lpstr>Why Modernize your Applications by Moving to the Cloud ...   </vt:lpstr>
      <vt:lpstr>Sound familiar? </vt:lpstr>
      <vt:lpstr>‘Cloud Transformation has  evolved…</vt:lpstr>
      <vt:lpstr>PowerPoint Presentation</vt:lpstr>
      <vt:lpstr>PowerPoint Presentation</vt:lpstr>
      <vt:lpstr>PowerPoint Presentation</vt:lpstr>
      <vt:lpstr>            We use our CloudBoost Library to create the perfect  Landing Zone for your applications and processes.       </vt:lpstr>
      <vt:lpstr>Sogeti Cloudboost Library</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bracing the  Digital Future</dc:title>
  <dc:creator>James</dc:creator>
  <cp:lastModifiedBy>George Georghiou</cp:lastModifiedBy>
  <cp:revision>254</cp:revision>
  <dcterms:created xsi:type="dcterms:W3CDTF">2019-08-29T14:16:30Z</dcterms:created>
  <dcterms:modified xsi:type="dcterms:W3CDTF">2019-12-09T10:49: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C6DC27965430498A97216F3E468235</vt:lpwstr>
  </property>
</Properties>
</file>